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theme/theme8.xml" ContentType="application/vnd.openxmlformats-officedocument.theme+xml"/>
  <Override PartName="/ppt/tags/tag10.xml" ContentType="application/vnd.openxmlformats-officedocument.presentationml.tags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theme/theme9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theme/theme10.xml" ContentType="application/vnd.openxmlformats-officedocument.theme+xml"/>
  <Override PartName="/ppt/tags/tag14.xml" ContentType="application/vnd.openxmlformats-officedocument.presentationml.tags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theme/theme11.xml" ContentType="application/vnd.openxmlformats-officedocument.theme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theme/theme12.xml" ContentType="application/vnd.openxmlformats-officedocument.theme+xml"/>
  <Override PartName="/ppt/tags/tag15.xml" ContentType="application/vnd.openxmlformats-officedocument.presentationml.tags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theme/theme13.xml" ContentType="application/vnd.openxmlformats-officedocument.theme+xml"/>
  <Override PartName="/ppt/tags/tag16.xml" ContentType="application/vnd.openxmlformats-officedocument.presentationml.tags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theme/theme14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theme/theme15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theme/theme16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theme/theme17.xml" ContentType="application/vnd.openxmlformats-officedocument.theme+xml"/>
  <Override PartName="/ppt/tags/tag26.xml" ContentType="application/vnd.openxmlformats-officedocument.presentationml.tags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theme/theme18.xml" ContentType="application/vnd.openxmlformats-officedocument.theme+xml"/>
  <Override PartName="/ppt/tags/tag27.xml" ContentType="application/vnd.openxmlformats-officedocument.presentationml.tags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theme/theme19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20.xml" ContentType="application/vnd.openxmlformats-officedocument.theme+xml"/>
  <Override PartName="/ppt/tags/tag3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0.xml" ContentType="application/vnd.openxmlformats-officedocument.presentationml.tags+xml"/>
  <Override PartName="/ppt/notesSlides/notesSlide3.xml" ContentType="application/vnd.openxmlformats-officedocument.presentationml.notesSlide+xml"/>
  <Override PartName="/ppt/tags/tag41.xml" ContentType="application/vnd.openxmlformats-officedocument.presentationml.tags+xml"/>
  <Override PartName="/ppt/notesSlides/notesSlide4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9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92.xml" ContentType="application/vnd.openxmlformats-officedocument.presentationml.tags+xml"/>
  <Override PartName="/ppt/notesSlides/notesSlide12.xml" ContentType="application/vnd.openxmlformats-officedocument.presentationml.notesSlide+xml"/>
  <Override PartName="/ppt/tags/tag93.xml" ContentType="application/vnd.openxmlformats-officedocument.presentationml.tags+xml"/>
  <Override PartName="/ppt/notesSlides/notesSlide13.xml" ContentType="application/vnd.openxmlformats-officedocument.presentationml.notesSlide+xml"/>
  <Override PartName="/ppt/tags/tag94.xml" ContentType="application/vnd.openxmlformats-officedocument.presentationml.tags+xml"/>
  <Override PartName="/ppt/notesSlides/notesSlide14.xml" ContentType="application/vnd.openxmlformats-officedocument.presentationml.notesSlide+xml"/>
  <Override PartName="/ppt/tags/tag95.xml" ContentType="application/vnd.openxmlformats-officedocument.presentationml.tags+xml"/>
  <Override PartName="/ppt/notesSlides/notesSlide15.xml" ContentType="application/vnd.openxmlformats-officedocument.presentationml.notesSlide+xml"/>
  <Override PartName="/ppt/tags/tag96.xml" ContentType="application/vnd.openxmlformats-officedocument.presentationml.tags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714" r:id="rId5"/>
    <p:sldMasterId id="2147483744" r:id="rId6"/>
    <p:sldMasterId id="2147483775" r:id="rId7"/>
    <p:sldMasterId id="2147483809" r:id="rId8"/>
    <p:sldMasterId id="2147483839" r:id="rId9"/>
    <p:sldMasterId id="2147483875" r:id="rId10"/>
    <p:sldMasterId id="2147483905" r:id="rId11"/>
    <p:sldMasterId id="2147483935" r:id="rId12"/>
    <p:sldMasterId id="2147483967" r:id="rId13"/>
    <p:sldMasterId id="2147484027" r:id="rId14"/>
    <p:sldMasterId id="2147484057" r:id="rId15"/>
    <p:sldMasterId id="2147484090" r:id="rId16"/>
    <p:sldMasterId id="2147484120" r:id="rId17"/>
    <p:sldMasterId id="2147484152" r:id="rId18"/>
    <p:sldMasterId id="2147484184" r:id="rId19"/>
    <p:sldMasterId id="2147484216" r:id="rId20"/>
    <p:sldMasterId id="2147484247" r:id="rId21"/>
    <p:sldMasterId id="2147484278" r:id="rId22"/>
  </p:sldMasterIdLst>
  <p:notesMasterIdLst>
    <p:notesMasterId r:id="rId44"/>
  </p:notesMasterIdLst>
  <p:sldIdLst>
    <p:sldId id="2147376119" r:id="rId23"/>
    <p:sldId id="2147474819" r:id="rId24"/>
    <p:sldId id="2147475187" r:id="rId25"/>
    <p:sldId id="2147474833" r:id="rId26"/>
    <p:sldId id="580" r:id="rId27"/>
    <p:sldId id="319" r:id="rId28"/>
    <p:sldId id="2147478969" r:id="rId29"/>
    <p:sldId id="2147478973" r:id="rId30"/>
    <p:sldId id="2147478964" r:id="rId31"/>
    <p:sldId id="2147475750" r:id="rId32"/>
    <p:sldId id="396" r:id="rId33"/>
    <p:sldId id="378" r:id="rId34"/>
    <p:sldId id="2147483471" r:id="rId35"/>
    <p:sldId id="2147483472" r:id="rId36"/>
    <p:sldId id="2147483473" r:id="rId37"/>
    <p:sldId id="2147478967" r:id="rId38"/>
    <p:sldId id="2147483474" r:id="rId39"/>
    <p:sldId id="2147478966" r:id="rId40"/>
    <p:sldId id="2147483470" r:id="rId41"/>
    <p:sldId id="2147475689" r:id="rId42"/>
    <p:sldId id="2147475748" r:id="rId43"/>
  </p:sldIdLst>
  <p:sldSz cx="12192000" cy="6858000"/>
  <p:notesSz cx="6858000" cy="9144000"/>
  <p:embeddedFontLst>
    <p:embeddedFont>
      <p:font typeface="Arial Narrow" panose="020B0606020202030204" pitchFamily="34" charset="0"/>
      <p:regular r:id="rId45"/>
      <p:bold r:id="rId46"/>
      <p:italic r:id="rId47"/>
      <p:boldItalic r:id="rId48"/>
    </p:embeddedFont>
    <p:embeddedFont>
      <p:font typeface="Arial Nova" panose="020B0504020202020204" pitchFamily="34" charset="0"/>
      <p:regular r:id="rId49"/>
      <p:bold r:id="rId50"/>
      <p:italic r:id="rId51"/>
      <p:boldItalic r:id="rId52"/>
    </p:embeddedFont>
    <p:embeddedFont>
      <p:font typeface="SLB Sans" panose="02000503040000020004" pitchFamily="50" charset="0"/>
      <p:regular r:id="rId53"/>
      <p:bold r:id="rId54"/>
      <p:italic r:id="rId55"/>
      <p:boldItalic r:id="rId56"/>
    </p:embeddedFont>
    <p:embeddedFont>
      <p:font typeface="SLB Sans Book" panose="02000503040000020004" pitchFamily="50" charset="0"/>
      <p:regular r:id="rId57"/>
      <p:italic r:id="rId58"/>
    </p:embeddedFont>
    <p:embeddedFont>
      <p:font typeface="SLB Sans Light" panose="02000503040000020004" pitchFamily="50" charset="0"/>
      <p:regular r:id="rId59"/>
      <p:italic r:id="rId60"/>
    </p:embeddedFont>
    <p:embeddedFont>
      <p:font typeface="SLB Sans Medium" panose="02000503040000020004" pitchFamily="50" charset="0"/>
      <p:regular r:id="rId61"/>
      <p:italic r:id="rId62"/>
    </p:embeddedFont>
  </p:embeddedFontLst>
  <p:custDataLst>
    <p:tags r:id="rId6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1598956-28BF-4F34-8521-54A0106C750E}">
          <p14:sldIdLst>
            <p14:sldId id="2147376119"/>
            <p14:sldId id="2147474819"/>
            <p14:sldId id="2147475187"/>
            <p14:sldId id="2147474833"/>
            <p14:sldId id="580"/>
          </p14:sldIdLst>
        </p14:section>
        <p14:section name="SLB Geothermal Capabilities" id="{03DFA908-463C-4CBA-9184-225C29C8AC92}">
          <p14:sldIdLst>
            <p14:sldId id="319"/>
            <p14:sldId id="2147478969"/>
            <p14:sldId id="2147478973"/>
            <p14:sldId id="2147478964"/>
            <p14:sldId id="2147475750"/>
            <p14:sldId id="396"/>
            <p14:sldId id="378"/>
            <p14:sldId id="2147483471"/>
            <p14:sldId id="2147483472"/>
          </p14:sldIdLst>
        </p14:section>
        <p14:section name="Case Studies" id="{1FFD191C-B4E1-414D-B38C-45A0CDE7C926}">
          <p14:sldIdLst>
            <p14:sldId id="2147483473"/>
            <p14:sldId id="2147478967"/>
            <p14:sldId id="2147483474"/>
            <p14:sldId id="2147478966"/>
            <p14:sldId id="2147483470"/>
            <p14:sldId id="2147475689"/>
            <p14:sldId id="214747574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B1D80ED-CCA1-47E1-B50A-0AEC39CAE665}" v="2" dt="2024-03-21T15:43:16.769"/>
  </p1510:revLst>
</p1510:revInfo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281"/>
    <p:restoredTop sz="79526" autoAdjust="0"/>
  </p:normalViewPr>
  <p:slideViewPr>
    <p:cSldViewPr snapToGrid="0">
      <p:cViewPr varScale="1">
        <p:scale>
          <a:sx n="126" d="100"/>
          <a:sy n="126" d="100"/>
        </p:scale>
        <p:origin x="3714" y="132"/>
      </p:cViewPr>
      <p:guideLst/>
    </p:cSldViewPr>
  </p:slideViewPr>
  <p:outlineViewPr>
    <p:cViewPr>
      <p:scale>
        <a:sx n="33" d="100"/>
        <a:sy n="33" d="100"/>
      </p:scale>
      <p:origin x="0" y="-1024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4.xml"/><Relationship Id="rId39" Type="http://schemas.openxmlformats.org/officeDocument/2006/relationships/slide" Target="slides/slide17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12.xml"/><Relationship Id="rId42" Type="http://schemas.openxmlformats.org/officeDocument/2006/relationships/slide" Target="slides/slide20.xml"/><Relationship Id="rId47" Type="http://schemas.openxmlformats.org/officeDocument/2006/relationships/font" Target="fonts/font3.fntdata"/><Relationship Id="rId50" Type="http://schemas.openxmlformats.org/officeDocument/2006/relationships/font" Target="fonts/font6.fntdata"/><Relationship Id="rId55" Type="http://schemas.openxmlformats.org/officeDocument/2006/relationships/font" Target="fonts/font11.fntdata"/><Relationship Id="rId63" Type="http://schemas.openxmlformats.org/officeDocument/2006/relationships/tags" Target="tags/tag1.xml"/><Relationship Id="rId68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" Target="slides/slide7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2.xml"/><Relationship Id="rId32" Type="http://schemas.openxmlformats.org/officeDocument/2006/relationships/slide" Target="slides/slide10.xml"/><Relationship Id="rId37" Type="http://schemas.openxmlformats.org/officeDocument/2006/relationships/slide" Target="slides/slide15.xml"/><Relationship Id="rId40" Type="http://schemas.openxmlformats.org/officeDocument/2006/relationships/slide" Target="slides/slide18.xml"/><Relationship Id="rId45" Type="http://schemas.openxmlformats.org/officeDocument/2006/relationships/font" Target="fonts/font1.fntdata"/><Relationship Id="rId53" Type="http://schemas.openxmlformats.org/officeDocument/2006/relationships/font" Target="fonts/font9.fntdata"/><Relationship Id="rId58" Type="http://schemas.openxmlformats.org/officeDocument/2006/relationships/font" Target="fonts/font14.fntdata"/><Relationship Id="rId66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slide" Target="slides/slide14.xml"/><Relationship Id="rId49" Type="http://schemas.openxmlformats.org/officeDocument/2006/relationships/font" Target="fonts/font5.fntdata"/><Relationship Id="rId57" Type="http://schemas.openxmlformats.org/officeDocument/2006/relationships/font" Target="fonts/font13.fntdata"/><Relationship Id="rId61" Type="http://schemas.openxmlformats.org/officeDocument/2006/relationships/font" Target="fonts/font17.fntdata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9.xml"/><Relationship Id="rId44" Type="http://schemas.openxmlformats.org/officeDocument/2006/relationships/notesMaster" Target="notesMasters/notesMaster1.xml"/><Relationship Id="rId52" Type="http://schemas.openxmlformats.org/officeDocument/2006/relationships/font" Target="fonts/font8.fntdata"/><Relationship Id="rId60" Type="http://schemas.openxmlformats.org/officeDocument/2006/relationships/font" Target="fonts/font16.fntdata"/><Relationship Id="rId65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5.xml"/><Relationship Id="rId30" Type="http://schemas.openxmlformats.org/officeDocument/2006/relationships/slide" Target="slides/slide8.xml"/><Relationship Id="rId35" Type="http://schemas.openxmlformats.org/officeDocument/2006/relationships/slide" Target="slides/slide13.xml"/><Relationship Id="rId43" Type="http://schemas.openxmlformats.org/officeDocument/2006/relationships/slide" Target="slides/slide21.xml"/><Relationship Id="rId48" Type="http://schemas.openxmlformats.org/officeDocument/2006/relationships/font" Target="fonts/font4.fntdata"/><Relationship Id="rId56" Type="http://schemas.openxmlformats.org/officeDocument/2006/relationships/font" Target="fonts/font12.fntdata"/><Relationship Id="rId64" Type="http://schemas.openxmlformats.org/officeDocument/2006/relationships/presProps" Target="presProps.xml"/><Relationship Id="rId69" Type="http://schemas.microsoft.com/office/2015/10/relationships/revisionInfo" Target="revisionInfo.xml"/><Relationship Id="rId8" Type="http://schemas.openxmlformats.org/officeDocument/2006/relationships/slideMaster" Target="slideMasters/slideMaster5.xml"/><Relationship Id="rId51" Type="http://schemas.openxmlformats.org/officeDocument/2006/relationships/font" Target="fonts/font7.fntdata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3.xml"/><Relationship Id="rId33" Type="http://schemas.openxmlformats.org/officeDocument/2006/relationships/slide" Target="slides/slide11.xml"/><Relationship Id="rId38" Type="http://schemas.openxmlformats.org/officeDocument/2006/relationships/slide" Target="slides/slide16.xml"/><Relationship Id="rId46" Type="http://schemas.openxmlformats.org/officeDocument/2006/relationships/font" Target="fonts/font2.fntdata"/><Relationship Id="rId59" Type="http://schemas.openxmlformats.org/officeDocument/2006/relationships/font" Target="fonts/font15.fntdata"/><Relationship Id="rId67" Type="http://schemas.openxmlformats.org/officeDocument/2006/relationships/tableStyles" Target="tableStyles.xml"/><Relationship Id="rId20" Type="http://schemas.openxmlformats.org/officeDocument/2006/relationships/slideMaster" Target="slideMasters/slideMaster17.xml"/><Relationship Id="rId41" Type="http://schemas.openxmlformats.org/officeDocument/2006/relationships/slide" Target="slides/slide19.xml"/><Relationship Id="rId54" Type="http://schemas.openxmlformats.org/officeDocument/2006/relationships/font" Target="fonts/font10.fntdata"/><Relationship Id="rId62" Type="http://schemas.openxmlformats.org/officeDocument/2006/relationships/font" Target="fonts/font18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jet Agrane" userId="dd02606f-9f41-4ca7-a094-e44f1429c7f6" providerId="ADAL" clId="{1B1D80ED-CCA1-47E1-B50A-0AEC39CAE665}"/>
    <pc:docChg chg="modSld">
      <pc:chgData name="Najet Agrane" userId="dd02606f-9f41-4ca7-a094-e44f1429c7f6" providerId="ADAL" clId="{1B1D80ED-CCA1-47E1-B50A-0AEC39CAE665}" dt="2024-03-21T15:44:16.066" v="10" actId="6549"/>
      <pc:docMkLst>
        <pc:docMk/>
      </pc:docMkLst>
      <pc:sldChg chg="modNotesTx">
        <pc:chgData name="Najet Agrane" userId="dd02606f-9f41-4ca7-a094-e44f1429c7f6" providerId="ADAL" clId="{1B1D80ED-CCA1-47E1-B50A-0AEC39CAE665}" dt="2024-03-21T15:43:58.075" v="6" actId="6549"/>
        <pc:sldMkLst>
          <pc:docMk/>
          <pc:sldMk cId="349997588" sldId="378"/>
        </pc:sldMkLst>
      </pc:sldChg>
      <pc:sldChg chg="modNotesTx">
        <pc:chgData name="Najet Agrane" userId="dd02606f-9f41-4ca7-a094-e44f1429c7f6" providerId="ADAL" clId="{1B1D80ED-CCA1-47E1-B50A-0AEC39CAE665}" dt="2024-03-21T15:43:44.632" v="5" actId="6549"/>
        <pc:sldMkLst>
          <pc:docMk/>
          <pc:sldMk cId="3924949146" sldId="580"/>
        </pc:sldMkLst>
      </pc:sldChg>
      <pc:sldChg chg="modNotesTx">
        <pc:chgData name="Najet Agrane" userId="dd02606f-9f41-4ca7-a094-e44f1429c7f6" providerId="ADAL" clId="{1B1D80ED-CCA1-47E1-B50A-0AEC39CAE665}" dt="2024-03-21T15:43:24.645" v="1" actId="6549"/>
        <pc:sldMkLst>
          <pc:docMk/>
          <pc:sldMk cId="381861856" sldId="2147474819"/>
        </pc:sldMkLst>
      </pc:sldChg>
      <pc:sldChg chg="modNotesTx">
        <pc:chgData name="Najet Agrane" userId="dd02606f-9f41-4ca7-a094-e44f1429c7f6" providerId="ADAL" clId="{1B1D80ED-CCA1-47E1-B50A-0AEC39CAE665}" dt="2024-03-21T15:43:36.670" v="4" actId="6549"/>
        <pc:sldMkLst>
          <pc:docMk/>
          <pc:sldMk cId="696733737" sldId="2147474833"/>
        </pc:sldMkLst>
      </pc:sldChg>
      <pc:sldChg chg="modNotesTx">
        <pc:chgData name="Najet Agrane" userId="dd02606f-9f41-4ca7-a094-e44f1429c7f6" providerId="ADAL" clId="{1B1D80ED-CCA1-47E1-B50A-0AEC39CAE665}" dt="2024-03-21T15:43:32.808" v="3" actId="6549"/>
        <pc:sldMkLst>
          <pc:docMk/>
          <pc:sldMk cId="1342136101" sldId="2147475187"/>
        </pc:sldMkLst>
      </pc:sldChg>
      <pc:sldChg chg="modNotesTx">
        <pc:chgData name="Najet Agrane" userId="dd02606f-9f41-4ca7-a094-e44f1429c7f6" providerId="ADAL" clId="{1B1D80ED-CCA1-47E1-B50A-0AEC39CAE665}" dt="2024-03-21T15:44:10.487" v="9" actId="6549"/>
        <pc:sldMkLst>
          <pc:docMk/>
          <pc:sldMk cId="3800135073" sldId="2147478967"/>
        </pc:sldMkLst>
      </pc:sldChg>
      <pc:sldChg chg="modNotesTx">
        <pc:chgData name="Najet Agrane" userId="dd02606f-9f41-4ca7-a094-e44f1429c7f6" providerId="ADAL" clId="{1B1D80ED-CCA1-47E1-B50A-0AEC39CAE665}" dt="2024-03-21T15:44:16.066" v="10" actId="6549"/>
        <pc:sldMkLst>
          <pc:docMk/>
          <pc:sldMk cId="3323075035" sldId="2147483470"/>
        </pc:sldMkLst>
      </pc:sldChg>
      <pc:sldChg chg="modNotesTx">
        <pc:chgData name="Najet Agrane" userId="dd02606f-9f41-4ca7-a094-e44f1429c7f6" providerId="ADAL" clId="{1B1D80ED-CCA1-47E1-B50A-0AEC39CAE665}" dt="2024-03-21T15:44:00.857" v="7" actId="6549"/>
        <pc:sldMkLst>
          <pc:docMk/>
          <pc:sldMk cId="3860456418" sldId="2147483471"/>
        </pc:sldMkLst>
      </pc:sldChg>
      <pc:sldChg chg="modNotesTx">
        <pc:chgData name="Najet Agrane" userId="dd02606f-9f41-4ca7-a094-e44f1429c7f6" providerId="ADAL" clId="{1B1D80ED-CCA1-47E1-B50A-0AEC39CAE665}" dt="2024-03-21T15:44:05.131" v="8" actId="6549"/>
        <pc:sldMkLst>
          <pc:docMk/>
          <pc:sldMk cId="2655112458" sldId="2147483472"/>
        </pc:sldMkLst>
      </pc:sldChg>
    </pc:docChg>
  </pc:docChgLst>
</pc:chgInfo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929658340511054E-2"/>
          <c:y val="0.25870646766169153"/>
          <c:w val="0.97014068331897785"/>
          <c:h val="0.4825870646766169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0.1</c:v>
                </c:pt>
                <c:pt idx="1">
                  <c:v>1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DB2-4499-8257-AFA83DC827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621688808"/>
        <c:axId val="1"/>
      </c:barChart>
      <c:catAx>
        <c:axId val="6216888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21688808"/>
        <c:crosses val="min"/>
        <c:crossBetween val="between"/>
      </c:valAx>
    </c:plotArea>
    <c:plotVisOnly val="0"/>
    <c:dispBlanksAs val="gap"/>
    <c:showDLblsOverMax val="1"/>
  </c:char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0560780215952624E-3"/>
          <c:y val="7.6023391812865493E-2"/>
          <c:w val="0.9818878439568095"/>
          <c:h val="0.84795321637426901"/>
        </c:manualLayout>
      </c:layout>
      <c:lineChart>
        <c:grouping val="standard"/>
        <c:varyColors val="0"/>
        <c:ser>
          <c:idx val="0"/>
          <c:order val="0"/>
          <c:spPr>
            <a:ln w="1905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1:$T$1</c:f>
              <c:numCache>
                <c:formatCode>General</c:formatCode>
                <c:ptCount val="20"/>
                <c:pt idx="0">
                  <c:v>9.9</c:v>
                </c:pt>
                <c:pt idx="1">
                  <c:v>9.8000000000000007</c:v>
                </c:pt>
                <c:pt idx="2">
                  <c:v>9.8000000000000007</c:v>
                </c:pt>
                <c:pt idx="3">
                  <c:v>9.8000000000000007</c:v>
                </c:pt>
                <c:pt idx="4">
                  <c:v>9.6999999999999993</c:v>
                </c:pt>
                <c:pt idx="5">
                  <c:v>9.6</c:v>
                </c:pt>
                <c:pt idx="6">
                  <c:v>9.5</c:v>
                </c:pt>
                <c:pt idx="7">
                  <c:v>9.3000000000000007</c:v>
                </c:pt>
                <c:pt idx="8">
                  <c:v>9.1999999999999993</c:v>
                </c:pt>
                <c:pt idx="9">
                  <c:v>9</c:v>
                </c:pt>
                <c:pt idx="10">
                  <c:v>8.8000000000000007</c:v>
                </c:pt>
                <c:pt idx="11">
                  <c:v>5</c:v>
                </c:pt>
                <c:pt idx="12">
                  <c:v>4.8</c:v>
                </c:pt>
                <c:pt idx="13">
                  <c:v>4.3</c:v>
                </c:pt>
                <c:pt idx="14">
                  <c:v>4</c:v>
                </c:pt>
                <c:pt idx="15">
                  <c:v>3.4</c:v>
                </c:pt>
                <c:pt idx="16">
                  <c:v>2.8</c:v>
                </c:pt>
                <c:pt idx="17">
                  <c:v>2.2000000000000002</c:v>
                </c:pt>
                <c:pt idx="18">
                  <c:v>1.5</c:v>
                </c:pt>
                <c:pt idx="19">
                  <c:v>1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CD0-4200-A8A8-59DDD6D6B9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94541192"/>
        <c:axId val="1"/>
      </c:lineChart>
      <c:catAx>
        <c:axId val="20945411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b="1" kern="1200">
                <a:latin typeface="SLB Sans"/>
                <a:ea typeface="+mn-ea"/>
                <a:cs typeface="+mn-cs"/>
              </a:defRPr>
            </a:pPr>
            <a:endParaRPr lang="en-US"/>
          </a:p>
        </c:txPr>
        <c:crossAx val="2094541192"/>
        <c:crosses val="min"/>
        <c:crossBetween val="midCat"/>
        <c:majorUnit val="5"/>
      </c:valAx>
    </c:plotArea>
    <c:plotVisOnly val="0"/>
    <c:dispBlanksAs val="gap"/>
    <c:showDLblsOverMax val="1"/>
  </c:chart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608695652173914E-2"/>
          <c:y val="0.10547667342799188"/>
          <c:w val="0.95478260869565212"/>
          <c:h val="0.7890466531440162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89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1E2-4EB4-BED4-2EDBD0ABC2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608925583"/>
        <c:axId val="1"/>
      </c:barChart>
      <c:catAx>
        <c:axId val="60892558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9.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08925583"/>
        <c:crosses val="min"/>
        <c:crossBetween val="between"/>
      </c:valAx>
    </c:plotArea>
    <c:plotVisOnly val="0"/>
    <c:dispBlanksAs val="gap"/>
    <c:showDLblsOverMax val="1"/>
  </c:chart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C5B31EDB-2B11-1F43-A71F-A8DF542F5DAA}" type="datetimeFigureOut">
              <a:rPr lang="en-GB" smtClean="0"/>
              <a:pPr/>
              <a:t>21/03/2024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75681A11-3955-4C4A-B883-8F3EA58F0D8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5891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681A11-3955-4C4A-B883-8F3EA58F0D8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59144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681A11-3955-4C4A-B883-8F3EA58F0D8B}" type="slidenum"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53426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45ED3D-BE06-8673-5FA8-EA1A1A5283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83136CB-67A9-4BE9-29F2-C8DF00CBF0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C1CAA68-3D42-BBFB-D6A3-9C81B7279E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69CC6C-38E8-B21D-789F-67B366AF8A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681A11-3955-4C4A-B883-8F3EA58F0D8B}" type="slidenum"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12024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4037C5-C643-4DA9-9D17-D64010967BA9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7620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4037C5-C643-4DA9-9D17-D64010967BA9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054040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4037C5-C643-4DA9-9D17-D64010967BA9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929706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8E950E-B9DA-40C2-B4EF-825C97AED3F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52980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973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2BE7DD-30A8-47D7-9EBD-B2B9880E0923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973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89117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6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SLB Sans Book" panose="02000503040000020004" pitchFamily="50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BD8672-7061-A847-92A6-F0A4F2BAC89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01081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681A11-3955-4C4A-B883-8F3EA58F0D8B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38062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55E7C1-24A1-4D1B-9858-466B4C3666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289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11778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681A11-3955-4C4A-B883-8F3EA58F0D8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92296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681A11-3955-4C4A-B883-8F3EA58F0D8B}" type="slidenum"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86727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681A11-3955-4C4A-B883-8F3EA58F0D8B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08694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681A11-3955-4C4A-B883-8F3EA58F0D8B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2536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.xml"/><Relationship Id="rId5" Type="http://schemas.openxmlformats.org/officeDocument/2006/relationships/image" Target="../media/image14.png"/><Relationship Id="rId4" Type="http://schemas.openxmlformats.org/officeDocument/2006/relationships/image" Target="../media/image13.emf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1.bin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8.xml"/><Relationship Id="rId4" Type="http://schemas.openxmlformats.org/officeDocument/2006/relationships/image" Target="../media/image19.emf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9.xml"/><Relationship Id="rId6" Type="http://schemas.openxmlformats.org/officeDocument/2006/relationships/image" Target="../media/image11.svg"/><Relationship Id="rId5" Type="http://schemas.openxmlformats.org/officeDocument/2006/relationships/image" Target="../media/image9.png"/><Relationship Id="rId4" Type="http://schemas.openxmlformats.org/officeDocument/2006/relationships/image" Target="../media/image19.emf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5.xml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5.xml"/></Relationships>
</file>

<file path=ppt/slideLayouts/_rels/slideLayout4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5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5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21.xml"/><Relationship Id="rId4" Type="http://schemas.openxmlformats.org/officeDocument/2006/relationships/image" Target="../media/image19.emf"/></Relationships>
</file>

<file path=ppt/slideLayouts/_rels/slideLayout4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5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5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5.xml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5.xml"/></Relationships>
</file>

<file path=ppt/slideLayouts/_rels/slideLayout4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5.xml"/></Relationships>
</file>

<file path=ppt/slideLayouts/_rels/slideLayout4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5.xml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2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9.emf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6.xml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6.xml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6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6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6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24.xml"/><Relationship Id="rId4" Type="http://schemas.openxmlformats.org/officeDocument/2006/relationships/image" Target="../media/image19.emf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6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6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6.xml"/></Relationships>
</file>

<file path=ppt/slideLayouts/_rels/slideLayout4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6.xml"/></Relationships>
</file>

<file path=ppt/slideLayouts/_rels/slideLayout4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6.xml"/></Relationships>
</file>

<file path=ppt/slideLayouts/_rels/slideLayout4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6.xml"/></Relationships>
</file>

<file path=ppt/slideLayouts/_rels/slideLayout4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25.xml"/><Relationship Id="rId6" Type="http://schemas.openxmlformats.org/officeDocument/2006/relationships/image" Target="../media/image11.svg"/><Relationship Id="rId5" Type="http://schemas.openxmlformats.org/officeDocument/2006/relationships/image" Target="../media/image9.png"/><Relationship Id="rId4" Type="http://schemas.openxmlformats.org/officeDocument/2006/relationships/image" Target="../media/image19.emf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7.xml"/></Relationships>
</file>

<file path=ppt/slideLayouts/_rels/slideLayout4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7.xml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7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7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7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7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7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7.xml"/></Relationships>
</file>

<file path=ppt/slideLayouts/_rels/slideLayout5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7.xml"/></Relationships>
</file>

<file path=ppt/slideLayouts/_rels/slideLayout5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7.xml"/></Relationships>
</file>

<file path=ppt/slideLayouts/_rels/slideLayout5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7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7.xml"/></Relationships>
</file>

<file path=ppt/slideLayouts/_rels/slideLayout5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8.xml"/></Relationships>
</file>

<file path=ppt/slideLayouts/_rels/slideLayout5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8.xml"/></Relationships>
</file>

<file path=ppt/slideLayouts/_rels/slideLayout5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8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8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8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8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8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8.xml"/></Relationships>
</file>

<file path=ppt/slideLayouts/_rels/slideLayout5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8.xml"/></Relationships>
</file>

<file path=ppt/slideLayouts/_rels/slideLayout5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8.xml"/></Relationships>
</file>

<file path=ppt/slideLayouts/_rels/slideLayout5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8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5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8.xml"/></Relationships>
</file>

<file path=ppt/slideLayouts/_rels/slideLayout5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23.emf"/></Relationships>
</file>

<file path=ppt/slideLayouts/_rels/slideLayout5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/Relationships>
</file>

<file path=ppt/slideLayouts/_rels/slideLayout5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9.xml"/><Relationship Id="rId1" Type="http://schemas.openxmlformats.org/officeDocument/2006/relationships/tags" Target="../tags/tag29.xml"/><Relationship Id="rId6" Type="http://schemas.openxmlformats.org/officeDocument/2006/relationships/image" Target="../media/image23.emf"/><Relationship Id="rId5" Type="http://schemas.openxmlformats.org/officeDocument/2006/relationships/image" Target="../media/image24.jpeg"/><Relationship Id="rId4" Type="http://schemas.openxmlformats.org/officeDocument/2006/relationships/image" Target="../media/image13.emf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9.xml"/><Relationship Id="rId1" Type="http://schemas.openxmlformats.org/officeDocument/2006/relationships/tags" Target="../tags/tag30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13.e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9.xml"/><Relationship Id="rId1" Type="http://schemas.openxmlformats.org/officeDocument/2006/relationships/tags" Target="../tags/tag31.xml"/><Relationship Id="rId6" Type="http://schemas.openxmlformats.org/officeDocument/2006/relationships/image" Target="../media/image26.png"/><Relationship Id="rId5" Type="http://schemas.openxmlformats.org/officeDocument/2006/relationships/image" Target="../media/image27.jpeg"/><Relationship Id="rId4" Type="http://schemas.openxmlformats.org/officeDocument/2006/relationships/image" Target="../media/image13.emf"/></Relationships>
</file>

<file path=ppt/slideLayouts/_rels/slideLayout5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9.xml"/><Relationship Id="rId1" Type="http://schemas.openxmlformats.org/officeDocument/2006/relationships/tags" Target="../tags/tag32.xml"/><Relationship Id="rId6" Type="http://schemas.openxmlformats.org/officeDocument/2006/relationships/image" Target="../media/image26.png"/><Relationship Id="rId5" Type="http://schemas.openxmlformats.org/officeDocument/2006/relationships/image" Target="../media/image28.png"/><Relationship Id="rId4" Type="http://schemas.openxmlformats.org/officeDocument/2006/relationships/image" Target="../media/image13.emf"/></Relationships>
</file>

<file path=ppt/slideLayouts/_rels/slideLayout5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9.xml"/><Relationship Id="rId1" Type="http://schemas.openxmlformats.org/officeDocument/2006/relationships/tags" Target="../tags/tag33.xml"/><Relationship Id="rId6" Type="http://schemas.openxmlformats.org/officeDocument/2006/relationships/image" Target="../media/image26.png"/><Relationship Id="rId5" Type="http://schemas.openxmlformats.org/officeDocument/2006/relationships/image" Target="../media/image29.png"/><Relationship Id="rId4" Type="http://schemas.openxmlformats.org/officeDocument/2006/relationships/image" Target="../media/image13.emf"/></Relationships>
</file>

<file path=ppt/slideLayouts/_rels/slideLayout5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9.xml"/><Relationship Id="rId1" Type="http://schemas.openxmlformats.org/officeDocument/2006/relationships/tags" Target="../tags/tag34.xml"/><Relationship Id="rId5" Type="http://schemas.openxmlformats.org/officeDocument/2006/relationships/image" Target="../media/image23.emf"/><Relationship Id="rId4" Type="http://schemas.openxmlformats.org/officeDocument/2006/relationships/image" Target="../media/image13.emf"/></Relationships>
</file>

<file path=ppt/slideLayouts/_rels/slideLayout5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9.xml"/><Relationship Id="rId1" Type="http://schemas.openxmlformats.org/officeDocument/2006/relationships/tags" Target="../tags/tag35.xml"/><Relationship Id="rId5" Type="http://schemas.openxmlformats.org/officeDocument/2006/relationships/image" Target="../media/image23.emf"/><Relationship Id="rId4" Type="http://schemas.openxmlformats.org/officeDocument/2006/relationships/image" Target="../media/image13.emf"/></Relationships>
</file>

<file path=ppt/slideLayouts/_rels/slideLayout5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9.xml"/><Relationship Id="rId1" Type="http://schemas.openxmlformats.org/officeDocument/2006/relationships/tags" Target="../tags/tag36.xml"/><Relationship Id="rId5" Type="http://schemas.openxmlformats.org/officeDocument/2006/relationships/image" Target="../media/image23.emf"/><Relationship Id="rId4" Type="http://schemas.openxmlformats.org/officeDocument/2006/relationships/image" Target="../media/image13.emf"/></Relationships>
</file>

<file path=ppt/slideLayouts/_rels/slideLayout5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9.xml"/><Relationship Id="rId1" Type="http://schemas.openxmlformats.org/officeDocument/2006/relationships/tags" Target="../tags/tag37.xml"/><Relationship Id="rId5" Type="http://schemas.openxmlformats.org/officeDocument/2006/relationships/image" Target="../media/image23.emf"/><Relationship Id="rId4" Type="http://schemas.openxmlformats.org/officeDocument/2006/relationships/image" Target="../media/image13.emf"/></Relationships>
</file>

<file path=ppt/slideLayouts/_rels/slideLayout5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9.xml"/><Relationship Id="rId1" Type="http://schemas.openxmlformats.org/officeDocument/2006/relationships/tags" Target="../tags/tag38.xml"/><Relationship Id="rId5" Type="http://schemas.openxmlformats.org/officeDocument/2006/relationships/image" Target="../media/image30.jpeg"/><Relationship Id="rId4" Type="http://schemas.openxmlformats.org/officeDocument/2006/relationships/image" Target="../media/image13.emf"/></Relationships>
</file>

<file path=ppt/slideLayouts/_rels/slideLayout5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9.xml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31ED342-3D5F-E744-5C02-ED60F13F3A3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975334"/>
            <a:ext cx="9144000" cy="3439236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C1A5716-3608-4053-4CC8-84BF92B5D6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8671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050BD1E-00A9-4F45-5A21-3A16C0123F69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DB5DA967-430E-FD94-6B0C-7C66CB6678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59657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41084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4108450"/>
            <a:ext cx="3968750" cy="27432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388974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2CF53DD-0966-0BFD-B778-F487FDD28A20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CA6186D-802B-AA5D-226E-496C143AC6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3250" y="4568825"/>
            <a:ext cx="3968750" cy="2289175"/>
          </a:xfrm>
          <a:solidFill>
            <a:schemeClr val="bg2"/>
          </a:solidFill>
        </p:spPr>
        <p:txBody>
          <a:bodyPr lIns="468000" tIns="468000" rIns="36000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Chart Placeholder 12">
            <a:extLst>
              <a:ext uri="{FF2B5EF4-FFF2-40B4-BE49-F238E27FC236}">
                <a16:creationId xmlns:a16="http://schemas.microsoft.com/office/drawing/2014/main" id="{141BAAD1-B2B6-51E6-5B60-1808F5AC81C2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680450" y="457200"/>
            <a:ext cx="3192463" cy="365125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CBC916D-681F-B16B-82E0-C83AEC5C63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713679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8080376" cy="502284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369904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C38C3D6-67EC-0336-DD99-56DDA5E5271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572000" y="2279650"/>
            <a:ext cx="7300913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545018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4111625" cy="502284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1828800"/>
            <a:ext cx="3968750" cy="50228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827757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617378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579755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088743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94850" y="3654425"/>
            <a:ext cx="259715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320040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079543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Numb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802C4B2-937C-CC88-1104-BE3049DA47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80450" y="457200"/>
            <a:ext cx="3192463" cy="137160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##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2279650"/>
            <a:ext cx="3968750" cy="45783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2A43E3D-583C-C3D3-EB91-4B474E93AA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3679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13716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08450" y="2279650"/>
            <a:ext cx="8083550" cy="45783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9ABDF0F-4BA7-B82C-7345-64CE6436A7E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13716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E9F08A9-468B-A902-D68B-8E0B8D9536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6093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558959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70BFD0F-01A4-774A-DFA5-C9069D2CA6D4}"/>
              </a:ext>
            </a:extLst>
          </p:cNvPr>
          <p:cNvSpPr/>
          <p:nvPr userDrawn="1"/>
        </p:nvSpPr>
        <p:spPr>
          <a:xfrm>
            <a:off x="4108450" y="3194050"/>
            <a:ext cx="8083550" cy="36639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301E557-BFAD-DC7D-FAEB-CD9F2F2693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64769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CC2D35B-A55A-CCD1-4EDA-D1E8C50801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9673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285224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22717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2000" y="3654425"/>
            <a:ext cx="762000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542330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108450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80450" y="2743200"/>
            <a:ext cx="3511550" cy="4108451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Picture Placeholder 7">
            <a:extLst>
              <a:ext uri="{FF2B5EF4-FFF2-40B4-BE49-F238E27FC236}">
                <a16:creationId xmlns:a16="http://schemas.microsoft.com/office/drawing/2014/main" id="{15843B81-9280-B787-925B-D94E5BB1E76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680450" y="1"/>
            <a:ext cx="3511550" cy="27432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489478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B92480-F2BB-6E4D-0B48-BC5E95A85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969909-5E9F-D8E9-99CB-822E1C3E1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60292F-46E5-7C51-F750-22AAB107E9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939231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D5D703-D8EA-9994-BA95-384890B498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DCE458-D9A3-4DEA-87B5-6B6AE0C5F7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352556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sin Map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3B0B03C-65C1-B39F-F4CF-D3F9200D5416}"/>
              </a:ext>
            </a:extLst>
          </p:cNvPr>
          <p:cNvSpPr/>
          <p:nvPr userDrawn="1"/>
        </p:nvSpPr>
        <p:spPr>
          <a:xfrm>
            <a:off x="238539" y="1078788"/>
            <a:ext cx="9117495" cy="55626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8EF50B7-28CC-1AAA-7DAB-B4A38148BF8A}"/>
              </a:ext>
            </a:extLst>
          </p:cNvPr>
          <p:cNvSpPr/>
          <p:nvPr userDrawn="1"/>
        </p:nvSpPr>
        <p:spPr>
          <a:xfrm>
            <a:off x="238540" y="261709"/>
            <a:ext cx="9117494" cy="7348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969909-5E9F-D8E9-99CB-822E1C3E1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60292F-46E5-7C51-F750-22AAB107E9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1"/>
            <a:ext cx="8672513" cy="332399"/>
          </a:xfrm>
        </p:spPr>
        <p:txBody>
          <a:bodyPr wrap="square"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58762FB-9D63-2349-6E8F-D2CFE4E431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5A8EDF0-4DAB-ACF1-7FD5-891321DB014E}"/>
              </a:ext>
            </a:extLst>
          </p:cNvPr>
          <p:cNvSpPr/>
          <p:nvPr userDrawn="1"/>
        </p:nvSpPr>
        <p:spPr>
          <a:xfrm>
            <a:off x="238540" y="189708"/>
            <a:ext cx="9117494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5678054-26F6-BE3B-EE69-C659B73A4C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94850" y="1376362"/>
            <a:ext cx="2278063" cy="45608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194762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mall head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 baseline="0"/>
            </a:lvl1pPr>
          </a:lstStyle>
          <a:p>
            <a:fld id="{3CDBAD22-A2B7-6B4F-ACA3-30DD7C0B02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07989" y="361807"/>
            <a:ext cx="9859962" cy="338137"/>
          </a:xfrm>
        </p:spPr>
        <p:txBody>
          <a:bodyPr/>
          <a:lstStyle>
            <a:lvl1pPr>
              <a:defRPr sz="1100" baseline="0">
                <a:latin typeface="+mn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52395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41084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4108450"/>
            <a:ext cx="3968750" cy="27432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171788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89FCF73-4D26-4B91-95E0-32E36F78E670}"/>
              </a:ext>
            </a:extLst>
          </p:cNvPr>
          <p:cNvSpPr/>
          <p:nvPr userDrawn="1"/>
        </p:nvSpPr>
        <p:spPr>
          <a:xfrm>
            <a:off x="2270" y="175570"/>
            <a:ext cx="7813964" cy="6717599"/>
          </a:xfrm>
          <a:prstGeom prst="rect">
            <a:avLst/>
          </a:prstGeom>
          <a:solidFill>
            <a:srgbClr val="CEE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C8926A-9BB3-4096-94FD-69A3103614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516" y="901635"/>
            <a:ext cx="6548064" cy="1134983"/>
          </a:xfrm>
        </p:spPr>
        <p:txBody>
          <a:bodyPr anchor="b">
            <a:noAutofit/>
          </a:bodyPr>
          <a:lstStyle>
            <a:lvl1pPr>
              <a:defRPr sz="4400"/>
            </a:lvl1pPr>
          </a:lstStyle>
          <a:p>
            <a:r>
              <a:rPr lang="en-US"/>
              <a:t>The Main Header goes here</a:t>
            </a:r>
            <a:endParaRPr lang="en-GB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1E2D950-0566-49B1-85B0-60B815E3D41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243455" y="2161309"/>
            <a:ext cx="2770912" cy="3574473"/>
          </a:xfrm>
          <a:prstGeom prst="rect">
            <a:avLst/>
          </a:prstGeom>
        </p:spPr>
        <p:txBody>
          <a:bodyPr vert="horz" lIns="91440" tIns="45720" rIns="91440" bIns="45720" numCol="1" rtlCol="0">
            <a:normAutofit/>
          </a:bodyPr>
          <a:lstStyle>
            <a:lvl1pPr marL="0" indent="0">
              <a:buNone/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ext </a:t>
            </a:r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2090DC-3706-4095-AE7B-74947E62F1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619" y="6103501"/>
            <a:ext cx="1320189" cy="534362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F4F98D4-2FA0-4E9D-843D-EC3A1B88C03D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581890" y="2161309"/>
            <a:ext cx="6511640" cy="3574473"/>
          </a:xfrm>
          <a:prstGeom prst="rect">
            <a:avLst/>
          </a:prstGeom>
        </p:spPr>
        <p:txBody>
          <a:bodyPr vert="horz" lIns="91440" tIns="45720" rIns="91440" bIns="45720" numCol="2" rtlCol="0">
            <a:normAutofit/>
          </a:bodyPr>
          <a:lstStyle>
            <a:lvl1pPr marL="0" indent="0">
              <a:buNone/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ext </a:t>
            </a:r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113D58-08C0-4E8B-B023-28F6F22ECEB4}"/>
              </a:ext>
            </a:extLst>
          </p:cNvPr>
          <p:cNvSpPr txBox="1"/>
          <p:nvPr userDrawn="1"/>
        </p:nvSpPr>
        <p:spPr>
          <a:xfrm>
            <a:off x="0" y="6236218"/>
            <a:ext cx="12192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>
                <a:solidFill>
                  <a:schemeClr val="accent1"/>
                </a:solidFill>
              </a:rPr>
              <a:t>Schlumberger-Private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DC4127B1-10DC-4D87-AC34-1A6853E6D0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658450" y="6200322"/>
            <a:ext cx="364706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/>
                </a:solidFill>
              </a:defRPr>
            </a:lvl1pPr>
          </a:lstStyle>
          <a:p>
            <a:fld id="{9AAF8BAE-E423-7142-8A82-C7DE9ECD89B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129543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C8926A-9BB3-4096-94FD-69A3103614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>
            <a:lvl1pPr>
              <a:defRPr sz="4400"/>
            </a:lvl1pPr>
          </a:lstStyle>
          <a:p>
            <a:r>
              <a:rPr lang="en-US"/>
              <a:t>The Main Header goes here</a:t>
            </a:r>
            <a:endParaRPr lang="en-GB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1E2D950-0566-49B1-85B0-60B815E3D41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8964" y="1936467"/>
            <a:ext cx="10455403" cy="3799315"/>
          </a:xfrm>
          <a:prstGeom prst="rect">
            <a:avLst/>
          </a:prstGeom>
        </p:spPr>
        <p:txBody>
          <a:bodyPr vert="horz" lIns="91440" tIns="45720" rIns="91440" bIns="45720" numCol="3" spcCol="360000" rtlCol="0">
            <a:normAutofit/>
          </a:bodyPr>
          <a:lstStyle>
            <a:lvl1pPr marL="0" indent="0">
              <a:buNone/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ext </a:t>
            </a:r>
            <a:endParaRPr lang="en-GB"/>
          </a:p>
        </p:txBody>
      </p:sp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A1E8E1F0-90CD-497B-8E94-FD9EB43C28F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658450" y="6200322"/>
            <a:ext cx="364706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/>
                </a:solidFill>
              </a:defRPr>
            </a:lvl1pPr>
          </a:lstStyle>
          <a:p>
            <a:fld id="{9AAF8BAE-E423-7142-8A82-C7DE9ECD89B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196148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31ED342-3D5F-E744-5C02-ED60F13F3A3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975334"/>
            <a:ext cx="9144000" cy="3439236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F166A59-25A3-3A00-7289-60767DE59A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722837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or 1 Sent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60ADC76-D61C-14B2-73B6-03136E7AB583}"/>
              </a:ext>
            </a:extLst>
          </p:cNvPr>
          <p:cNvSpPr/>
          <p:nvPr userDrawn="1"/>
        </p:nvSpPr>
        <p:spPr>
          <a:xfrm>
            <a:off x="1" y="0"/>
            <a:ext cx="12192000" cy="38896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3049750"/>
            <a:ext cx="9144000" cy="1083374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577C862B-51AF-22E7-C1C8-B6AB08B7081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6991778-B436-9629-6EC4-E96EA59B0C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7114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01E87593-5AB1-A742-817D-C9CC722DF5E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FC5297-363A-7DB8-E10F-5C447164ED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02608"/>
            <a:ext cx="9586913" cy="2852737"/>
          </a:xfrm>
        </p:spPr>
        <p:txBody>
          <a:bodyPr anchor="t"/>
          <a:lstStyle>
            <a:lvl1pPr>
              <a:defRPr sz="720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B0A461-379B-6A19-B69E-A04AF5ECEB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1" y="3654426"/>
            <a:ext cx="5937250" cy="914399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BFB576-48D2-B938-362D-C2CA0F65C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44F17B-F1E6-D688-7E7E-CD7675D187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250329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1A26944-9883-9ACF-5400-2F702B82D504}"/>
              </a:ext>
            </a:extLst>
          </p:cNvPr>
          <p:cNvSpPr/>
          <p:nvPr userDrawn="1"/>
        </p:nvSpPr>
        <p:spPr>
          <a:xfrm>
            <a:off x="8223251" y="0"/>
            <a:ext cx="3968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ECD5EDD-F44D-E2A4-B31C-712D8B99E8B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9050"/>
            <a:ext cx="8223250" cy="687705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35D584-0EEB-DF18-6040-C306755CF2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9225" y="2047164"/>
            <a:ext cx="3651250" cy="2061286"/>
          </a:xfrm>
        </p:spPr>
        <p:txBody>
          <a:bodyPr>
            <a:normAutofit/>
          </a:bodyPr>
          <a:lstStyle>
            <a:lvl1pPr>
              <a:defRPr sz="480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AE34A6-9330-09DC-1C21-168B521268C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DBDCCB-998D-EBD0-8BD5-00E7B94ADC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DF72ABF-3158-3C09-4A36-943B3A21C0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29713" y="4339989"/>
            <a:ext cx="2743200" cy="1597261"/>
          </a:xfrm>
        </p:spPr>
        <p:txBody>
          <a:bodyPr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3743785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SLB Sans Light" panose="02000503040000020004" pitchFamily="2" charset="0"/>
              <a:buChar char="→"/>
              <a:defRPr sz="3600" b="0">
                <a:latin typeface="+mj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859276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83C7488-E944-893A-2043-FE9944331A8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Tx/>
              <a:buFont typeface="SLB Sans Light" panose="02000503040000020004" pitchFamily="2" charset="0"/>
              <a:buChar char="→"/>
              <a:defRPr sz="3600" b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A8ADEEA-C976-6343-E015-561A866601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59410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840336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2552FDF-29F0-FEA1-55F4-48C517205ACB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B57FFDA-D27B-2D1D-703B-FAC972FA97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8126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2CF53DD-0966-0BFD-B778-F487FDD28A20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CA6186D-802B-AA5D-226E-496C143AC6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3250" y="4568825"/>
            <a:ext cx="3968750" cy="2289175"/>
          </a:xfrm>
          <a:solidFill>
            <a:schemeClr val="bg2"/>
          </a:solidFill>
        </p:spPr>
        <p:txBody>
          <a:bodyPr lIns="468000" tIns="468000" rIns="360000"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Chart Placeholder 12">
            <a:extLst>
              <a:ext uri="{FF2B5EF4-FFF2-40B4-BE49-F238E27FC236}">
                <a16:creationId xmlns:a16="http://schemas.microsoft.com/office/drawing/2014/main" id="{141BAAD1-B2B6-51E6-5B60-1808F5AC81C2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680450" y="457200"/>
            <a:ext cx="3192463" cy="365125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DDAAA2D-F47B-6394-6A72-F074375588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84468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154541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050BD1E-00A9-4F45-5A21-3A16C0123F69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0EA85E6-F1EF-96E4-5D58-38735E3A98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81492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6858000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163125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4108450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4108450"/>
            <a:ext cx="3968750" cy="2743200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277438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2CF53DD-0966-0BFD-B778-F487FDD28A20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CA6186D-802B-AA5D-226E-496C143AC6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3250" y="4568825"/>
            <a:ext cx="3968750" cy="2289175"/>
          </a:xfrm>
          <a:solidFill>
            <a:schemeClr val="bg2"/>
          </a:solidFill>
        </p:spPr>
        <p:txBody>
          <a:bodyPr lIns="468000" tIns="468000" rIns="36000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3" name="Chart Placeholder 12">
            <a:extLst>
              <a:ext uri="{FF2B5EF4-FFF2-40B4-BE49-F238E27FC236}">
                <a16:creationId xmlns:a16="http://schemas.microsoft.com/office/drawing/2014/main" id="{141BAAD1-B2B6-51E6-5B60-1808F5AC81C2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680450" y="457200"/>
            <a:ext cx="3192463" cy="3651250"/>
          </a:xfrm>
        </p:spPr>
        <p:txBody>
          <a:bodyPr/>
          <a:lstStyle/>
          <a:p>
            <a:r>
              <a:rPr lang="en-GB"/>
              <a:t>Click icon to add chart</a:t>
            </a:r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CBC916D-681F-B16B-82E0-C83AEC5C63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41692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8080376" cy="5022849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592112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C38C3D6-67EC-0336-DD99-56DDA5E5271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572000" y="2279650"/>
            <a:ext cx="7300913" cy="3657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30448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4111625" cy="5022849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1828800"/>
            <a:ext cx="3968750" cy="5022850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9578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6858000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419710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5797550" cy="3197225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72493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Image Grey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8080376" cy="502284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DD43530-2003-7EDD-62EC-552AB7BE35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31211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94850" y="3654425"/>
            <a:ext cx="2597150" cy="3197225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3200400" cy="3197225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406674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Numb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802C4B2-937C-CC88-1104-BE3049DA47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80450" y="457200"/>
            <a:ext cx="3192463" cy="137160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##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2279650"/>
            <a:ext cx="3968750" cy="4578350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2A43E3D-583C-C3D3-EB91-4B474E93AA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0911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13716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08450" y="2279650"/>
            <a:ext cx="8083550" cy="4578350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9ABDF0F-4BA7-B82C-7345-64CE6436A7E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13716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E9F08A9-468B-A902-D68B-8E0B8D9536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89753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70BFD0F-01A4-774A-DFA5-C9069D2CA6D4}"/>
              </a:ext>
            </a:extLst>
          </p:cNvPr>
          <p:cNvSpPr/>
          <p:nvPr userDrawn="1"/>
        </p:nvSpPr>
        <p:spPr>
          <a:xfrm>
            <a:off x="4108450" y="3194050"/>
            <a:ext cx="8083550" cy="36639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301E557-BFAD-DC7D-FAEB-CD9F2F2693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55377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CC2D35B-A55A-CCD1-4EDA-D1E8C50801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16176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485479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6858000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332893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3654425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2000" y="3654425"/>
            <a:ext cx="7620000" cy="3197225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285888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108450" cy="6857999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80450" y="2743200"/>
            <a:ext cx="3511550" cy="4108451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2" name="Picture Placeholder 7">
            <a:extLst>
              <a:ext uri="{FF2B5EF4-FFF2-40B4-BE49-F238E27FC236}">
                <a16:creationId xmlns:a16="http://schemas.microsoft.com/office/drawing/2014/main" id="{15843B81-9280-B787-925B-D94E5BB1E76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680450" y="1"/>
            <a:ext cx="3511550" cy="2743200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172675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B92480-F2BB-6E4D-0B48-BC5E95A85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969909-5E9F-D8E9-99CB-822E1C3E1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60292F-46E5-7C51-F750-22AAB107E9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77299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Grey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C38C3D6-67EC-0336-DD99-56DDA5E5271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572000" y="2279650"/>
            <a:ext cx="7300913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7F3EFBD-B4F2-F929-4A06-6F13B5F7B0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23383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D5D703-D8EA-9994-BA95-384890B498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DCE458-D9A3-4DEA-87B5-6B6AE0C5F7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04461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31ED342-3D5F-E744-5C02-ED60F13F3A3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975334"/>
            <a:ext cx="9144000" cy="3439236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F166A59-25A3-3A00-7289-60767DE59A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62468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or 1 Sent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60ADC76-D61C-14B2-73B6-03136E7AB583}"/>
              </a:ext>
            </a:extLst>
          </p:cNvPr>
          <p:cNvSpPr/>
          <p:nvPr userDrawn="1"/>
        </p:nvSpPr>
        <p:spPr>
          <a:xfrm>
            <a:off x="1" y="0"/>
            <a:ext cx="12192000" cy="38896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3049750"/>
            <a:ext cx="9144000" cy="1083374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577C862B-51AF-22E7-C1C8-B6AB08B7081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6991778-B436-9629-6EC4-E96EA59B0C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89910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01E87593-5AB1-A742-817D-C9CC722DF5E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FC5297-363A-7DB8-E10F-5C447164ED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02608"/>
            <a:ext cx="9586913" cy="2852737"/>
          </a:xfrm>
        </p:spPr>
        <p:txBody>
          <a:bodyPr anchor="t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B0A461-379B-6A19-B69E-A04AF5ECEB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1" y="3654426"/>
            <a:ext cx="5937250" cy="914399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BFB576-48D2-B938-362D-C2CA0F65C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44F17B-F1E6-D688-7E7E-CD7675D187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7F1A0222-B118-DD79-00E6-0881AAA2BE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904873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1A26944-9883-9ACF-5400-2F702B82D504}"/>
              </a:ext>
            </a:extLst>
          </p:cNvPr>
          <p:cNvSpPr/>
          <p:nvPr userDrawn="1"/>
        </p:nvSpPr>
        <p:spPr>
          <a:xfrm>
            <a:off x="8223251" y="0"/>
            <a:ext cx="3968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ECD5EDD-F44D-E2A4-B31C-712D8B99E8B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9050"/>
            <a:ext cx="8223250" cy="687705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35D584-0EEB-DF18-6040-C306755CF2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9225" y="2047164"/>
            <a:ext cx="3651250" cy="2061286"/>
          </a:xfrm>
        </p:spPr>
        <p:txBody>
          <a:bodyPr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AE34A6-9330-09DC-1C21-168B521268C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DBDCCB-998D-EBD0-8BD5-00E7B94ADC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DF72ABF-3158-3C09-4A36-943B3A21C0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29713" y="4339989"/>
            <a:ext cx="2743200" cy="1597261"/>
          </a:xfrm>
        </p:spPr>
        <p:txBody>
          <a:bodyPr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894810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SLB Sans Light" panose="02000503040000020004" pitchFamily="2" charset="0"/>
              <a:buChar char="→"/>
              <a:defRPr sz="36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9834724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83C7488-E944-893A-2043-FE9944331A8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Tx/>
              <a:buFont typeface="SLB Sans Light" panose="02000503040000020004" pitchFamily="2" charset="0"/>
              <a:buChar char="→"/>
              <a:defRPr sz="3600" b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A8ADEEA-C976-6343-E015-561A866601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41244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0779520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2552FDF-29F0-FEA1-55F4-48C517205ACB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B57FFDA-D27B-2D1D-703B-FAC972FA97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40959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14198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2 Image Grey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4111625" cy="502284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1828800"/>
            <a:ext cx="3968750" cy="50228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45D086E-DF0D-EA77-42DA-30D06A6215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44099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050BD1E-00A9-4F45-5A21-3A16C0123F69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0EA85E6-F1EF-96E4-5D58-38735E3A98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67109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746656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41084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4108450"/>
            <a:ext cx="3968750" cy="27432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64560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2CF53DD-0966-0BFD-B778-F487FDD28A20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CA6186D-802B-AA5D-226E-496C143AC6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3250" y="4568825"/>
            <a:ext cx="3968750" cy="2289175"/>
          </a:xfrm>
          <a:solidFill>
            <a:schemeClr val="bg2"/>
          </a:solidFill>
        </p:spPr>
        <p:txBody>
          <a:bodyPr lIns="468000" tIns="468000" rIns="36000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Chart Placeholder 12">
            <a:extLst>
              <a:ext uri="{FF2B5EF4-FFF2-40B4-BE49-F238E27FC236}">
                <a16:creationId xmlns:a16="http://schemas.microsoft.com/office/drawing/2014/main" id="{141BAAD1-B2B6-51E6-5B60-1808F5AC81C2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680450" y="457200"/>
            <a:ext cx="3192463" cy="365125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CBC916D-681F-B16B-82E0-C83AEC5C63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08585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8080376" cy="502284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8940628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C38C3D6-67EC-0336-DD99-56DDA5E5271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572000" y="2279650"/>
            <a:ext cx="7300913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562838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4111625" cy="502284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1828800"/>
            <a:ext cx="3968750" cy="50228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593907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291078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579755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9085230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94850" y="3654425"/>
            <a:ext cx="259715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320040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76164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44486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Numb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802C4B2-937C-CC88-1104-BE3049DA47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80450" y="457200"/>
            <a:ext cx="3192463" cy="137160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##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2279650"/>
            <a:ext cx="3968750" cy="45783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2A43E3D-583C-C3D3-EB91-4B474E93AA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457843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13716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08450" y="2279650"/>
            <a:ext cx="8083550" cy="45783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9ABDF0F-4BA7-B82C-7345-64CE6436A7E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13716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E9F08A9-468B-A902-D68B-8E0B8D9536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6056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70BFD0F-01A4-774A-DFA5-C9069D2CA6D4}"/>
              </a:ext>
            </a:extLst>
          </p:cNvPr>
          <p:cNvSpPr/>
          <p:nvPr userDrawn="1"/>
        </p:nvSpPr>
        <p:spPr>
          <a:xfrm>
            <a:off x="4108450" y="3194050"/>
            <a:ext cx="8083550" cy="36639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301E557-BFAD-DC7D-FAEB-CD9F2F2693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364030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CC2D35B-A55A-CCD1-4EDA-D1E8C50801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78470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83362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708641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2000" y="3654425"/>
            <a:ext cx="762000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883359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108450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80450" y="2743200"/>
            <a:ext cx="3511550" cy="4108451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Picture Placeholder 7">
            <a:extLst>
              <a:ext uri="{FF2B5EF4-FFF2-40B4-BE49-F238E27FC236}">
                <a16:creationId xmlns:a16="http://schemas.microsoft.com/office/drawing/2014/main" id="{15843B81-9280-B787-925B-D94E5BB1E76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680450" y="1"/>
            <a:ext cx="3511550" cy="27432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3471730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B92480-F2BB-6E4D-0B48-BC5E95A85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969909-5E9F-D8E9-99CB-822E1C3E1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60292F-46E5-7C51-F750-22AAB107E9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847838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D5D703-D8EA-9994-BA95-384890B498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DCE458-D9A3-4DEA-87B5-6B6AE0C5F7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66931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579755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324632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mall head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 baseline="0"/>
            </a:lvl1pPr>
          </a:lstStyle>
          <a:p>
            <a:fld id="{3CDBAD22-A2B7-6B4F-ACA3-30DD7C0B029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07989" y="361807"/>
            <a:ext cx="9859962" cy="338137"/>
          </a:xfrm>
        </p:spPr>
        <p:txBody>
          <a:bodyPr/>
          <a:lstStyle>
            <a:lvl1pPr>
              <a:defRPr sz="1100" baseline="0">
                <a:latin typeface="+mn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97298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89FCF73-4D26-4B91-95E0-32E36F78E670}"/>
              </a:ext>
            </a:extLst>
          </p:cNvPr>
          <p:cNvSpPr/>
          <p:nvPr userDrawn="1"/>
        </p:nvSpPr>
        <p:spPr>
          <a:xfrm>
            <a:off x="2270" y="175570"/>
            <a:ext cx="7813964" cy="6717599"/>
          </a:xfrm>
          <a:prstGeom prst="rect">
            <a:avLst/>
          </a:prstGeom>
          <a:solidFill>
            <a:srgbClr val="CEE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C8926A-9BB3-4096-94FD-69A3103614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516" y="901635"/>
            <a:ext cx="6548064" cy="1134983"/>
          </a:xfrm>
        </p:spPr>
        <p:txBody>
          <a:bodyPr anchor="b">
            <a:noAutofit/>
          </a:bodyPr>
          <a:lstStyle>
            <a:lvl1pPr>
              <a:defRPr sz="4400"/>
            </a:lvl1pPr>
          </a:lstStyle>
          <a:p>
            <a:r>
              <a:rPr lang="en-US"/>
              <a:t>The Main Header goes here</a:t>
            </a:r>
            <a:endParaRPr lang="en-GB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1E2D950-0566-49B1-85B0-60B815E3D41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243455" y="2161309"/>
            <a:ext cx="2770912" cy="3574473"/>
          </a:xfrm>
          <a:prstGeom prst="rect">
            <a:avLst/>
          </a:prstGeom>
        </p:spPr>
        <p:txBody>
          <a:bodyPr vert="horz" lIns="91440" tIns="45720" rIns="91440" bIns="45720" numCol="1" rtlCol="0">
            <a:normAutofit/>
          </a:bodyPr>
          <a:lstStyle>
            <a:lvl1pPr marL="0" indent="0">
              <a:buNone/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ext </a:t>
            </a:r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2090DC-3706-4095-AE7B-74947E62F1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619" y="6103501"/>
            <a:ext cx="1320189" cy="534362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F4F98D4-2FA0-4E9D-843D-EC3A1B88C03D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581890" y="2161309"/>
            <a:ext cx="6511640" cy="3574473"/>
          </a:xfrm>
          <a:prstGeom prst="rect">
            <a:avLst/>
          </a:prstGeom>
        </p:spPr>
        <p:txBody>
          <a:bodyPr vert="horz" lIns="91440" tIns="45720" rIns="91440" bIns="45720" numCol="2" rtlCol="0">
            <a:normAutofit/>
          </a:bodyPr>
          <a:lstStyle>
            <a:lvl1pPr marL="0" indent="0">
              <a:buNone/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ext </a:t>
            </a:r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E113D58-08C0-4E8B-B023-28F6F22ECEB4}"/>
              </a:ext>
            </a:extLst>
          </p:cNvPr>
          <p:cNvSpPr txBox="1"/>
          <p:nvPr userDrawn="1"/>
        </p:nvSpPr>
        <p:spPr>
          <a:xfrm>
            <a:off x="0" y="6236218"/>
            <a:ext cx="12192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>
                <a:solidFill>
                  <a:schemeClr val="accent1"/>
                </a:solidFill>
              </a:rPr>
              <a:t>Schlumberger-Private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DC4127B1-10DC-4D87-AC34-1A6853E6D0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658450" y="6200322"/>
            <a:ext cx="364706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/>
                </a:solidFill>
              </a:defRPr>
            </a:lvl1pPr>
          </a:lstStyle>
          <a:p>
            <a:fld id="{9AAF8BAE-E423-7142-8A82-C7DE9ECD89B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77075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C8926A-9BB3-4096-94FD-69A3103614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>
            <a:lvl1pPr>
              <a:defRPr sz="4400"/>
            </a:lvl1pPr>
          </a:lstStyle>
          <a:p>
            <a:r>
              <a:rPr lang="en-US"/>
              <a:t>The Main Header goes here</a:t>
            </a:r>
            <a:endParaRPr lang="en-GB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1E2D950-0566-49B1-85B0-60B815E3D41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8964" y="1936467"/>
            <a:ext cx="10455403" cy="3799315"/>
          </a:xfrm>
          <a:prstGeom prst="rect">
            <a:avLst/>
          </a:prstGeom>
        </p:spPr>
        <p:txBody>
          <a:bodyPr vert="horz" lIns="91440" tIns="45720" rIns="91440" bIns="45720" numCol="3" spcCol="360000" rtlCol="0">
            <a:normAutofit/>
          </a:bodyPr>
          <a:lstStyle>
            <a:lvl1pPr marL="0" indent="0">
              <a:buNone/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ext </a:t>
            </a:r>
            <a:endParaRPr lang="en-GB"/>
          </a:p>
        </p:txBody>
      </p:sp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A1E8E1F0-90CD-497B-8E94-FD9EB43C28F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658450" y="6200322"/>
            <a:ext cx="364706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accent1"/>
                </a:solidFill>
              </a:defRPr>
            </a:lvl1pPr>
          </a:lstStyle>
          <a:p>
            <a:fld id="{9AAF8BAE-E423-7142-8A82-C7DE9ECD89B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615293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&amp;I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585C58CC-8A23-FA4A-8ED9-FDD06D2B49E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57005" y="1431148"/>
            <a:ext cx="11453800" cy="4696602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900887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40B337D-0927-4500-8AA0-C89F5EBBC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9455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A40B337D-0927-4500-8AA0-C89F5EBBC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BB05201-A168-415C-9E61-E562D0A100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506" y="136525"/>
            <a:ext cx="10246219" cy="1063625"/>
          </a:xfrm>
        </p:spPr>
        <p:txBody>
          <a:bodyPr vert="horz" lIns="0" anchor="b"/>
          <a:lstStyle>
            <a:lvl1pPr>
              <a:defRPr>
                <a:solidFill>
                  <a:srgbClr val="11499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6A8E97-F0BC-441F-888A-A00899A81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solidFill>
            <a:srgbClr val="1761CF"/>
          </a:solidFill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2205F9A8-97F1-462E-AA9C-D3381D198BE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 descr="A picture containing icon&#10;&#10;Description automatically generated">
            <a:extLst>
              <a:ext uri="{FF2B5EF4-FFF2-40B4-BE49-F238E27FC236}">
                <a16:creationId xmlns:a16="http://schemas.microsoft.com/office/drawing/2014/main" id="{AC9D1DEE-41BA-4BC3-9EC9-A22248BB5C4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2575" y="6431856"/>
            <a:ext cx="1292718" cy="289619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D9EF2701-BAC5-4D2C-804C-E256789EFCE9}"/>
              </a:ext>
            </a:extLst>
          </p:cNvPr>
          <p:cNvGrpSpPr/>
          <p:nvPr userDrawn="1"/>
        </p:nvGrpSpPr>
        <p:grpSpPr>
          <a:xfrm>
            <a:off x="-228600" y="-2210"/>
            <a:ext cx="200025" cy="1680682"/>
            <a:chOff x="2774400" y="2497769"/>
            <a:chExt cx="345397" cy="2345211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8022BDC-2293-4E4C-BA6C-934813FFC562}"/>
                </a:ext>
              </a:extLst>
            </p:cNvPr>
            <p:cNvSpPr/>
            <p:nvPr/>
          </p:nvSpPr>
          <p:spPr>
            <a:xfrm rot="5400000">
              <a:off x="2818819" y="2751730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11499D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31AFD51-665C-42E7-92D5-06BC2B197697}"/>
                </a:ext>
              </a:extLst>
            </p:cNvPr>
            <p:cNvSpPr/>
            <p:nvPr/>
          </p:nvSpPr>
          <p:spPr>
            <a:xfrm rot="5400000">
              <a:off x="2818819" y="3050109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1761CF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C390395-B19A-4FB3-B1FF-0C4B47F93482}"/>
                </a:ext>
              </a:extLst>
            </p:cNvPr>
            <p:cNvSpPr/>
            <p:nvPr/>
          </p:nvSpPr>
          <p:spPr>
            <a:xfrm rot="5400000">
              <a:off x="2818819" y="3348488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2976E7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6FBD785-35C3-47EC-967F-7C9A145F7187}"/>
                </a:ext>
              </a:extLst>
            </p:cNvPr>
            <p:cNvSpPr/>
            <p:nvPr/>
          </p:nvSpPr>
          <p:spPr>
            <a:xfrm rot="5400000">
              <a:off x="2818819" y="3646867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31ACE2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4E31CC4-6EE0-49BF-AA51-52BD6F4A3B77}"/>
                </a:ext>
              </a:extLst>
            </p:cNvPr>
            <p:cNvSpPr/>
            <p:nvPr/>
          </p:nvSpPr>
          <p:spPr>
            <a:xfrm rot="5400000">
              <a:off x="2818819" y="3945246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04ADD0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28A6344-1EA0-4C7A-9D68-DB3F0B2EA408}"/>
                </a:ext>
              </a:extLst>
            </p:cNvPr>
            <p:cNvSpPr/>
            <p:nvPr/>
          </p:nvSpPr>
          <p:spPr>
            <a:xfrm rot="5400000">
              <a:off x="2818819" y="4243625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62C8CE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881538A-3D0F-43B6-8994-58EDC14D7E70}"/>
                </a:ext>
              </a:extLst>
            </p:cNvPr>
            <p:cNvSpPr/>
            <p:nvPr/>
          </p:nvSpPr>
          <p:spPr>
            <a:xfrm rot="5400000">
              <a:off x="2818819" y="4542002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95D6DC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C6379BF9-8957-42B5-B904-3FDC325D6989}"/>
                </a:ext>
              </a:extLst>
            </p:cNvPr>
            <p:cNvSpPr/>
            <p:nvPr userDrawn="1"/>
          </p:nvSpPr>
          <p:spPr>
            <a:xfrm rot="5400000">
              <a:off x="2818819" y="2453350"/>
              <a:ext cx="256560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0C3457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92170E1-0E35-44B7-BF28-213165961931}"/>
              </a:ext>
            </a:extLst>
          </p:cNvPr>
          <p:cNvCxnSpPr>
            <a:cxnSpLocks/>
          </p:cNvCxnSpPr>
          <p:nvPr userDrawn="1"/>
        </p:nvCxnSpPr>
        <p:spPr>
          <a:xfrm>
            <a:off x="507506" y="6272213"/>
            <a:ext cx="1122778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9CE12F0C-3F3D-42DE-9E6D-A04F489EF5C0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89151" y="6469227"/>
            <a:ext cx="1413695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Schlumberger-Privat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4E0BAED-489B-2D3C-291B-90D643FCB599}"/>
              </a:ext>
            </a:extLst>
          </p:cNvPr>
          <p:cNvSpPr/>
          <p:nvPr userDrawn="1"/>
        </p:nvSpPr>
        <p:spPr>
          <a:xfrm>
            <a:off x="11289267" y="-2211"/>
            <a:ext cx="839436" cy="1081547"/>
          </a:xfrm>
          <a:prstGeom prst="rect">
            <a:avLst/>
          </a:prstGeom>
          <a:solidFill>
            <a:srgbClr val="1761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22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SCHLUMBERG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NEW ENERG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97A10FD-A092-52A6-556B-7D7702799188}"/>
              </a:ext>
            </a:extLst>
          </p:cNvPr>
          <p:cNvSpPr txBox="1"/>
          <p:nvPr userDrawn="1"/>
        </p:nvSpPr>
        <p:spPr>
          <a:xfrm>
            <a:off x="933450" y="6423060"/>
            <a:ext cx="9861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0" i="0">
                <a:solidFill>
                  <a:schemeClr val="accent3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arbon Solutions</a:t>
            </a:r>
            <a:endParaRPr lang="en-US" sz="1000" b="1" i="0" kern="1200">
              <a:solidFill>
                <a:schemeClr val="accent2"/>
              </a:solidFill>
              <a:latin typeface="Arial Narrow" panose="020B0604020202020204" pitchFamily="34" charset="0"/>
              <a:ea typeface="ヒラギノ角ゴ Pro W3" pitchFamily="48" charset="-128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3538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7392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31ED342-3D5F-E744-5C02-ED60F13F3A3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975334"/>
            <a:ext cx="9144000" cy="3439236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C1A5716-3608-4053-4CC8-84BF92B5D6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22356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or 1 Sent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60ADC76-D61C-14B2-73B6-03136E7AB583}"/>
              </a:ext>
            </a:extLst>
          </p:cNvPr>
          <p:cNvSpPr/>
          <p:nvPr userDrawn="1"/>
        </p:nvSpPr>
        <p:spPr>
          <a:xfrm>
            <a:off x="1" y="0"/>
            <a:ext cx="12192000" cy="38896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3049750"/>
            <a:ext cx="9144000" cy="1083374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577C862B-51AF-22E7-C1C8-B6AB08B7081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C47EC89-A6A9-22D1-1BE8-E0D34780BD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893964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01E87593-5AB1-A742-817D-C9CC722DF5E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FC5297-363A-7DB8-E10F-5C447164ED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02608"/>
            <a:ext cx="9586913" cy="2852737"/>
          </a:xfrm>
        </p:spPr>
        <p:txBody>
          <a:bodyPr anchor="t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B0A461-379B-6A19-B69E-A04AF5ECEB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1" y="3654426"/>
            <a:ext cx="5937250" cy="914399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BFB576-48D2-B938-362D-C2CA0F65C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44F17B-F1E6-D688-7E7E-CD7675D187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0872919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1A26944-9883-9ACF-5400-2F702B82D504}"/>
              </a:ext>
            </a:extLst>
          </p:cNvPr>
          <p:cNvSpPr/>
          <p:nvPr userDrawn="1"/>
        </p:nvSpPr>
        <p:spPr>
          <a:xfrm>
            <a:off x="8223251" y="0"/>
            <a:ext cx="3968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ECD5EDD-F44D-E2A4-B31C-712D8B99E8B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9050"/>
            <a:ext cx="8223250" cy="687705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35D584-0EEB-DF18-6040-C306755CF2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9225" y="2047164"/>
            <a:ext cx="3651250" cy="2061286"/>
          </a:xfrm>
        </p:spPr>
        <p:txBody>
          <a:bodyPr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AE34A6-9330-09DC-1C21-168B521268C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DBDCCB-998D-EBD0-8BD5-00E7B94ADC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DF72ABF-3158-3C09-4A36-943B3A21C0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29713" y="4339989"/>
            <a:ext cx="2743200" cy="1597261"/>
          </a:xfrm>
        </p:spPr>
        <p:txBody>
          <a:bodyPr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7465066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SLB Sans Light" panose="02000503040000020004" pitchFamily="2" charset="0"/>
              <a:buChar char="→"/>
              <a:defRPr sz="36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33900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94850" y="3654425"/>
            <a:ext cx="259715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320040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3936828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83C7488-E944-893A-2043-FE9944331A8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>
                <a:schemeClr val="bg1"/>
              </a:buClr>
              <a:buFont typeface="SLB Sans Light" panose="02000503040000020004" pitchFamily="2" charset="0"/>
              <a:buChar char="→"/>
              <a:defRPr sz="3600" b="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0650C58-ADB6-799E-D665-4F33A4818F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58985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230669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2552FDF-29F0-FEA1-55F4-48C517205ACB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7BC1DE3-EE83-6842-B054-58DA3F6BFD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45406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268926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050BD1E-00A9-4F45-5A21-3A16C0123F69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DB5DA967-430E-FD94-6B0C-7C66CB6678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341247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5540053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41084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4108450"/>
            <a:ext cx="3968750" cy="27432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2842072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2CF53DD-0966-0BFD-B778-F487FDD28A20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CA6186D-802B-AA5D-226E-496C143AC6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3250" y="4568825"/>
            <a:ext cx="3968750" cy="2289175"/>
          </a:xfrm>
          <a:solidFill>
            <a:schemeClr val="bg2"/>
          </a:solidFill>
        </p:spPr>
        <p:txBody>
          <a:bodyPr lIns="468000" tIns="468000" rIns="360000"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Chart Placeholder 12">
            <a:extLst>
              <a:ext uri="{FF2B5EF4-FFF2-40B4-BE49-F238E27FC236}">
                <a16:creationId xmlns:a16="http://schemas.microsoft.com/office/drawing/2014/main" id="{141BAAD1-B2B6-51E6-5B60-1808F5AC81C2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680450" y="457200"/>
            <a:ext cx="3192463" cy="365125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DDAAA2D-F47B-6394-6A72-F074375588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30022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Image Grey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8080376" cy="502284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DD43530-2003-7EDD-62EC-552AB7BE35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64832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Grey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C38C3D6-67EC-0336-DD99-56DDA5E5271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572000" y="2279650"/>
            <a:ext cx="7300913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7F3EFBD-B4F2-F929-4A06-6F13B5F7B0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5538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or 1 Sent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60ADC76-D61C-14B2-73B6-03136E7AB583}"/>
              </a:ext>
            </a:extLst>
          </p:cNvPr>
          <p:cNvSpPr/>
          <p:nvPr userDrawn="1"/>
        </p:nvSpPr>
        <p:spPr>
          <a:xfrm>
            <a:off x="1" y="0"/>
            <a:ext cx="12192000" cy="38896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3049750"/>
            <a:ext cx="9144000" cy="1083374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577C862B-51AF-22E7-C1C8-B6AB08B7081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C47EC89-A6A9-22D1-1BE8-E0D34780BD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4960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Numb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802C4B2-937C-CC88-1104-BE3049DA47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80450" y="457200"/>
            <a:ext cx="3192463" cy="137160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##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2279650"/>
            <a:ext cx="3968750" cy="45783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A2442C3-F533-1B9F-09E7-AC1C88B25F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00147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2 Image Grey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4111625" cy="502284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1828800"/>
            <a:ext cx="3968750" cy="50228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45D086E-DF0D-EA77-42DA-30D06A6215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858636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8325829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579755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9972005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94850" y="3654425"/>
            <a:ext cx="259715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320040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510919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Numb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802C4B2-937C-CC88-1104-BE3049DA47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80450" y="457200"/>
            <a:ext cx="3192463" cy="137160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##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2279650"/>
            <a:ext cx="3968750" cy="45783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A2442C3-F533-1B9F-09E7-AC1C88B25F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3524325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13716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08450" y="2279650"/>
            <a:ext cx="8083550" cy="45783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9ABDF0F-4BA7-B82C-7345-64CE6436A7E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13716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164959C2-0EA4-1F84-9951-8993395941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316050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70BFD0F-01A4-774A-DFA5-C9069D2CA6D4}"/>
              </a:ext>
            </a:extLst>
          </p:cNvPr>
          <p:cNvSpPr/>
          <p:nvPr userDrawn="1"/>
        </p:nvSpPr>
        <p:spPr>
          <a:xfrm>
            <a:off x="4108450" y="3194050"/>
            <a:ext cx="8083550" cy="36639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2977A46-41C3-31B7-5F50-917CE87B9D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02466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91FA772-0BFE-9951-6889-D200B7DA58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955848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9163035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17429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13716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08450" y="2279650"/>
            <a:ext cx="8083550" cy="45783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9ABDF0F-4BA7-B82C-7345-64CE6436A7E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13716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164959C2-0EA4-1F84-9951-8993395941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465020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2000" y="3654425"/>
            <a:ext cx="762000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387202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108450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80450" y="2743200"/>
            <a:ext cx="3511550" cy="4108451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Picture Placeholder 7">
            <a:extLst>
              <a:ext uri="{FF2B5EF4-FFF2-40B4-BE49-F238E27FC236}">
                <a16:creationId xmlns:a16="http://schemas.microsoft.com/office/drawing/2014/main" id="{15843B81-9280-B787-925B-D94E5BB1E76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680450" y="1"/>
            <a:ext cx="3511550" cy="27432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8217268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D813FA-E1E9-6CE5-DA3B-3550F5132A9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91588"/>
            <a:ext cx="2743200" cy="230248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B92480-F2BB-6E4D-0B48-BC5E95A85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969909-5E9F-D8E9-99CB-822E1C3E1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60292F-46E5-7C51-F750-22AAB107E9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8375109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D5D703-D8EA-9994-BA95-384890B498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DCE458-D9A3-4DEA-87B5-6B6AE0C5F7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4744669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31ED342-3D5F-E744-5C02-ED60F13F3A3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975334"/>
            <a:ext cx="9144000" cy="3439236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C1A5716-3608-4053-4CC8-84BF92B5D6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241603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or 1 Sent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60ADC76-D61C-14B2-73B6-03136E7AB583}"/>
              </a:ext>
            </a:extLst>
          </p:cNvPr>
          <p:cNvSpPr/>
          <p:nvPr userDrawn="1"/>
        </p:nvSpPr>
        <p:spPr>
          <a:xfrm>
            <a:off x="1" y="0"/>
            <a:ext cx="12192000" cy="38896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3049750"/>
            <a:ext cx="9144000" cy="1083374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577C862B-51AF-22E7-C1C8-B6AB08B7081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C47EC89-A6A9-22D1-1BE8-E0D34780BD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833158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01E87593-5AB1-A742-817D-C9CC722DF5E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FC5297-363A-7DB8-E10F-5C447164ED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02608"/>
            <a:ext cx="9586913" cy="2852737"/>
          </a:xfrm>
        </p:spPr>
        <p:txBody>
          <a:bodyPr anchor="t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B0A461-379B-6A19-B69E-A04AF5ECEB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1" y="3654426"/>
            <a:ext cx="5937250" cy="914399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BFB576-48D2-B938-362D-C2CA0F65C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44F17B-F1E6-D688-7E7E-CD7675D187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9277686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1A26944-9883-9ACF-5400-2F702B82D504}"/>
              </a:ext>
            </a:extLst>
          </p:cNvPr>
          <p:cNvSpPr/>
          <p:nvPr userDrawn="1"/>
        </p:nvSpPr>
        <p:spPr>
          <a:xfrm>
            <a:off x="8223251" y="0"/>
            <a:ext cx="3968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ECD5EDD-F44D-E2A4-B31C-712D8B99E8B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9050"/>
            <a:ext cx="8223250" cy="687705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35D584-0EEB-DF18-6040-C306755CF2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9225" y="2047164"/>
            <a:ext cx="3651250" cy="2061286"/>
          </a:xfrm>
        </p:spPr>
        <p:txBody>
          <a:bodyPr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AE34A6-9330-09DC-1C21-168B521268C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DBDCCB-998D-EBD0-8BD5-00E7B94ADC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DF72ABF-3158-3C09-4A36-943B3A21C0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29713" y="4339989"/>
            <a:ext cx="2743200" cy="1597261"/>
          </a:xfrm>
        </p:spPr>
        <p:txBody>
          <a:bodyPr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5850762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SLB Sans Light" panose="02000503040000020004" pitchFamily="2" charset="0"/>
              <a:buChar char="→"/>
              <a:defRPr sz="36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2802406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83C7488-E944-893A-2043-FE9944331A8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>
                <a:schemeClr val="bg1"/>
              </a:buClr>
              <a:buFont typeface="SLB Sans Light" panose="02000503040000020004" pitchFamily="2" charset="0"/>
              <a:buChar char="→"/>
              <a:defRPr sz="3600" b="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0650C58-ADB6-799E-D665-4F33A4818F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010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70BFD0F-01A4-774A-DFA5-C9069D2CA6D4}"/>
              </a:ext>
            </a:extLst>
          </p:cNvPr>
          <p:cNvSpPr/>
          <p:nvPr userDrawn="1"/>
        </p:nvSpPr>
        <p:spPr>
          <a:xfrm>
            <a:off x="4108450" y="3194050"/>
            <a:ext cx="8083550" cy="36639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2977A46-41C3-31B7-5F50-917CE87B9D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996968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9158485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2552FDF-29F0-FEA1-55F4-48C517205ACB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7BC1DE3-EE83-6842-B054-58DA3F6BFD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081752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6824915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050BD1E-00A9-4F45-5A21-3A16C0123F69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DB5DA967-430E-FD94-6B0C-7C66CB6678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058002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2134739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41084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4108450"/>
            <a:ext cx="3968750" cy="27432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2756795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2CF53DD-0966-0BFD-B778-F487FDD28A20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CA6186D-802B-AA5D-226E-496C143AC6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3250" y="4568825"/>
            <a:ext cx="3968750" cy="2289175"/>
          </a:xfrm>
          <a:solidFill>
            <a:schemeClr val="bg2"/>
          </a:solidFill>
        </p:spPr>
        <p:txBody>
          <a:bodyPr lIns="468000" tIns="468000" rIns="360000"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Chart Placeholder 12">
            <a:extLst>
              <a:ext uri="{FF2B5EF4-FFF2-40B4-BE49-F238E27FC236}">
                <a16:creationId xmlns:a16="http://schemas.microsoft.com/office/drawing/2014/main" id="{141BAAD1-B2B6-51E6-5B60-1808F5AC81C2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680450" y="457200"/>
            <a:ext cx="3192463" cy="365125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DDAAA2D-F47B-6394-6A72-F074375588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598549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Image Grey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8080376" cy="502284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DD43530-2003-7EDD-62EC-552AB7BE35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732176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Grey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C38C3D6-67EC-0336-DD99-56DDA5E5271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572000" y="2279650"/>
            <a:ext cx="7300913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7F3EFBD-B4F2-F929-4A06-6F13B5F7B0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221298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2 Image Grey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4111625" cy="502284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1828800"/>
            <a:ext cx="3968750" cy="50228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45D086E-DF0D-EA77-42DA-30D06A6215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407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91FA772-0BFE-9951-6889-D200B7DA58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3705390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3163262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579755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9416197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94850" y="3654425"/>
            <a:ext cx="259715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320040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9569372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Numb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802C4B2-937C-CC88-1104-BE3049DA47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80450" y="457200"/>
            <a:ext cx="3192463" cy="137160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##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2279650"/>
            <a:ext cx="3968750" cy="45783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A2442C3-F533-1B9F-09E7-AC1C88B25F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296419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13716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08450" y="2279650"/>
            <a:ext cx="8083550" cy="45783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9ABDF0F-4BA7-B82C-7345-64CE6436A7E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13716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164959C2-0EA4-1F84-9951-8993395941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869764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70BFD0F-01A4-774A-DFA5-C9069D2CA6D4}"/>
              </a:ext>
            </a:extLst>
          </p:cNvPr>
          <p:cNvSpPr/>
          <p:nvPr userDrawn="1"/>
        </p:nvSpPr>
        <p:spPr>
          <a:xfrm>
            <a:off x="4108450" y="3194050"/>
            <a:ext cx="8083550" cy="36639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2977A46-41C3-31B7-5F50-917CE87B9D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1540437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91FA772-0BFE-9951-6889-D200B7DA58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464165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5559057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1435090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2000" y="3654425"/>
            <a:ext cx="762000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50941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3255059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108450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80450" y="2743200"/>
            <a:ext cx="3511550" cy="4108451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Picture Placeholder 7">
            <a:extLst>
              <a:ext uri="{FF2B5EF4-FFF2-40B4-BE49-F238E27FC236}">
                <a16:creationId xmlns:a16="http://schemas.microsoft.com/office/drawing/2014/main" id="{15843B81-9280-B787-925B-D94E5BB1E76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680450" y="1"/>
            <a:ext cx="3511550" cy="27432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9615148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D813FA-E1E9-6CE5-DA3B-3550F5132A9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91588"/>
            <a:ext cx="2743200" cy="230248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B92480-F2BB-6E4D-0B48-BC5E95A85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969909-5E9F-D8E9-99CB-822E1C3E1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60292F-46E5-7C51-F750-22AAB107E9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3118199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D5D703-D8EA-9994-BA95-384890B498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DCE458-D9A3-4DEA-87B5-6B6AE0C5F7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5327779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31ED342-3D5F-E744-5C02-ED60F13F3A3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975334"/>
            <a:ext cx="9144000" cy="3439236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F166A59-25A3-3A00-7289-60767DE59A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187232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or 1 Sent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60ADC76-D61C-14B2-73B6-03136E7AB583}"/>
              </a:ext>
            </a:extLst>
          </p:cNvPr>
          <p:cNvSpPr/>
          <p:nvPr userDrawn="1"/>
        </p:nvSpPr>
        <p:spPr>
          <a:xfrm>
            <a:off x="1" y="0"/>
            <a:ext cx="12192000" cy="38896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3049750"/>
            <a:ext cx="9144000" cy="1083374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577C862B-51AF-22E7-C1C8-B6AB08B7081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/>
              <a:t>After inserting right click on the image and send to back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6991778-B436-9629-6EC4-E96EA59B0C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866493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01E87593-5AB1-A742-817D-C9CC722DF5E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FC5297-363A-7DB8-E10F-5C447164ED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02608"/>
            <a:ext cx="9586913" cy="2852737"/>
          </a:xfrm>
        </p:spPr>
        <p:txBody>
          <a:bodyPr anchor="t"/>
          <a:lstStyle>
            <a:lvl1pPr>
              <a:defRPr sz="7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B0A461-379B-6A19-B69E-A04AF5ECEB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1" y="3654426"/>
            <a:ext cx="5937250" cy="914399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BFB576-48D2-B938-362D-C2CA0F65C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44F17B-F1E6-D688-7E7E-CD7675D187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7F1A0222-B118-DD79-00E6-0881AAA2BE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992913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1A26944-9883-9ACF-5400-2F702B82D504}"/>
              </a:ext>
            </a:extLst>
          </p:cNvPr>
          <p:cNvSpPr/>
          <p:nvPr userDrawn="1"/>
        </p:nvSpPr>
        <p:spPr>
          <a:xfrm>
            <a:off x="8223251" y="0"/>
            <a:ext cx="3968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ECD5EDD-F44D-E2A4-B31C-712D8B99E8B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9050"/>
            <a:ext cx="8223250" cy="687705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35D584-0EEB-DF18-6040-C306755CF2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9225" y="2047164"/>
            <a:ext cx="3651250" cy="2061286"/>
          </a:xfrm>
        </p:spPr>
        <p:txBody>
          <a:bodyPr>
            <a:normAutofit/>
          </a:bodyPr>
          <a:lstStyle>
            <a:lvl1pPr>
              <a:defRPr sz="48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AE34A6-9330-09DC-1C21-168B521268C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DBDCCB-998D-EBD0-8BD5-00E7B94ADC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DF72ABF-3158-3C09-4A36-943B3A21C0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29713" y="4339989"/>
            <a:ext cx="2743200" cy="1597261"/>
          </a:xfrm>
        </p:spPr>
        <p:txBody>
          <a:bodyPr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24455786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SLB Sans Light" panose="02000503040000020004" pitchFamily="2" charset="0"/>
              <a:buChar char="→"/>
              <a:defRPr sz="3600" b="0">
                <a:latin typeface="+mj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147129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83C7488-E944-893A-2043-FE9944331A8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Tx/>
              <a:buFont typeface="SLB Sans Light" panose="02000503040000020004" pitchFamily="2" charset="0"/>
              <a:buChar char="→"/>
              <a:defRPr sz="3600" b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A8ADEEA-C976-6343-E015-561A866601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345132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281567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8824615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2552FDF-29F0-FEA1-55F4-48C517205ACB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B57FFDA-D27B-2D1D-703B-FAC972FA97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7247666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9516700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050BD1E-00A9-4F45-5A21-3A16C0123F69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0EA85E6-F1EF-96E4-5D58-38735E3A98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011567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68580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3359464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410845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4108450"/>
            <a:ext cx="3968750" cy="27432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75139895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2CF53DD-0966-0BFD-B778-F487FDD28A20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CA6186D-802B-AA5D-226E-496C143AC6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3250" y="4568825"/>
            <a:ext cx="3968750" cy="2289175"/>
          </a:xfrm>
          <a:solidFill>
            <a:schemeClr val="bg2"/>
          </a:solidFill>
        </p:spPr>
        <p:txBody>
          <a:bodyPr lIns="468000" tIns="468000" rIns="36000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Chart Placeholder 12">
            <a:extLst>
              <a:ext uri="{FF2B5EF4-FFF2-40B4-BE49-F238E27FC236}">
                <a16:creationId xmlns:a16="http://schemas.microsoft.com/office/drawing/2014/main" id="{141BAAD1-B2B6-51E6-5B60-1808F5AC81C2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680450" y="457200"/>
            <a:ext cx="3192463" cy="3651250"/>
          </a:xfrm>
        </p:spPr>
        <p:txBody>
          <a:bodyPr/>
          <a:lstStyle/>
          <a:p>
            <a:r>
              <a:rPr lang="en-GB"/>
              <a:t>Click icon to add chart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CBC916D-681F-B16B-82E0-C83AEC5C63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0028177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8080376" cy="5022849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494893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C38C3D6-67EC-0336-DD99-56DDA5E5271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572000" y="2279650"/>
            <a:ext cx="7300913" cy="3657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8658210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4111625" cy="5022849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1828800"/>
            <a:ext cx="3968750" cy="502285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50205531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68580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30820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2000" y="3654425"/>
            <a:ext cx="762000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0915915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5797550" cy="3197225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36184528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94850" y="3654425"/>
            <a:ext cx="2597150" cy="3197225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3200400" cy="3197225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74917909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Numb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802C4B2-937C-CC88-1104-BE3049DA47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80450" y="457200"/>
            <a:ext cx="3192463" cy="137160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##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2279650"/>
            <a:ext cx="3968750" cy="457835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2A43E3D-583C-C3D3-EB91-4B474E93AA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148912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13716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08450" y="2279650"/>
            <a:ext cx="8083550" cy="457835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9ABDF0F-4BA7-B82C-7345-64CE6436A7E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13716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E9F08A9-468B-A902-D68B-8E0B8D9536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7771715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70BFD0F-01A4-774A-DFA5-C9069D2CA6D4}"/>
              </a:ext>
            </a:extLst>
          </p:cNvPr>
          <p:cNvSpPr/>
          <p:nvPr userDrawn="1"/>
        </p:nvSpPr>
        <p:spPr>
          <a:xfrm>
            <a:off x="4108450" y="3194050"/>
            <a:ext cx="8083550" cy="36639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301E557-BFAD-DC7D-FAEB-CD9F2F2693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574978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CC2D35B-A55A-CCD1-4EDA-D1E8C50801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047394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7122906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68580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61971127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3654425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2000" y="3654425"/>
            <a:ext cx="7620000" cy="3197225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6032725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108450" cy="6857999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80450" y="2743200"/>
            <a:ext cx="3511550" cy="4108451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2" name="Picture Placeholder 7">
            <a:extLst>
              <a:ext uri="{FF2B5EF4-FFF2-40B4-BE49-F238E27FC236}">
                <a16:creationId xmlns:a16="http://schemas.microsoft.com/office/drawing/2014/main" id="{15843B81-9280-B787-925B-D94E5BB1E76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680450" y="1"/>
            <a:ext cx="3511550" cy="27432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280344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108450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80450" y="2743200"/>
            <a:ext cx="3511550" cy="4108451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Picture Placeholder 7">
            <a:extLst>
              <a:ext uri="{FF2B5EF4-FFF2-40B4-BE49-F238E27FC236}">
                <a16:creationId xmlns:a16="http://schemas.microsoft.com/office/drawing/2014/main" id="{15843B81-9280-B787-925B-D94E5BB1E76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680450" y="1"/>
            <a:ext cx="3511550" cy="27432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0286818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B92480-F2BB-6E4D-0B48-BC5E95A85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969909-5E9F-D8E9-99CB-822E1C3E1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60292F-46E5-7C51-F750-22AAB107E9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6588581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D5D703-D8EA-9994-BA95-384890B498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DCE458-D9A3-4DEA-87B5-6B6AE0C5F7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5405390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554112" y="410830"/>
            <a:ext cx="11097217" cy="107312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8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54111" y="942478"/>
            <a:ext cx="11097006" cy="541474"/>
          </a:xfrm>
        </p:spPr>
        <p:txBody>
          <a:bodyPr lIns="10800" anchor="t" anchorCtr="0"/>
          <a:lstStyle>
            <a:lvl1pPr marL="0" indent="0">
              <a:buNone/>
              <a:defRPr>
                <a:solidFill>
                  <a:srgbClr val="7F7F7F"/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  <p:extLst>
      <p:ext uri="{BB962C8B-B14F-4D97-AF65-F5344CB8AC3E}">
        <p14:creationId xmlns:p14="http://schemas.microsoft.com/office/powerpoint/2010/main" val="2201255464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4CE47E0-5D3D-42D2-958C-7E51703264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4CE47E0-5D3D-42D2-958C-7E51703264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2B334A2-B637-46F7-824D-44D422194A1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solidFill>
                <a:schemeClr val="tx1"/>
              </a:solidFill>
              <a:latin typeface="Arial Narrow" panose="020B0606020202030204" pitchFamily="34" charset="0"/>
              <a:ea typeface="ヒラギノ角ゴ Pro W3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44FD32-5560-4D4D-9419-9DA2E0765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701" y="479425"/>
            <a:ext cx="11650720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dirty="0"/>
            </a:lvl1pPr>
          </a:lstStyle>
          <a:p>
            <a:pPr marL="0" marR="0" lvl="0" indent="0" defTabSz="914400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en-US"/>
              <a:t>Click to edit Master title styl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D5EE07B0-9AE8-4745-A101-F00F0C1C824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771134" y="6574300"/>
            <a:ext cx="128240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00" smtClean="0">
                <a:solidFill>
                  <a:schemeClr val="accent6"/>
                </a:solidFill>
              </a:rPr>
              <a:pPr lvl="0"/>
              <a:t>‹#›</a:t>
            </a:fld>
            <a:endParaRPr lang="en-US" sz="100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4176061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31ED342-3D5F-E744-5C02-ED60F13F3A3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975334"/>
            <a:ext cx="9144000" cy="3439236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C1A5716-3608-4053-4CC8-84BF92B5D6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560899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or 1 Sent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60ADC76-D61C-14B2-73B6-03136E7AB583}"/>
              </a:ext>
            </a:extLst>
          </p:cNvPr>
          <p:cNvSpPr/>
          <p:nvPr userDrawn="1"/>
        </p:nvSpPr>
        <p:spPr>
          <a:xfrm>
            <a:off x="1" y="0"/>
            <a:ext cx="12192000" cy="38896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3049750"/>
            <a:ext cx="9144000" cy="1083374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577C862B-51AF-22E7-C1C8-B6AB08B7081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C47EC89-A6A9-22D1-1BE8-E0D34780BD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8919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01E87593-5AB1-A742-817D-C9CC722DF5E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FC5297-363A-7DB8-E10F-5C447164ED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02608"/>
            <a:ext cx="9586913" cy="2852737"/>
          </a:xfrm>
        </p:spPr>
        <p:txBody>
          <a:bodyPr anchor="t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B0A461-379B-6A19-B69E-A04AF5ECEB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1" y="3654426"/>
            <a:ext cx="5937250" cy="914399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BFB576-48D2-B938-362D-C2CA0F65C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44F17B-F1E6-D688-7E7E-CD7675D187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794657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1A26944-9883-9ACF-5400-2F702B82D504}"/>
              </a:ext>
            </a:extLst>
          </p:cNvPr>
          <p:cNvSpPr/>
          <p:nvPr userDrawn="1"/>
        </p:nvSpPr>
        <p:spPr>
          <a:xfrm>
            <a:off x="8223251" y="0"/>
            <a:ext cx="3968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ECD5EDD-F44D-E2A4-B31C-712D8B99E8B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9050"/>
            <a:ext cx="8223250" cy="687705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35D584-0EEB-DF18-6040-C306755CF2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9225" y="2047164"/>
            <a:ext cx="3651250" cy="2061286"/>
          </a:xfrm>
        </p:spPr>
        <p:txBody>
          <a:bodyPr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AE34A6-9330-09DC-1C21-168B521268C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DBDCCB-998D-EBD0-8BD5-00E7B94ADC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DF72ABF-3158-3C09-4A36-943B3A21C0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29713" y="4339989"/>
            <a:ext cx="2743200" cy="1597261"/>
          </a:xfrm>
        </p:spPr>
        <p:txBody>
          <a:bodyPr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30938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SLB Sans Light" panose="02000503040000020004" pitchFamily="2" charset="0"/>
              <a:buChar char="→"/>
              <a:defRPr sz="36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8771829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83C7488-E944-893A-2043-FE9944331A8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>
                <a:schemeClr val="bg1"/>
              </a:buClr>
              <a:buFont typeface="SLB Sans Light" panose="02000503040000020004" pitchFamily="2" charset="0"/>
              <a:buChar char="→"/>
              <a:defRPr sz="3600" b="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0650C58-ADB6-799E-D665-4F33A4818F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5030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D813FA-E1E9-6CE5-DA3B-3550F5132A9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91588"/>
            <a:ext cx="2743200" cy="230248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B92480-F2BB-6E4D-0B48-BC5E95A85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969909-5E9F-D8E9-99CB-822E1C3E1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60292F-46E5-7C51-F750-22AAB107E9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3491303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788774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2552FDF-29F0-FEA1-55F4-48C517205ACB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7BC1DE3-EE83-6842-B054-58DA3F6BFD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932902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0368521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050BD1E-00A9-4F45-5A21-3A16C0123F69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DB5DA967-430E-FD94-6B0C-7C66CB6678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389470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7072587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41084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4108450"/>
            <a:ext cx="3968750" cy="27432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1850392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2CF53DD-0966-0BFD-B778-F487FDD28A20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CA6186D-802B-AA5D-226E-496C143AC6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3250" y="4568825"/>
            <a:ext cx="3968750" cy="2289175"/>
          </a:xfrm>
          <a:solidFill>
            <a:schemeClr val="bg2"/>
          </a:solidFill>
        </p:spPr>
        <p:txBody>
          <a:bodyPr lIns="468000" tIns="468000" rIns="360000"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Chart Placeholder 12">
            <a:extLst>
              <a:ext uri="{FF2B5EF4-FFF2-40B4-BE49-F238E27FC236}">
                <a16:creationId xmlns:a16="http://schemas.microsoft.com/office/drawing/2014/main" id="{141BAAD1-B2B6-51E6-5B60-1808F5AC81C2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680450" y="457200"/>
            <a:ext cx="3192463" cy="365125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DDAAA2D-F47B-6394-6A72-F074375588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765008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Image Grey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8080376" cy="502284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DD43530-2003-7EDD-62EC-552AB7BE35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0160239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Grey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C38C3D6-67EC-0336-DD99-56DDA5E5271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572000" y="2279650"/>
            <a:ext cx="7300913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7F3EFBD-B4F2-F929-4A06-6F13B5F7B0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2837397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2 Image Grey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4111625" cy="502284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1828800"/>
            <a:ext cx="3968750" cy="50228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45D086E-DF0D-EA77-42DA-30D06A6215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47342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D5D703-D8EA-9994-BA95-384890B498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DCE458-D9A3-4DEA-87B5-6B6AE0C5F7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6680694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7663470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579755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3022860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94850" y="3654425"/>
            <a:ext cx="259715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320040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3632601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Numb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802C4B2-937C-CC88-1104-BE3049DA47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80450" y="457200"/>
            <a:ext cx="3192463" cy="137160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##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2279650"/>
            <a:ext cx="3968750" cy="45783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A2442C3-F533-1B9F-09E7-AC1C88B25F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51306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13716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08450" y="2279650"/>
            <a:ext cx="8083550" cy="45783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9ABDF0F-4BA7-B82C-7345-64CE6436A7E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13716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164959C2-0EA4-1F84-9951-8993395941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250039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70BFD0F-01A4-774A-DFA5-C9069D2CA6D4}"/>
              </a:ext>
            </a:extLst>
          </p:cNvPr>
          <p:cNvSpPr/>
          <p:nvPr userDrawn="1"/>
        </p:nvSpPr>
        <p:spPr>
          <a:xfrm>
            <a:off x="4108450" y="3194050"/>
            <a:ext cx="8083550" cy="36639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2977A46-41C3-31B7-5F50-917CE87B9D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830252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91FA772-0BFE-9951-6889-D200B7DA58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6256081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3696758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0596426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2000" y="3654425"/>
            <a:ext cx="762000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18566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01E87593-5AB1-A742-817D-C9CC722DF5E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FC5297-363A-7DB8-E10F-5C447164ED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02608"/>
            <a:ext cx="9586913" cy="2852737"/>
          </a:xfrm>
        </p:spPr>
        <p:txBody>
          <a:bodyPr anchor="t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B0A461-379B-6A19-B69E-A04AF5ECEB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1" y="3654426"/>
            <a:ext cx="5937250" cy="914399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BFB576-48D2-B938-362D-C2CA0F65C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44F17B-F1E6-D688-7E7E-CD7675D187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426335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31ED342-3D5F-E744-5C02-ED60F13F3A3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975334"/>
            <a:ext cx="9144000" cy="3439236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C1A5716-3608-4053-4CC8-84BF92B5D6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440270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108450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80450" y="2743200"/>
            <a:ext cx="3511550" cy="4108451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Picture Placeholder 7">
            <a:extLst>
              <a:ext uri="{FF2B5EF4-FFF2-40B4-BE49-F238E27FC236}">
                <a16:creationId xmlns:a16="http://schemas.microsoft.com/office/drawing/2014/main" id="{15843B81-9280-B787-925B-D94E5BB1E76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680450" y="1"/>
            <a:ext cx="3511550" cy="27432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6302603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D813FA-E1E9-6CE5-DA3B-3550F5132A9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91588"/>
            <a:ext cx="2743200" cy="230248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B92480-F2BB-6E4D-0B48-BC5E95A85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969909-5E9F-D8E9-99CB-822E1C3E1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60292F-46E5-7C51-F750-22AAB107E9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3743404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D5D703-D8EA-9994-BA95-384890B498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DCE458-D9A3-4DEA-87B5-6B6AE0C5F7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4898950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31ED342-3D5F-E744-5C02-ED60F13F3A3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975334"/>
            <a:ext cx="9144000" cy="3439236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F166A59-25A3-3A00-7289-60767DE59A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110068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or 1 Sent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60ADC76-D61C-14B2-73B6-03136E7AB583}"/>
              </a:ext>
            </a:extLst>
          </p:cNvPr>
          <p:cNvSpPr/>
          <p:nvPr userDrawn="1"/>
        </p:nvSpPr>
        <p:spPr>
          <a:xfrm>
            <a:off x="1" y="0"/>
            <a:ext cx="12192000" cy="38896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3049750"/>
            <a:ext cx="9144000" cy="1083374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577C862B-51AF-22E7-C1C8-B6AB08B7081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6991778-B436-9629-6EC4-E96EA59B0C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521634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01E87593-5AB1-A742-817D-C9CC722DF5E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FC5297-363A-7DB8-E10F-5C447164ED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02608"/>
            <a:ext cx="9586913" cy="2852737"/>
          </a:xfrm>
        </p:spPr>
        <p:txBody>
          <a:bodyPr anchor="t"/>
          <a:lstStyle>
            <a:lvl1pPr>
              <a:defRPr sz="720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B0A461-379B-6A19-B69E-A04AF5ECEB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1" y="3654426"/>
            <a:ext cx="5937250" cy="914399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BFB576-48D2-B938-362D-C2CA0F65C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chlumberger - Priva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44F17B-F1E6-D688-7E7E-CD7675D187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8962149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1A26944-9883-9ACF-5400-2F702B82D504}"/>
              </a:ext>
            </a:extLst>
          </p:cNvPr>
          <p:cNvSpPr/>
          <p:nvPr userDrawn="1"/>
        </p:nvSpPr>
        <p:spPr>
          <a:xfrm>
            <a:off x="8223251" y="0"/>
            <a:ext cx="3968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ECD5EDD-F44D-E2A4-B31C-712D8B99E8B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9050"/>
            <a:ext cx="8223250" cy="687705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35D584-0EEB-DF18-6040-C306755CF2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9225" y="2047164"/>
            <a:ext cx="3651250" cy="2061286"/>
          </a:xfrm>
        </p:spPr>
        <p:txBody>
          <a:bodyPr>
            <a:normAutofit/>
          </a:bodyPr>
          <a:lstStyle>
            <a:lvl1pPr>
              <a:defRPr sz="480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AE34A6-9330-09DC-1C21-168B521268C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chlumberger - Privat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DBDCCB-998D-EBD0-8BD5-00E7B94ADC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DF72ABF-3158-3C09-4A36-943B3A21C0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29713" y="4339989"/>
            <a:ext cx="2743200" cy="1597261"/>
          </a:xfrm>
        </p:spPr>
        <p:txBody>
          <a:bodyPr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1533851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SLB Sans Light" panose="02000503040000020004" pitchFamily="2" charset="0"/>
              <a:buChar char="→"/>
              <a:defRPr sz="3600" b="0">
                <a:latin typeface="+mj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chlumberger - Priva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0342058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83C7488-E944-893A-2043-FE9944331A8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Tx/>
              <a:buFont typeface="SLB Sans Light" panose="02000503040000020004" pitchFamily="2" charset="0"/>
              <a:buChar char="→"/>
              <a:defRPr sz="3600" b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chlumberger - Priva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A8ADEEA-C976-6343-E015-561A866601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968647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chlumberger - Priva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95294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or 1 Sent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60ADC76-D61C-14B2-73B6-03136E7AB583}"/>
              </a:ext>
            </a:extLst>
          </p:cNvPr>
          <p:cNvSpPr/>
          <p:nvPr userDrawn="1"/>
        </p:nvSpPr>
        <p:spPr>
          <a:xfrm>
            <a:off x="1" y="0"/>
            <a:ext cx="12192000" cy="38896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3049750"/>
            <a:ext cx="9144000" cy="1083374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577C862B-51AF-22E7-C1C8-B6AB08B7081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C47EC89-A6A9-22D1-1BE8-E0D34780BD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7291624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2552FDF-29F0-FEA1-55F4-48C517205ACB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chlumberger - Priva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B57FFDA-D27B-2D1D-703B-FAC972FA97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362595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chlumberger - Privat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7111901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050BD1E-00A9-4F45-5A21-3A16C0123F69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chlumberger - Privat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0EA85E6-F1EF-96E4-5D58-38735E3A98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515170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6858000"/>
          </a:xfrm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chlumberger - Privat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1995273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4108450"/>
          </a:xfrm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chlumberger - Privat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4108450"/>
            <a:ext cx="3968750" cy="2743200"/>
          </a:xfrm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42174297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2CF53DD-0966-0BFD-B778-F487FDD28A20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chlumberger - Privat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CA6186D-802B-AA5D-226E-496C143AC6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3250" y="4568825"/>
            <a:ext cx="3968750" cy="2289175"/>
          </a:xfrm>
          <a:solidFill>
            <a:schemeClr val="bg2"/>
          </a:solidFill>
        </p:spPr>
        <p:txBody>
          <a:bodyPr lIns="468000" tIns="468000" rIns="36000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3" name="Chart Placeholder 12">
            <a:extLst>
              <a:ext uri="{FF2B5EF4-FFF2-40B4-BE49-F238E27FC236}">
                <a16:creationId xmlns:a16="http://schemas.microsoft.com/office/drawing/2014/main" id="{141BAAD1-B2B6-51E6-5B60-1808F5AC81C2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680450" y="457200"/>
            <a:ext cx="3192463" cy="3651250"/>
          </a:xfrm>
        </p:spPr>
        <p:txBody>
          <a:bodyPr/>
          <a:lstStyle/>
          <a:p>
            <a:r>
              <a:rPr lang="en-GB" dirty="0"/>
              <a:t>Click icon to add chart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CBC916D-681F-B16B-82E0-C83AEC5C63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994957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8080376" cy="5022849"/>
          </a:xfrm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chlumberger - Privat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2610601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chlumberger - Privat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C38C3D6-67EC-0336-DD99-56DDA5E5271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572000" y="2279650"/>
            <a:ext cx="7300913" cy="3657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411399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4111625" cy="5022849"/>
          </a:xfrm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chlumberger - Privat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1828800"/>
            <a:ext cx="3968750" cy="5022850"/>
          </a:xfrm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96772364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6858000"/>
          </a:xfrm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chlumberger - Privat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52986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01E87593-5AB1-A742-817D-C9CC722DF5E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FC5297-363A-7DB8-E10F-5C447164ED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02608"/>
            <a:ext cx="9586913" cy="2852737"/>
          </a:xfrm>
        </p:spPr>
        <p:txBody>
          <a:bodyPr anchor="t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B0A461-379B-6A19-B69E-A04AF5ECEB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1" y="3654426"/>
            <a:ext cx="5937250" cy="914399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BFB576-48D2-B938-362D-C2CA0F65C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44F17B-F1E6-D688-7E7E-CD7675D187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8958959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chlumberger - Privat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5797550" cy="3197225"/>
          </a:xfrm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01000343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chlumberger - Privat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94850" y="3654425"/>
            <a:ext cx="2597150" cy="3197225"/>
          </a:xfrm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3200400" cy="3197225"/>
          </a:xfrm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35797201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Numb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chlumberger - Privat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802C4B2-937C-CC88-1104-BE3049DA47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80450" y="457200"/>
            <a:ext cx="3192463" cy="137160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##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2279650"/>
            <a:ext cx="3968750" cy="4578350"/>
          </a:xfrm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2A43E3D-583C-C3D3-EB91-4B474E93AA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401169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chlumberger - Privat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13716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08450" y="2279650"/>
            <a:ext cx="8083550" cy="4578350"/>
          </a:xfrm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9ABDF0F-4BA7-B82C-7345-64CE6436A7E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13716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E9F08A9-468B-A902-D68B-8E0B8D9536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825138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70BFD0F-01A4-774A-DFA5-C9069D2CA6D4}"/>
              </a:ext>
            </a:extLst>
          </p:cNvPr>
          <p:cNvSpPr/>
          <p:nvPr userDrawn="1"/>
        </p:nvSpPr>
        <p:spPr>
          <a:xfrm>
            <a:off x="4108450" y="3194050"/>
            <a:ext cx="8083550" cy="36639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chlumberger - Privat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301E557-BFAD-DC7D-FAEB-CD9F2F2693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562151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chlumberger - Privat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CC2D35B-A55A-CCD1-4EDA-D1E8C50801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181122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chlumberger - Privat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1622120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6858000"/>
          </a:xfrm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chlumberger - Privat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99932236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3654425"/>
          </a:xfrm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chlumberger - Privat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2000" y="3654425"/>
            <a:ext cx="7620000" cy="3197225"/>
          </a:xfrm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3206689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108450" cy="6857999"/>
          </a:xfrm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chlumberger - Privat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80450" y="2743200"/>
            <a:ext cx="3511550" cy="4108451"/>
          </a:xfrm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2" name="Picture Placeholder 7">
            <a:extLst>
              <a:ext uri="{FF2B5EF4-FFF2-40B4-BE49-F238E27FC236}">
                <a16:creationId xmlns:a16="http://schemas.microsoft.com/office/drawing/2014/main" id="{15843B81-9280-B787-925B-D94E5BB1E76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680450" y="1"/>
            <a:ext cx="3511550" cy="2743200"/>
          </a:xfrm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912064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1A26944-9883-9ACF-5400-2F702B82D504}"/>
              </a:ext>
            </a:extLst>
          </p:cNvPr>
          <p:cNvSpPr/>
          <p:nvPr userDrawn="1"/>
        </p:nvSpPr>
        <p:spPr>
          <a:xfrm>
            <a:off x="8223251" y="0"/>
            <a:ext cx="3968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ECD5EDD-F44D-E2A4-B31C-712D8B99E8B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9050"/>
            <a:ext cx="8223250" cy="687705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35D584-0EEB-DF18-6040-C306755CF2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9225" y="2047164"/>
            <a:ext cx="3651250" cy="2061286"/>
          </a:xfrm>
        </p:spPr>
        <p:txBody>
          <a:bodyPr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AE34A6-9330-09DC-1C21-168B521268C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DBDCCB-998D-EBD0-8BD5-00E7B94ADC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DF72ABF-3158-3C09-4A36-943B3A21C0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29713" y="4339989"/>
            <a:ext cx="2743200" cy="1597261"/>
          </a:xfrm>
        </p:spPr>
        <p:txBody>
          <a:bodyPr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483538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B92480-F2BB-6E4D-0B48-BC5E95A85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chlumberger - Privat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969909-5E9F-D8E9-99CB-822E1C3E1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60292F-46E5-7C51-F750-22AAB107E9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12666212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D5D703-D8EA-9994-BA95-384890B498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chlumberger - Privat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DCE458-D9A3-4DEA-87B5-6B6AE0C5F7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4288927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31ED342-3D5F-E744-5C02-ED60F13F3A3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975334"/>
            <a:ext cx="9144000" cy="3439236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F166A59-25A3-3A00-7289-60767DE59A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6987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or 1 Sent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60ADC76-D61C-14B2-73B6-03136E7AB583}"/>
              </a:ext>
            </a:extLst>
          </p:cNvPr>
          <p:cNvSpPr/>
          <p:nvPr userDrawn="1"/>
        </p:nvSpPr>
        <p:spPr>
          <a:xfrm>
            <a:off x="1" y="0"/>
            <a:ext cx="12192000" cy="38896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3049750"/>
            <a:ext cx="9144000" cy="1083374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577C862B-51AF-22E7-C1C8-B6AB08B7081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/>
              <a:t>After inserting right click on the image and send to back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6991778-B436-9629-6EC4-E96EA59B0C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439647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01E87593-5AB1-A742-817D-C9CC722DF5E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FC5297-363A-7DB8-E10F-5C447164ED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02608"/>
            <a:ext cx="9586913" cy="2852737"/>
          </a:xfrm>
        </p:spPr>
        <p:txBody>
          <a:bodyPr anchor="t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B0A461-379B-6A19-B69E-A04AF5ECEB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1" y="3654426"/>
            <a:ext cx="5937250" cy="914399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BFB576-48D2-B938-362D-C2CA0F65C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44F17B-F1E6-D688-7E7E-CD7675D187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7F1A0222-B118-DD79-00E6-0881AAA2BE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0530161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1A26944-9883-9ACF-5400-2F702B82D504}"/>
              </a:ext>
            </a:extLst>
          </p:cNvPr>
          <p:cNvSpPr/>
          <p:nvPr userDrawn="1"/>
        </p:nvSpPr>
        <p:spPr>
          <a:xfrm>
            <a:off x="8223251" y="0"/>
            <a:ext cx="3968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ECD5EDD-F44D-E2A4-B31C-712D8B99E8B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9050"/>
            <a:ext cx="8223250" cy="687705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35D584-0EEB-DF18-6040-C306755CF2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9225" y="2047164"/>
            <a:ext cx="3651250" cy="2061286"/>
          </a:xfrm>
        </p:spPr>
        <p:txBody>
          <a:bodyPr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AE34A6-9330-09DC-1C21-168B521268C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DBDCCB-998D-EBD0-8BD5-00E7B94ADC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DF72ABF-3158-3C09-4A36-943B3A21C0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29713" y="4339989"/>
            <a:ext cx="2743200" cy="1597261"/>
          </a:xfrm>
        </p:spPr>
        <p:txBody>
          <a:bodyPr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2280058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SLB Sans Light" panose="02000503040000020004" pitchFamily="2" charset="0"/>
              <a:buChar char="→"/>
              <a:defRPr sz="36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5342842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83C7488-E944-893A-2043-FE9944331A8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Tx/>
              <a:buFont typeface="SLB Sans Light" panose="02000503040000020004" pitchFamily="2" charset="0"/>
              <a:buChar char="→"/>
              <a:defRPr sz="3600" b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A8ADEEA-C976-6343-E015-561A866601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88552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9438416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2552FDF-29F0-FEA1-55F4-48C517205ACB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B57FFDA-D27B-2D1D-703B-FAC972FA97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07501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SLB Sans Light" panose="02000503040000020004" pitchFamily="2" charset="0"/>
              <a:buChar char="→"/>
              <a:defRPr sz="36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2184780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4468307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050BD1E-00A9-4F45-5A21-3A16C0123F69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0EA85E6-F1EF-96E4-5D58-38735E3A98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6867938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2342881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41084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4108450"/>
            <a:ext cx="3968750" cy="27432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8871059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2CF53DD-0966-0BFD-B778-F487FDD28A20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CA6186D-802B-AA5D-226E-496C143AC6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3250" y="4568825"/>
            <a:ext cx="3968750" cy="2289175"/>
          </a:xfrm>
          <a:solidFill>
            <a:schemeClr val="bg2"/>
          </a:solidFill>
        </p:spPr>
        <p:txBody>
          <a:bodyPr lIns="468000" tIns="468000" rIns="36000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hart Placeholder 12">
            <a:extLst>
              <a:ext uri="{FF2B5EF4-FFF2-40B4-BE49-F238E27FC236}">
                <a16:creationId xmlns:a16="http://schemas.microsoft.com/office/drawing/2014/main" id="{141BAAD1-B2B6-51E6-5B60-1808F5AC81C2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680450" y="457200"/>
            <a:ext cx="3192463" cy="365125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CBC916D-681F-B16B-82E0-C83AEC5C63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193571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8080376" cy="502284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1141317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C38C3D6-67EC-0336-DD99-56DDA5E5271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572000" y="2279650"/>
            <a:ext cx="7300913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1087107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4111625" cy="502284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1828800"/>
            <a:ext cx="3968750" cy="50228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2121774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7380213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579755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7873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83C7488-E944-893A-2043-FE9944331A8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>
                <a:schemeClr val="bg1"/>
              </a:buClr>
              <a:buFont typeface="SLB Sans Light" panose="02000503040000020004" pitchFamily="2" charset="0"/>
              <a:buChar char="→"/>
              <a:defRPr sz="3600" b="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0650C58-ADB6-799E-D665-4F33A4818F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678191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94850" y="3654425"/>
            <a:ext cx="259715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320040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6995451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Numb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802C4B2-937C-CC88-1104-BE3049DA47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80450" y="457200"/>
            <a:ext cx="3192463" cy="137160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##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2279650"/>
            <a:ext cx="3968750" cy="45783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2A43E3D-583C-C3D3-EB91-4B474E93AA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386768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13716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08450" y="2279650"/>
            <a:ext cx="8083550" cy="45783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9ABDF0F-4BA7-B82C-7345-64CE6436A7E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13716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E9F08A9-468B-A902-D68B-8E0B8D9536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063879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70BFD0F-01A4-774A-DFA5-C9069D2CA6D4}"/>
              </a:ext>
            </a:extLst>
          </p:cNvPr>
          <p:cNvSpPr/>
          <p:nvPr userDrawn="1"/>
        </p:nvSpPr>
        <p:spPr>
          <a:xfrm>
            <a:off x="4108450" y="3194050"/>
            <a:ext cx="8083550" cy="36639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301E557-BFAD-DC7D-FAEB-CD9F2F2693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0780397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CC2D35B-A55A-CCD1-4EDA-D1E8C50801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3169156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369057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2812068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2000" y="3654425"/>
            <a:ext cx="762000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3091299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108450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80450" y="2743200"/>
            <a:ext cx="3511550" cy="4108451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Picture Placeholder 7">
            <a:extLst>
              <a:ext uri="{FF2B5EF4-FFF2-40B4-BE49-F238E27FC236}">
                <a16:creationId xmlns:a16="http://schemas.microsoft.com/office/drawing/2014/main" id="{15843B81-9280-B787-925B-D94E5BB1E76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680450" y="1"/>
            <a:ext cx="3511550" cy="27432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9165565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B92480-F2BB-6E4D-0B48-BC5E95A85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969909-5E9F-D8E9-99CB-822E1C3E1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60292F-46E5-7C51-F750-22AAB107E9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054007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2597840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D5D703-D8EA-9994-BA95-384890B498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DCE458-D9A3-4DEA-87B5-6B6AE0C5F7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2892737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sin Map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3B0B03C-65C1-B39F-F4CF-D3F9200D5416}"/>
              </a:ext>
            </a:extLst>
          </p:cNvPr>
          <p:cNvSpPr/>
          <p:nvPr userDrawn="1"/>
        </p:nvSpPr>
        <p:spPr>
          <a:xfrm>
            <a:off x="238539" y="1078788"/>
            <a:ext cx="9117495" cy="55626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8EF50B7-28CC-1AAA-7DAB-B4A38148BF8A}"/>
              </a:ext>
            </a:extLst>
          </p:cNvPr>
          <p:cNvSpPr/>
          <p:nvPr userDrawn="1"/>
        </p:nvSpPr>
        <p:spPr>
          <a:xfrm>
            <a:off x="238540" y="261709"/>
            <a:ext cx="9117494" cy="7348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969909-5E9F-D8E9-99CB-822E1C3E1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60292F-46E5-7C51-F750-22AAB107E9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1"/>
            <a:ext cx="8672513" cy="332399"/>
          </a:xfrm>
        </p:spPr>
        <p:txBody>
          <a:bodyPr wrap="square"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58762FB-9D63-2349-6E8F-D2CFE4E431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5A8EDF0-4DAB-ACF1-7FD5-891321DB014E}"/>
              </a:ext>
            </a:extLst>
          </p:cNvPr>
          <p:cNvSpPr/>
          <p:nvPr userDrawn="1"/>
        </p:nvSpPr>
        <p:spPr>
          <a:xfrm>
            <a:off x="238540" y="189708"/>
            <a:ext cx="9117494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5678054-26F6-BE3B-EE69-C659B73A4C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94850" y="1376362"/>
            <a:ext cx="2278063" cy="45608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9825276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Offic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FF179F9A-7003-49C6-B532-A5BCB354B1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4236" y="119622"/>
            <a:ext cx="11453800" cy="55273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99A9D4D-8A0A-45E2-856A-F63300F60D90}"/>
              </a:ext>
            </a:extLst>
          </p:cNvPr>
          <p:cNvSpPr txBox="1"/>
          <p:nvPr userDrawn="1"/>
        </p:nvSpPr>
        <p:spPr>
          <a:xfrm>
            <a:off x="0" y="6522934"/>
            <a:ext cx="6635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/>
              <a:t>#</a:t>
            </a:r>
            <a:fld id="{2AE6BEE3-3D42-4120-AFFB-5E292F46AE1D}" type="slidenum">
              <a:rPr lang="en-US" sz="1600" smtClean="0"/>
              <a:t>‹#›</a:t>
            </a:fld>
            <a:endParaRPr lang="en-MY" sz="1600"/>
          </a:p>
        </p:txBody>
      </p:sp>
    </p:spTree>
    <p:extLst>
      <p:ext uri="{BB962C8B-B14F-4D97-AF65-F5344CB8AC3E}">
        <p14:creationId xmlns:p14="http://schemas.microsoft.com/office/powerpoint/2010/main" val="3192843573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&amp;I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357007" y="1431148"/>
            <a:ext cx="5613662" cy="46966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197144" y="1431148"/>
            <a:ext cx="5613662" cy="46966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34714031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31ED342-3D5F-E744-5C02-ED60F13F3A3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975334"/>
            <a:ext cx="9144000" cy="3439236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C1A5716-3608-4053-4CC8-84BF92B5D6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993585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or 1 Sent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60ADC76-D61C-14B2-73B6-03136E7AB583}"/>
              </a:ext>
            </a:extLst>
          </p:cNvPr>
          <p:cNvSpPr/>
          <p:nvPr userDrawn="1"/>
        </p:nvSpPr>
        <p:spPr>
          <a:xfrm>
            <a:off x="1" y="0"/>
            <a:ext cx="12192000" cy="38896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3049750"/>
            <a:ext cx="9144000" cy="1083374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577C862B-51AF-22E7-C1C8-B6AB08B7081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C47EC89-A6A9-22D1-1BE8-E0D34780BD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0163218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01E87593-5AB1-A742-817D-C9CC722DF5E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FC5297-363A-7DB8-E10F-5C447164ED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02608"/>
            <a:ext cx="9586913" cy="2852737"/>
          </a:xfrm>
        </p:spPr>
        <p:txBody>
          <a:bodyPr anchor="t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B0A461-379B-6A19-B69E-A04AF5ECEB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1" y="3654426"/>
            <a:ext cx="5937250" cy="914399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BFB576-48D2-B938-362D-C2CA0F65C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44F17B-F1E6-D688-7E7E-CD7675D187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5477333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1A26944-9883-9ACF-5400-2F702B82D504}"/>
              </a:ext>
            </a:extLst>
          </p:cNvPr>
          <p:cNvSpPr/>
          <p:nvPr userDrawn="1"/>
        </p:nvSpPr>
        <p:spPr>
          <a:xfrm>
            <a:off x="8223251" y="0"/>
            <a:ext cx="3968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ECD5EDD-F44D-E2A4-B31C-712D8B99E8B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9050"/>
            <a:ext cx="8223250" cy="687705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35D584-0EEB-DF18-6040-C306755CF2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9225" y="2047164"/>
            <a:ext cx="3651250" cy="2061286"/>
          </a:xfrm>
        </p:spPr>
        <p:txBody>
          <a:bodyPr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AE34A6-9330-09DC-1C21-168B521268C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DBDCCB-998D-EBD0-8BD5-00E7B94ADC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DF72ABF-3158-3C09-4A36-943B3A21C0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29713" y="4339989"/>
            <a:ext cx="2743200" cy="1597261"/>
          </a:xfrm>
        </p:spPr>
        <p:txBody>
          <a:bodyPr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1569259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SLB Sans Light" panose="02000503040000020004" pitchFamily="2" charset="0"/>
              <a:buChar char="→"/>
              <a:defRPr sz="36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5070041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83C7488-E944-893A-2043-FE9944331A8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>
                <a:schemeClr val="bg1"/>
              </a:buClr>
              <a:buFont typeface="SLB Sans Light" panose="02000503040000020004" pitchFamily="2" charset="0"/>
              <a:buChar char="→"/>
              <a:defRPr sz="3600" b="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0650C58-ADB6-799E-D665-4F33A4818F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5068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2552FDF-29F0-FEA1-55F4-48C517205ACB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7BC1DE3-EE83-6842-B054-58DA3F6BFD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934109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892155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2552FDF-29F0-FEA1-55F4-48C517205ACB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7BC1DE3-EE83-6842-B054-58DA3F6BFD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625659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7010627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050BD1E-00A9-4F45-5A21-3A16C0123F69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DB5DA967-430E-FD94-6B0C-7C66CB6678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9510944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1157323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41084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4108450"/>
            <a:ext cx="3968750" cy="27432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4347733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2CF53DD-0966-0BFD-B778-F487FDD28A20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CA6186D-802B-AA5D-226E-496C143AC6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3250" y="4568825"/>
            <a:ext cx="3968750" cy="2289175"/>
          </a:xfrm>
          <a:solidFill>
            <a:schemeClr val="bg2"/>
          </a:solidFill>
        </p:spPr>
        <p:txBody>
          <a:bodyPr lIns="468000" tIns="468000" rIns="360000"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Chart Placeholder 12">
            <a:extLst>
              <a:ext uri="{FF2B5EF4-FFF2-40B4-BE49-F238E27FC236}">
                <a16:creationId xmlns:a16="http://schemas.microsoft.com/office/drawing/2014/main" id="{141BAAD1-B2B6-51E6-5B60-1808F5AC81C2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680450" y="457200"/>
            <a:ext cx="3192463" cy="365125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DDAAA2D-F47B-6394-6A72-F074375588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924972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Image Grey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8080376" cy="502284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DD43530-2003-7EDD-62EC-552AB7BE35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636296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Grey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C38C3D6-67EC-0336-DD99-56DDA5E5271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572000" y="2279650"/>
            <a:ext cx="7300913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7F3EFBD-B4F2-F929-4A06-6F13B5F7B0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3032259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2 Image Grey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4111625" cy="502284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1828800"/>
            <a:ext cx="3968750" cy="50228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45D086E-DF0D-EA77-42DA-30D06A6215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62448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3872534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2703947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579755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1263137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94850" y="3654425"/>
            <a:ext cx="259715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320040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5509843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Numb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802C4B2-937C-CC88-1104-BE3049DA47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80450" y="457200"/>
            <a:ext cx="3192463" cy="137160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##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2279650"/>
            <a:ext cx="3968750" cy="45783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A2442C3-F533-1B9F-09E7-AC1C88B25F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1910153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13716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08450" y="2279650"/>
            <a:ext cx="8083550" cy="45783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9ABDF0F-4BA7-B82C-7345-64CE6436A7E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13716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164959C2-0EA4-1F84-9951-8993395941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001600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70BFD0F-01A4-774A-DFA5-C9069D2CA6D4}"/>
              </a:ext>
            </a:extLst>
          </p:cNvPr>
          <p:cNvSpPr/>
          <p:nvPr userDrawn="1"/>
        </p:nvSpPr>
        <p:spPr>
          <a:xfrm>
            <a:off x="4108450" y="3194050"/>
            <a:ext cx="8083550" cy="36639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2977A46-41C3-31B7-5F50-917CE87B9D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3950156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91FA772-0BFE-9951-6889-D200B7DA58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00345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5811453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0438643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2000" y="3654425"/>
            <a:ext cx="762000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120482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050BD1E-00A9-4F45-5A21-3A16C0123F69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DB5DA967-430E-FD94-6B0C-7C66CB6678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942592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108450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80450" y="2743200"/>
            <a:ext cx="3511550" cy="4108451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Picture Placeholder 7">
            <a:extLst>
              <a:ext uri="{FF2B5EF4-FFF2-40B4-BE49-F238E27FC236}">
                <a16:creationId xmlns:a16="http://schemas.microsoft.com/office/drawing/2014/main" id="{15843B81-9280-B787-925B-D94E5BB1E76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680450" y="1"/>
            <a:ext cx="3511550" cy="27432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8322616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D813FA-E1E9-6CE5-DA3B-3550F5132A9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91588"/>
            <a:ext cx="2743200" cy="230248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B92480-F2BB-6E4D-0B48-BC5E95A85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969909-5E9F-D8E9-99CB-822E1C3E1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60292F-46E5-7C51-F750-22AAB107E9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7634594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D5D703-D8EA-9994-BA95-384890B498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DCE458-D9A3-4DEA-87B5-6B6AE0C5F7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6768572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31ED342-3D5F-E744-5C02-ED60F13F3A3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975334"/>
            <a:ext cx="9144000" cy="3439236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F166A59-25A3-3A00-7289-60767DE59A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4863084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or 1 Sent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60ADC76-D61C-14B2-73B6-03136E7AB583}"/>
              </a:ext>
            </a:extLst>
          </p:cNvPr>
          <p:cNvSpPr/>
          <p:nvPr userDrawn="1"/>
        </p:nvSpPr>
        <p:spPr>
          <a:xfrm>
            <a:off x="1" y="0"/>
            <a:ext cx="12192000" cy="38896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3049750"/>
            <a:ext cx="9144000" cy="1083374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577C862B-51AF-22E7-C1C8-B6AB08B7081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6991778-B436-9629-6EC4-E96EA59B0C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27779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01E87593-5AB1-A742-817D-C9CC722DF5E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FC5297-363A-7DB8-E10F-5C447164ED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02608"/>
            <a:ext cx="9586913" cy="2852737"/>
          </a:xfrm>
        </p:spPr>
        <p:txBody>
          <a:bodyPr anchor="t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B0A461-379B-6A19-B69E-A04AF5ECEB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1" y="3654426"/>
            <a:ext cx="5937250" cy="914399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BFB576-48D2-B938-362D-C2CA0F65C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44F17B-F1E6-D688-7E7E-CD7675D187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7F1A0222-B118-DD79-00E6-0881AAA2BE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191677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1A26944-9883-9ACF-5400-2F702B82D504}"/>
              </a:ext>
            </a:extLst>
          </p:cNvPr>
          <p:cNvSpPr/>
          <p:nvPr userDrawn="1"/>
        </p:nvSpPr>
        <p:spPr>
          <a:xfrm>
            <a:off x="8223251" y="0"/>
            <a:ext cx="3968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ECD5EDD-F44D-E2A4-B31C-712D8B99E8B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9050"/>
            <a:ext cx="8223250" cy="687705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35D584-0EEB-DF18-6040-C306755CF2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9225" y="2047164"/>
            <a:ext cx="3651250" cy="2061286"/>
          </a:xfrm>
        </p:spPr>
        <p:txBody>
          <a:bodyPr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AE34A6-9330-09DC-1C21-168B521268C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DBDCCB-998D-EBD0-8BD5-00E7B94ADC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DF72ABF-3158-3C09-4A36-943B3A21C0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29713" y="4339989"/>
            <a:ext cx="2743200" cy="1597261"/>
          </a:xfrm>
        </p:spPr>
        <p:txBody>
          <a:bodyPr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4686542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SLB Sans Light" panose="02000503040000020004" pitchFamily="2" charset="0"/>
              <a:buChar char="→"/>
              <a:defRPr sz="36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2827143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83C7488-E944-893A-2043-FE9944331A8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Tx/>
              <a:buFont typeface="SLB Sans Light" panose="02000503040000020004" pitchFamily="2" charset="0"/>
              <a:buChar char="→"/>
              <a:defRPr sz="3600" b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A8ADEEA-C976-6343-E015-561A866601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4317552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22672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1A26944-9883-9ACF-5400-2F702B82D504}"/>
              </a:ext>
            </a:extLst>
          </p:cNvPr>
          <p:cNvSpPr/>
          <p:nvPr userDrawn="1"/>
        </p:nvSpPr>
        <p:spPr>
          <a:xfrm>
            <a:off x="8223251" y="0"/>
            <a:ext cx="3968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ECD5EDD-F44D-E2A4-B31C-712D8B99E8B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9050"/>
            <a:ext cx="8223250" cy="687705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35D584-0EEB-DF18-6040-C306755CF2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9225" y="2047164"/>
            <a:ext cx="3651250" cy="2061286"/>
          </a:xfrm>
        </p:spPr>
        <p:txBody>
          <a:bodyPr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AE34A6-9330-09DC-1C21-168B521268C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DBDCCB-998D-EBD0-8BD5-00E7B94ADC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DF72ABF-3158-3C09-4A36-943B3A21C0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29713" y="4339989"/>
            <a:ext cx="2743200" cy="1597261"/>
          </a:xfrm>
        </p:spPr>
        <p:txBody>
          <a:bodyPr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05393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3881814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2552FDF-29F0-FEA1-55F4-48C517205ACB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B57FFDA-D27B-2D1D-703B-FAC972FA97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416718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479329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0117813-EF4F-86EA-6A11-1B8B4DDE39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7357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0117813-EF4F-86EA-6A11-1B8B4DDE39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3"/>
            <a:ext cx="10960100" cy="684917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0252" y="1341122"/>
            <a:ext cx="5408034" cy="48399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37700" y="1341122"/>
            <a:ext cx="5397283" cy="483997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7964985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050BD1E-00A9-4F45-5A21-3A16C0123F69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0EA85E6-F1EF-96E4-5D58-38735E3A98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976138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173737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41084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4108450"/>
            <a:ext cx="3968750" cy="27432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6438011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2CF53DD-0966-0BFD-B778-F487FDD28A20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CA6186D-802B-AA5D-226E-496C143AC6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3250" y="4568825"/>
            <a:ext cx="3968750" cy="2289175"/>
          </a:xfrm>
          <a:solidFill>
            <a:schemeClr val="bg2"/>
          </a:solidFill>
        </p:spPr>
        <p:txBody>
          <a:bodyPr lIns="468000" tIns="468000" rIns="36000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Chart Placeholder 12">
            <a:extLst>
              <a:ext uri="{FF2B5EF4-FFF2-40B4-BE49-F238E27FC236}">
                <a16:creationId xmlns:a16="http://schemas.microsoft.com/office/drawing/2014/main" id="{141BAAD1-B2B6-51E6-5B60-1808F5AC81C2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680450" y="457200"/>
            <a:ext cx="3192463" cy="365125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CBC916D-681F-B16B-82E0-C83AEC5C63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3810562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8080376" cy="502284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9887645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C38C3D6-67EC-0336-DD99-56DDA5E5271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572000" y="2279650"/>
            <a:ext cx="7300913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9682026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4111625" cy="502284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1828800"/>
            <a:ext cx="3968750" cy="50228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881984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41084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4108450"/>
            <a:ext cx="3968750" cy="27432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8210350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0661205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579755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1105138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94850" y="3654425"/>
            <a:ext cx="259715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320040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5645198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Numb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802C4B2-937C-CC88-1104-BE3049DA47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80450" y="457200"/>
            <a:ext cx="3192463" cy="137160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##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2279650"/>
            <a:ext cx="3968750" cy="45783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2A43E3D-583C-C3D3-EB91-4B474E93AA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863489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13716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08450" y="2279650"/>
            <a:ext cx="8083550" cy="45783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9ABDF0F-4BA7-B82C-7345-64CE6436A7E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13716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E9F08A9-468B-A902-D68B-8E0B8D9536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638711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70BFD0F-01A4-774A-DFA5-C9069D2CA6D4}"/>
              </a:ext>
            </a:extLst>
          </p:cNvPr>
          <p:cNvSpPr/>
          <p:nvPr userDrawn="1"/>
        </p:nvSpPr>
        <p:spPr>
          <a:xfrm>
            <a:off x="4108450" y="3194050"/>
            <a:ext cx="8083550" cy="36639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301E557-BFAD-DC7D-FAEB-CD9F2F2693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3061519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CC2D35B-A55A-CCD1-4EDA-D1E8C50801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877505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 Layou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9DF2C6F-A8D2-B15D-B342-5174618F8B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0859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9DF2C6F-A8D2-B15D-B342-5174618F8B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3"/>
            <a:ext cx="11415713" cy="650083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424339" y="1240976"/>
            <a:ext cx="3487784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391480" y="1240976"/>
            <a:ext cx="3487784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423953" y="3797865"/>
            <a:ext cx="3487784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400191" y="3797865"/>
            <a:ext cx="3487784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CC2D35B-A55A-CCD1-4EDA-D1E8C50801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3" y="5988057"/>
            <a:ext cx="1240572" cy="872814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7615C6C-EBE6-326D-C1D5-95EEAF1C2901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57199" y="1240976"/>
            <a:ext cx="3487784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9FEBAE7-E64B-256F-F307-845B320A6284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457199" y="3797865"/>
            <a:ext cx="3487784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96571098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8810405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235305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2CF53DD-0966-0BFD-B778-F487FDD28A20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CA6186D-802B-AA5D-226E-496C143AC6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3250" y="4568825"/>
            <a:ext cx="3968750" cy="2289175"/>
          </a:xfrm>
          <a:solidFill>
            <a:schemeClr val="bg2"/>
          </a:solidFill>
        </p:spPr>
        <p:txBody>
          <a:bodyPr lIns="468000" tIns="468000" rIns="360000"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Chart Placeholder 12">
            <a:extLst>
              <a:ext uri="{FF2B5EF4-FFF2-40B4-BE49-F238E27FC236}">
                <a16:creationId xmlns:a16="http://schemas.microsoft.com/office/drawing/2014/main" id="{141BAAD1-B2B6-51E6-5B60-1808F5AC81C2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680450" y="457200"/>
            <a:ext cx="3192463" cy="365125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DDAAA2D-F47B-6394-6A72-F074375588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602223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2000" y="3654425"/>
            <a:ext cx="762000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4517796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108450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80450" y="2743200"/>
            <a:ext cx="3511550" cy="4108451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Picture Placeholder 7">
            <a:extLst>
              <a:ext uri="{FF2B5EF4-FFF2-40B4-BE49-F238E27FC236}">
                <a16:creationId xmlns:a16="http://schemas.microsoft.com/office/drawing/2014/main" id="{15843B81-9280-B787-925B-D94E5BB1E76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680450" y="1"/>
            <a:ext cx="3511550" cy="27432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9729243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B92480-F2BB-6E4D-0B48-BC5E95A85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969909-5E9F-D8E9-99CB-822E1C3E1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60292F-46E5-7C51-F750-22AAB107E9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3016099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D5D703-D8EA-9994-BA95-384890B498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DCE458-D9A3-4DEA-87B5-6B6AE0C5F7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9228466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31ED342-3D5F-E744-5C02-ED60F13F3A3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975334"/>
            <a:ext cx="9144000" cy="3439236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F166A59-25A3-3A00-7289-60767DE59A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764451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or 1 Sent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60ADC76-D61C-14B2-73B6-03136E7AB583}"/>
              </a:ext>
            </a:extLst>
          </p:cNvPr>
          <p:cNvSpPr/>
          <p:nvPr userDrawn="1"/>
        </p:nvSpPr>
        <p:spPr>
          <a:xfrm>
            <a:off x="1" y="0"/>
            <a:ext cx="12192000" cy="38896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3049750"/>
            <a:ext cx="9144000" cy="1083374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577C862B-51AF-22E7-C1C8-B6AB08B7081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6991778-B436-9629-6EC4-E96EA59B0C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18883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01E87593-5AB1-A742-817D-C9CC722DF5E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FC5297-363A-7DB8-E10F-5C447164ED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02608"/>
            <a:ext cx="9586913" cy="2852737"/>
          </a:xfrm>
        </p:spPr>
        <p:txBody>
          <a:bodyPr anchor="t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B0A461-379B-6A19-B69E-A04AF5ECEB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1" y="3654426"/>
            <a:ext cx="5937250" cy="914399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BFB576-48D2-B938-362D-C2CA0F65C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44F17B-F1E6-D688-7E7E-CD7675D187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7F1A0222-B118-DD79-00E6-0881AAA2BE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5719058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1A26944-9883-9ACF-5400-2F702B82D504}"/>
              </a:ext>
            </a:extLst>
          </p:cNvPr>
          <p:cNvSpPr/>
          <p:nvPr userDrawn="1"/>
        </p:nvSpPr>
        <p:spPr>
          <a:xfrm>
            <a:off x="8223251" y="0"/>
            <a:ext cx="3968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ECD5EDD-F44D-E2A4-B31C-712D8B99E8B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9050"/>
            <a:ext cx="8223250" cy="687705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35D584-0EEB-DF18-6040-C306755CF2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9225" y="2047164"/>
            <a:ext cx="3651250" cy="2061286"/>
          </a:xfrm>
        </p:spPr>
        <p:txBody>
          <a:bodyPr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AE34A6-9330-09DC-1C21-168B521268C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DBDCCB-998D-EBD0-8BD5-00E7B94ADC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DF72ABF-3158-3C09-4A36-943B3A21C0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29713" y="4339989"/>
            <a:ext cx="2743200" cy="1597261"/>
          </a:xfrm>
        </p:spPr>
        <p:txBody>
          <a:bodyPr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1650737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SLB Sans Light" panose="02000503040000020004" pitchFamily="2" charset="0"/>
              <a:buChar char="→"/>
              <a:defRPr sz="36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9908325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83C7488-E944-893A-2043-FE9944331A8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Tx/>
              <a:buFont typeface="SLB Sans Light" panose="02000503040000020004" pitchFamily="2" charset="0"/>
              <a:buChar char="→"/>
              <a:defRPr sz="3600" b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A8ADEEA-C976-6343-E015-561A866601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07077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Image Grey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8080376" cy="502284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DD43530-2003-7EDD-62EC-552AB7BE35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172925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4845192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2552FDF-29F0-FEA1-55F4-48C517205ACB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B57FFDA-D27B-2D1D-703B-FAC972FA97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043022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444460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0117813-EF4F-86EA-6A11-1B8B4DDE39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7357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0117813-EF4F-86EA-6A11-1B8B4DDE39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3"/>
            <a:ext cx="10960100" cy="684917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0252" y="1341122"/>
            <a:ext cx="5408034" cy="48399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37700" y="1341122"/>
            <a:ext cx="5397283" cy="483997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5680278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050BD1E-00A9-4F45-5A21-3A16C0123F69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0EA85E6-F1EF-96E4-5D58-38735E3A98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377488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6646985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41084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4108450"/>
            <a:ext cx="3968750" cy="27432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3506494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2CF53DD-0966-0BFD-B778-F487FDD28A20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CA6186D-802B-AA5D-226E-496C143AC6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3250" y="4568825"/>
            <a:ext cx="3968750" cy="2289175"/>
          </a:xfrm>
          <a:solidFill>
            <a:schemeClr val="bg2"/>
          </a:solidFill>
        </p:spPr>
        <p:txBody>
          <a:bodyPr lIns="468000" tIns="468000" rIns="36000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Chart Placeholder 12">
            <a:extLst>
              <a:ext uri="{FF2B5EF4-FFF2-40B4-BE49-F238E27FC236}">
                <a16:creationId xmlns:a16="http://schemas.microsoft.com/office/drawing/2014/main" id="{141BAAD1-B2B6-51E6-5B60-1808F5AC81C2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680450" y="457200"/>
            <a:ext cx="3192463" cy="365125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CBC916D-681F-B16B-82E0-C83AEC5C63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162552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8080376" cy="502284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9308263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C38C3D6-67EC-0336-DD99-56DDA5E5271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572000" y="2279650"/>
            <a:ext cx="7300913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626151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Grey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C38C3D6-67EC-0336-DD99-56DDA5E5271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572000" y="2279650"/>
            <a:ext cx="7300913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7F3EFBD-B4F2-F929-4A06-6F13B5F7B0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608831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4111625" cy="502284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1828800"/>
            <a:ext cx="3968750" cy="50228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2736456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8853679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579755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3740075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94850" y="3654425"/>
            <a:ext cx="259715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320040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3261321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Numb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802C4B2-937C-CC88-1104-BE3049DA47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80450" y="457200"/>
            <a:ext cx="3192463" cy="137160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##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2279650"/>
            <a:ext cx="3968750" cy="45783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2A43E3D-583C-C3D3-EB91-4B474E93AA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123580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13716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08450" y="2279650"/>
            <a:ext cx="8083550" cy="45783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9ABDF0F-4BA7-B82C-7345-64CE6436A7E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13716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E9F08A9-468B-A902-D68B-8E0B8D9536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846736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70BFD0F-01A4-774A-DFA5-C9069D2CA6D4}"/>
              </a:ext>
            </a:extLst>
          </p:cNvPr>
          <p:cNvSpPr/>
          <p:nvPr userDrawn="1"/>
        </p:nvSpPr>
        <p:spPr>
          <a:xfrm>
            <a:off x="4108450" y="3194050"/>
            <a:ext cx="8083550" cy="36639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301E557-BFAD-DC7D-FAEB-CD9F2F2693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583963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CC2D35B-A55A-CCD1-4EDA-D1E8C50801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727297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 Layou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9DF2C6F-A8D2-B15D-B342-5174618F8B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0859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9DF2C6F-A8D2-B15D-B342-5174618F8B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3"/>
            <a:ext cx="11415713" cy="650083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424339" y="1240976"/>
            <a:ext cx="3487784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391480" y="1240976"/>
            <a:ext cx="3487784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423953" y="3797865"/>
            <a:ext cx="3487784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400191" y="3797865"/>
            <a:ext cx="3487784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CC2D35B-A55A-CCD1-4EDA-D1E8C50801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3" y="5988057"/>
            <a:ext cx="1240572" cy="872814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7615C6C-EBE6-326D-C1D5-95EEAF1C2901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57199" y="1240976"/>
            <a:ext cx="3487784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9FEBAE7-E64B-256F-F307-845B320A6284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457199" y="3797865"/>
            <a:ext cx="3487784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17878259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05017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2 Image Grey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4111625" cy="502284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1828800"/>
            <a:ext cx="3968750" cy="50228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45D086E-DF0D-EA77-42DA-30D06A6215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646339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311559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2000" y="3654425"/>
            <a:ext cx="762000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0516272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108450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80450" y="2743200"/>
            <a:ext cx="3511550" cy="4108451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Picture Placeholder 7">
            <a:extLst>
              <a:ext uri="{FF2B5EF4-FFF2-40B4-BE49-F238E27FC236}">
                <a16:creationId xmlns:a16="http://schemas.microsoft.com/office/drawing/2014/main" id="{15843B81-9280-B787-925B-D94E5BB1E76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680450" y="1"/>
            <a:ext cx="3511550" cy="27432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0746484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B92480-F2BB-6E4D-0B48-BC5E95A85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969909-5E9F-D8E9-99CB-822E1C3E1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60292F-46E5-7C51-F750-22AAB107E9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0916606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D5D703-D8EA-9994-BA95-384890B498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DCE458-D9A3-4DEA-87B5-6B6AE0C5F7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932035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31ED342-3D5F-E744-5C02-ED60F13F3A3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975334"/>
            <a:ext cx="9144000" cy="3439236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F166A59-25A3-3A00-7289-60767DE59A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507044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or 1 Sent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60ADC76-D61C-14B2-73B6-03136E7AB583}"/>
              </a:ext>
            </a:extLst>
          </p:cNvPr>
          <p:cNvSpPr/>
          <p:nvPr userDrawn="1"/>
        </p:nvSpPr>
        <p:spPr>
          <a:xfrm>
            <a:off x="1" y="0"/>
            <a:ext cx="12192000" cy="38896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3049750"/>
            <a:ext cx="9144000" cy="1083374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577C862B-51AF-22E7-C1C8-B6AB08B7081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6991778-B436-9629-6EC4-E96EA59B0C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472146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01E87593-5AB1-A742-817D-C9CC722DF5E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FC5297-363A-7DB8-E10F-5C447164ED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02608"/>
            <a:ext cx="9586913" cy="2852737"/>
          </a:xfrm>
        </p:spPr>
        <p:txBody>
          <a:bodyPr anchor="t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B0A461-379B-6A19-B69E-A04AF5ECEB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1" y="3654426"/>
            <a:ext cx="5937250" cy="914399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BFB576-48D2-B938-362D-C2CA0F65C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44F17B-F1E6-D688-7E7E-CD7675D187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7F1A0222-B118-DD79-00E6-0881AAA2BE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827676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1A26944-9883-9ACF-5400-2F702B82D504}"/>
              </a:ext>
            </a:extLst>
          </p:cNvPr>
          <p:cNvSpPr/>
          <p:nvPr userDrawn="1"/>
        </p:nvSpPr>
        <p:spPr>
          <a:xfrm>
            <a:off x="8223251" y="0"/>
            <a:ext cx="3968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ECD5EDD-F44D-E2A4-B31C-712D8B99E8B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9050"/>
            <a:ext cx="8223250" cy="687705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35D584-0EEB-DF18-6040-C306755CF2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9225" y="2047164"/>
            <a:ext cx="3651250" cy="2061286"/>
          </a:xfrm>
        </p:spPr>
        <p:txBody>
          <a:bodyPr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AE34A6-9330-09DC-1C21-168B521268C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DBDCCB-998D-EBD0-8BD5-00E7B94ADC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DF72ABF-3158-3C09-4A36-943B3A21C0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29713" y="4339989"/>
            <a:ext cx="2743200" cy="1597261"/>
          </a:xfrm>
        </p:spPr>
        <p:txBody>
          <a:bodyPr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3070624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SLB Sans Light" panose="02000503040000020004" pitchFamily="2" charset="0"/>
              <a:buChar char="→"/>
              <a:defRPr sz="36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906873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1959624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83C7488-E944-893A-2043-FE9944331A8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Tx/>
              <a:buFont typeface="SLB Sans Light" panose="02000503040000020004" pitchFamily="2" charset="0"/>
              <a:buChar char="→"/>
              <a:defRPr sz="3600" b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A8ADEEA-C976-6343-E015-561A866601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35713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2951996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2552FDF-29F0-FEA1-55F4-48C517205ACB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B57FFDA-D27B-2D1D-703B-FAC972FA97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944048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8082078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0117813-EF4F-86EA-6A11-1B8B4DDE39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7357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0117813-EF4F-86EA-6A11-1B8B4DDE39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3"/>
            <a:ext cx="10960100" cy="684917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0252" y="1341122"/>
            <a:ext cx="5408034" cy="48399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37700" y="1341122"/>
            <a:ext cx="5397283" cy="483997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4319159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050BD1E-00A9-4F45-5A21-3A16C0123F69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0EA85E6-F1EF-96E4-5D58-38735E3A98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3278479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8216805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41084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4108450"/>
            <a:ext cx="3968750" cy="27432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236769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2CF53DD-0966-0BFD-B778-F487FDD28A20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CA6186D-802B-AA5D-226E-496C143AC6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3250" y="4568825"/>
            <a:ext cx="3968750" cy="2289175"/>
          </a:xfrm>
          <a:solidFill>
            <a:schemeClr val="bg2"/>
          </a:solidFill>
        </p:spPr>
        <p:txBody>
          <a:bodyPr lIns="468000" tIns="468000" rIns="36000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Chart Placeholder 12">
            <a:extLst>
              <a:ext uri="{FF2B5EF4-FFF2-40B4-BE49-F238E27FC236}">
                <a16:creationId xmlns:a16="http://schemas.microsoft.com/office/drawing/2014/main" id="{141BAAD1-B2B6-51E6-5B60-1808F5AC81C2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680450" y="457200"/>
            <a:ext cx="3192463" cy="365125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CBC916D-681F-B16B-82E0-C83AEC5C63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7340671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8080376" cy="502284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519724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579755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023487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C38C3D6-67EC-0336-DD99-56DDA5E5271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572000" y="2279650"/>
            <a:ext cx="7300913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9392539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4111625" cy="502284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1828800"/>
            <a:ext cx="3968750" cy="50228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3161895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4275383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579755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2516325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94850" y="3654425"/>
            <a:ext cx="259715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320040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6269231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Numb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802C4B2-937C-CC88-1104-BE3049DA47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80450" y="457200"/>
            <a:ext cx="3192463" cy="137160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##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2279650"/>
            <a:ext cx="3968750" cy="45783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2A43E3D-583C-C3D3-EB91-4B474E93AA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831736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13716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08450" y="2279650"/>
            <a:ext cx="8083550" cy="45783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9ABDF0F-4BA7-B82C-7345-64CE6436A7E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13716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E9F08A9-468B-A902-D68B-8E0B8D9536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607316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70BFD0F-01A4-774A-DFA5-C9069D2CA6D4}"/>
              </a:ext>
            </a:extLst>
          </p:cNvPr>
          <p:cNvSpPr/>
          <p:nvPr userDrawn="1"/>
        </p:nvSpPr>
        <p:spPr>
          <a:xfrm>
            <a:off x="4108450" y="3194050"/>
            <a:ext cx="8083550" cy="36639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301E557-BFAD-DC7D-FAEB-CD9F2F2693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327405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CC2D35B-A55A-CCD1-4EDA-D1E8C50801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618688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ulti Layou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9DF2C6F-A8D2-B15D-B342-5174618F8B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0859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9DF2C6F-A8D2-B15D-B342-5174618F8B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3"/>
            <a:ext cx="11415713" cy="650083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424339" y="1240976"/>
            <a:ext cx="3487784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391480" y="1240976"/>
            <a:ext cx="3487784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423953" y="3797865"/>
            <a:ext cx="3487784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400191" y="3797865"/>
            <a:ext cx="3487784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CC2D35B-A55A-CCD1-4EDA-D1E8C50801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3" y="5988057"/>
            <a:ext cx="1240572" cy="872814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7615C6C-EBE6-326D-C1D5-95EEAF1C2901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57199" y="1240976"/>
            <a:ext cx="3487784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9FEBAE7-E64B-256F-F307-845B320A6284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457199" y="3797865"/>
            <a:ext cx="3487784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3566019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94850" y="3654425"/>
            <a:ext cx="259715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320040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7290902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9795422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1361142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2000" y="3654425"/>
            <a:ext cx="762000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5973513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108450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80450" y="2743200"/>
            <a:ext cx="3511550" cy="4108451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Picture Placeholder 7">
            <a:extLst>
              <a:ext uri="{FF2B5EF4-FFF2-40B4-BE49-F238E27FC236}">
                <a16:creationId xmlns:a16="http://schemas.microsoft.com/office/drawing/2014/main" id="{15843B81-9280-B787-925B-D94E5BB1E76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680450" y="1"/>
            <a:ext cx="3511550" cy="27432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3066892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B92480-F2BB-6E4D-0B48-BC5E95A85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969909-5E9F-D8E9-99CB-822E1C3E1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60292F-46E5-7C51-F750-22AAB107E9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6369379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D5D703-D8EA-9994-BA95-384890B498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DCE458-D9A3-4DEA-87B5-6B6AE0C5F7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5811628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31ED342-3D5F-E744-5C02-ED60F13F3A3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975334"/>
            <a:ext cx="9144000" cy="3439236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F166A59-25A3-3A00-7289-60767DE59A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3184814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or 1 Sent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60ADC76-D61C-14B2-73B6-03136E7AB583}"/>
              </a:ext>
            </a:extLst>
          </p:cNvPr>
          <p:cNvSpPr/>
          <p:nvPr userDrawn="1"/>
        </p:nvSpPr>
        <p:spPr>
          <a:xfrm>
            <a:off x="1" y="0"/>
            <a:ext cx="12192000" cy="38896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3049750"/>
            <a:ext cx="9144000" cy="1083374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577C862B-51AF-22E7-C1C8-B6AB08B7081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/>
              <a:t>After inserting right click on the image and send to back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6991778-B436-9629-6EC4-E96EA59B0C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347070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01E87593-5AB1-A742-817D-C9CC722DF5E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FC5297-363A-7DB8-E10F-5C447164ED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02608"/>
            <a:ext cx="9586913" cy="2852737"/>
          </a:xfrm>
        </p:spPr>
        <p:txBody>
          <a:bodyPr anchor="t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B0A461-379B-6A19-B69E-A04AF5ECEB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1" y="3654426"/>
            <a:ext cx="5937250" cy="914399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BFB576-48D2-B938-362D-C2CA0F65C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44F17B-F1E6-D688-7E7E-CD7675D187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7F1A0222-B118-DD79-00E6-0881AAA2BE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362533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1A26944-9883-9ACF-5400-2F702B82D504}"/>
              </a:ext>
            </a:extLst>
          </p:cNvPr>
          <p:cNvSpPr/>
          <p:nvPr userDrawn="1"/>
        </p:nvSpPr>
        <p:spPr>
          <a:xfrm>
            <a:off x="8223251" y="0"/>
            <a:ext cx="3968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ECD5EDD-F44D-E2A4-B31C-712D8B99E8B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9050"/>
            <a:ext cx="8223250" cy="687705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35D584-0EEB-DF18-6040-C306755CF2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9225" y="2047164"/>
            <a:ext cx="3651250" cy="2061286"/>
          </a:xfrm>
        </p:spPr>
        <p:txBody>
          <a:bodyPr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AE34A6-9330-09DC-1C21-168B521268C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DBDCCB-998D-EBD0-8BD5-00E7B94ADC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DF72ABF-3158-3C09-4A36-943B3A21C0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29713" y="4339989"/>
            <a:ext cx="2743200" cy="1597261"/>
          </a:xfrm>
        </p:spPr>
        <p:txBody>
          <a:bodyPr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767489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Numb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802C4B2-937C-CC88-1104-BE3049DA47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80450" y="457200"/>
            <a:ext cx="3192463" cy="137160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##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2279650"/>
            <a:ext cx="3968750" cy="45783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A2442C3-F533-1B9F-09E7-AC1C88B25F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1959963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SLB Sans Light" panose="02000503040000020004" pitchFamily="2" charset="0"/>
              <a:buChar char="→"/>
              <a:defRPr sz="36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999654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83C7488-E944-893A-2043-FE9944331A8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Tx/>
              <a:buFont typeface="SLB Sans Light" panose="02000503040000020004" pitchFamily="2" charset="0"/>
              <a:buChar char="→"/>
              <a:defRPr sz="3600" b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A8ADEEA-C976-6343-E015-561A866601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0142620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3925656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2552FDF-29F0-FEA1-55F4-48C517205ACB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B57FFDA-D27B-2D1D-703B-FAC972FA97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296186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3168092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050BD1E-00A9-4F45-5A21-3A16C0123F69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0EA85E6-F1EF-96E4-5D58-38735E3A98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6145915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9618504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41084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4108450"/>
            <a:ext cx="3968750" cy="27432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8703856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2CF53DD-0966-0BFD-B778-F487FDD28A20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CA6186D-802B-AA5D-226E-496C143AC6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3250" y="4568825"/>
            <a:ext cx="3968750" cy="2289175"/>
          </a:xfrm>
          <a:solidFill>
            <a:schemeClr val="bg2"/>
          </a:solidFill>
        </p:spPr>
        <p:txBody>
          <a:bodyPr lIns="468000" tIns="468000" rIns="36000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hart Placeholder 12">
            <a:extLst>
              <a:ext uri="{FF2B5EF4-FFF2-40B4-BE49-F238E27FC236}">
                <a16:creationId xmlns:a16="http://schemas.microsoft.com/office/drawing/2014/main" id="{141BAAD1-B2B6-51E6-5B60-1808F5AC81C2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680450" y="457200"/>
            <a:ext cx="3192463" cy="365125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CBC916D-681F-B16B-82E0-C83AEC5C63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3059945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8080376" cy="502284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7268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SLB Sans Light" panose="02000503040000020004" pitchFamily="2" charset="0"/>
              <a:buChar char="→"/>
              <a:defRPr sz="36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035038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13716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08450" y="2279650"/>
            <a:ext cx="8083550" cy="45783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9ABDF0F-4BA7-B82C-7345-64CE6436A7E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13716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164959C2-0EA4-1F84-9951-8993395941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507849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C38C3D6-67EC-0336-DD99-56DDA5E5271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572000" y="2279650"/>
            <a:ext cx="7300913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8525805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4111625" cy="502284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1828800"/>
            <a:ext cx="3968750" cy="50228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9358255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0051593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579755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8979705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94850" y="3654425"/>
            <a:ext cx="259715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320040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8163692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Numb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802C4B2-937C-CC88-1104-BE3049DA47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80450" y="457200"/>
            <a:ext cx="3192463" cy="137160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##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2279650"/>
            <a:ext cx="3968750" cy="45783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2A43E3D-583C-C3D3-EB91-4B474E93AA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140830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13716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08450" y="2279650"/>
            <a:ext cx="8083550" cy="45783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9ABDF0F-4BA7-B82C-7345-64CE6436A7E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13716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E9F08A9-468B-A902-D68B-8E0B8D9536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448552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70BFD0F-01A4-774A-DFA5-C9069D2CA6D4}"/>
              </a:ext>
            </a:extLst>
          </p:cNvPr>
          <p:cNvSpPr/>
          <p:nvPr userDrawn="1"/>
        </p:nvSpPr>
        <p:spPr>
          <a:xfrm>
            <a:off x="4108450" y="3194050"/>
            <a:ext cx="8083550" cy="36639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301E557-BFAD-DC7D-FAEB-CD9F2F2693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636365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CC2D35B-A55A-CCD1-4EDA-D1E8C50801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129913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6316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70BFD0F-01A4-774A-DFA5-C9069D2CA6D4}"/>
              </a:ext>
            </a:extLst>
          </p:cNvPr>
          <p:cNvSpPr/>
          <p:nvPr userDrawn="1"/>
        </p:nvSpPr>
        <p:spPr>
          <a:xfrm>
            <a:off x="4108450" y="3194050"/>
            <a:ext cx="8083550" cy="36639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2977A46-41C3-31B7-5F50-917CE87B9D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5207229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1796076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2000" y="3654425"/>
            <a:ext cx="762000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409672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108450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80450" y="2743200"/>
            <a:ext cx="3511550" cy="4108451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Picture Placeholder 7">
            <a:extLst>
              <a:ext uri="{FF2B5EF4-FFF2-40B4-BE49-F238E27FC236}">
                <a16:creationId xmlns:a16="http://schemas.microsoft.com/office/drawing/2014/main" id="{15843B81-9280-B787-925B-D94E5BB1E76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680450" y="1"/>
            <a:ext cx="3511550" cy="27432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505013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B92480-F2BB-6E4D-0B48-BC5E95A85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969909-5E9F-D8E9-99CB-822E1C3E1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60292F-46E5-7C51-F750-22AAB107E9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6194906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D5D703-D8EA-9994-BA95-384890B498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DCE458-D9A3-4DEA-87B5-6B6AE0C5F7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1614659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sin Map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3B0B03C-65C1-B39F-F4CF-D3F9200D5416}"/>
              </a:ext>
            </a:extLst>
          </p:cNvPr>
          <p:cNvSpPr/>
          <p:nvPr userDrawn="1"/>
        </p:nvSpPr>
        <p:spPr>
          <a:xfrm>
            <a:off x="238539" y="1078788"/>
            <a:ext cx="9117495" cy="55626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8EF50B7-28CC-1AAA-7DAB-B4A38148BF8A}"/>
              </a:ext>
            </a:extLst>
          </p:cNvPr>
          <p:cNvSpPr/>
          <p:nvPr userDrawn="1"/>
        </p:nvSpPr>
        <p:spPr>
          <a:xfrm>
            <a:off x="238540" y="261709"/>
            <a:ext cx="9117494" cy="7348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969909-5E9F-D8E9-99CB-822E1C3E1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60292F-46E5-7C51-F750-22AAB107E9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1"/>
            <a:ext cx="8672513" cy="332399"/>
          </a:xfrm>
        </p:spPr>
        <p:txBody>
          <a:bodyPr wrap="square"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58762FB-9D63-2349-6E8F-D2CFE4E431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5A8EDF0-4DAB-ACF1-7FD5-891321DB014E}"/>
              </a:ext>
            </a:extLst>
          </p:cNvPr>
          <p:cNvSpPr/>
          <p:nvPr userDrawn="1"/>
        </p:nvSpPr>
        <p:spPr>
          <a:xfrm>
            <a:off x="238540" y="189708"/>
            <a:ext cx="9117494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5678054-26F6-BE3B-EE69-C659B73A4C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94850" y="1376362"/>
            <a:ext cx="2278063" cy="45608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90018515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31ED342-3D5F-E744-5C02-ED60F13F3A3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975334"/>
            <a:ext cx="9144000" cy="3439236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F166A59-25A3-3A00-7289-60767DE59A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184604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or 1 Sent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60ADC76-D61C-14B2-73B6-03136E7AB583}"/>
              </a:ext>
            </a:extLst>
          </p:cNvPr>
          <p:cNvSpPr/>
          <p:nvPr userDrawn="1"/>
        </p:nvSpPr>
        <p:spPr>
          <a:xfrm>
            <a:off x="1" y="0"/>
            <a:ext cx="12192000" cy="38896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3049750"/>
            <a:ext cx="9144000" cy="1083374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577C862B-51AF-22E7-C1C8-B6AB08B7081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/>
              <a:t>After inserting right click on the image and send to back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6991778-B436-9629-6EC4-E96EA59B0C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480824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01E87593-5AB1-A742-817D-C9CC722DF5E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FC5297-363A-7DB8-E10F-5C447164ED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02608"/>
            <a:ext cx="9586913" cy="2852737"/>
          </a:xfrm>
        </p:spPr>
        <p:txBody>
          <a:bodyPr anchor="t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B0A461-379B-6A19-B69E-A04AF5ECEB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1" y="3654426"/>
            <a:ext cx="5937250" cy="914399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BFB576-48D2-B938-362D-C2CA0F65C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44F17B-F1E6-D688-7E7E-CD7675D187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7F1A0222-B118-DD79-00E6-0881AAA2BE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9110340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1A26944-9883-9ACF-5400-2F702B82D504}"/>
              </a:ext>
            </a:extLst>
          </p:cNvPr>
          <p:cNvSpPr/>
          <p:nvPr userDrawn="1"/>
        </p:nvSpPr>
        <p:spPr>
          <a:xfrm>
            <a:off x="8223251" y="0"/>
            <a:ext cx="3968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ECD5EDD-F44D-E2A4-B31C-712D8B99E8B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9050"/>
            <a:ext cx="8223250" cy="687705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35D584-0EEB-DF18-6040-C306755CF2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9225" y="2047164"/>
            <a:ext cx="3651250" cy="2061286"/>
          </a:xfrm>
        </p:spPr>
        <p:txBody>
          <a:bodyPr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AE34A6-9330-09DC-1C21-168B521268C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DBDCCB-998D-EBD0-8BD5-00E7B94ADC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DF72ABF-3158-3C09-4A36-943B3A21C0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29713" y="4339989"/>
            <a:ext cx="2743200" cy="1597261"/>
          </a:xfrm>
        </p:spPr>
        <p:txBody>
          <a:bodyPr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755846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91FA772-0BFE-9951-6889-D200B7DA58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762569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SLB Sans Light" panose="02000503040000020004" pitchFamily="2" charset="0"/>
              <a:buChar char="→"/>
              <a:defRPr sz="36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9876541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83C7488-E944-893A-2043-FE9944331A8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Tx/>
              <a:buFont typeface="SLB Sans Light" panose="02000503040000020004" pitchFamily="2" charset="0"/>
              <a:buChar char="→"/>
              <a:defRPr sz="3600" b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A8ADEEA-C976-6343-E015-561A866601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780318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3171236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2552FDF-29F0-FEA1-55F4-48C517205ACB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B57FFDA-D27B-2D1D-703B-FAC972FA97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0557711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8742992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050BD1E-00A9-4F45-5A21-3A16C0123F69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0EA85E6-F1EF-96E4-5D58-38735E3A98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842196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8333053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41084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4108450"/>
            <a:ext cx="3968750" cy="27432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933240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2CF53DD-0966-0BFD-B778-F487FDD28A20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CA6186D-802B-AA5D-226E-496C143AC6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3250" y="4568825"/>
            <a:ext cx="3968750" cy="2289175"/>
          </a:xfrm>
          <a:solidFill>
            <a:schemeClr val="bg2"/>
          </a:solidFill>
        </p:spPr>
        <p:txBody>
          <a:bodyPr lIns="468000" tIns="468000" rIns="36000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hart Placeholder 12">
            <a:extLst>
              <a:ext uri="{FF2B5EF4-FFF2-40B4-BE49-F238E27FC236}">
                <a16:creationId xmlns:a16="http://schemas.microsoft.com/office/drawing/2014/main" id="{141BAAD1-B2B6-51E6-5B60-1808F5AC81C2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680450" y="457200"/>
            <a:ext cx="3192463" cy="365125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CBC916D-681F-B16B-82E0-C83AEC5C63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9715051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8080376" cy="502284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826507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870424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C38C3D6-67EC-0336-DD99-56DDA5E5271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572000" y="2279650"/>
            <a:ext cx="7300913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0296116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4111625" cy="502284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1828800"/>
            <a:ext cx="3968750" cy="50228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9202643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8550385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579755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5012357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94850" y="3654425"/>
            <a:ext cx="259715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320040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7025047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Numb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802C4B2-937C-CC88-1104-BE3049DA47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80450" y="457200"/>
            <a:ext cx="3192463" cy="137160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##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2279650"/>
            <a:ext cx="3968750" cy="45783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2A43E3D-583C-C3D3-EB91-4B474E93AA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921693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13716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08450" y="2279650"/>
            <a:ext cx="8083550" cy="45783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9ABDF0F-4BA7-B82C-7345-64CE6436A7E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13716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E9F08A9-468B-A902-D68B-8E0B8D9536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3060944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70BFD0F-01A4-774A-DFA5-C9069D2CA6D4}"/>
              </a:ext>
            </a:extLst>
          </p:cNvPr>
          <p:cNvSpPr/>
          <p:nvPr userDrawn="1"/>
        </p:nvSpPr>
        <p:spPr>
          <a:xfrm>
            <a:off x="4108450" y="3194050"/>
            <a:ext cx="8083550" cy="36639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301E557-BFAD-DC7D-FAEB-CD9F2F2693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248841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CC2D35B-A55A-CCD1-4EDA-D1E8C50801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3369890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985063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2674017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7194772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2000" y="3654425"/>
            <a:ext cx="762000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8067950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108450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80450" y="2743200"/>
            <a:ext cx="3511550" cy="4108451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Picture Placeholder 7">
            <a:extLst>
              <a:ext uri="{FF2B5EF4-FFF2-40B4-BE49-F238E27FC236}">
                <a16:creationId xmlns:a16="http://schemas.microsoft.com/office/drawing/2014/main" id="{15843B81-9280-B787-925B-D94E5BB1E76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680450" y="1"/>
            <a:ext cx="3511550" cy="27432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6168646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B92480-F2BB-6E4D-0B48-BC5E95A85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969909-5E9F-D8E9-99CB-822E1C3E1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60292F-46E5-7C51-F750-22AAB107E9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6437905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D5D703-D8EA-9994-BA95-384890B498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DCE458-D9A3-4DEA-87B5-6B6AE0C5F7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9395769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sin Map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3B0B03C-65C1-B39F-F4CF-D3F9200D5416}"/>
              </a:ext>
            </a:extLst>
          </p:cNvPr>
          <p:cNvSpPr/>
          <p:nvPr userDrawn="1"/>
        </p:nvSpPr>
        <p:spPr>
          <a:xfrm>
            <a:off x="238539" y="1078788"/>
            <a:ext cx="9117495" cy="55626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8EF50B7-28CC-1AAA-7DAB-B4A38148BF8A}"/>
              </a:ext>
            </a:extLst>
          </p:cNvPr>
          <p:cNvSpPr/>
          <p:nvPr userDrawn="1"/>
        </p:nvSpPr>
        <p:spPr>
          <a:xfrm>
            <a:off x="238540" y="261709"/>
            <a:ext cx="9117494" cy="7348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969909-5E9F-D8E9-99CB-822E1C3E1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60292F-46E5-7C51-F750-22AAB107E9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1"/>
            <a:ext cx="8672513" cy="332399"/>
          </a:xfrm>
        </p:spPr>
        <p:txBody>
          <a:bodyPr wrap="square">
            <a:sp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58762FB-9D63-2349-6E8F-D2CFE4E431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5A8EDF0-4DAB-ACF1-7FD5-891321DB014E}"/>
              </a:ext>
            </a:extLst>
          </p:cNvPr>
          <p:cNvSpPr/>
          <p:nvPr userDrawn="1"/>
        </p:nvSpPr>
        <p:spPr>
          <a:xfrm>
            <a:off x="238540" y="189708"/>
            <a:ext cx="9117494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5678054-26F6-BE3B-EE69-C659B73A4C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94850" y="1376362"/>
            <a:ext cx="2278063" cy="45608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28969020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7B30C67-610C-10F3-E218-7C9E7DD7EB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95003"/>
            <a:ext cx="12192000" cy="67597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C0E2274-5DAF-6F4A-D673-2906DAA0F460}"/>
              </a:ext>
            </a:extLst>
          </p:cNvPr>
          <p:cNvSpPr/>
          <p:nvPr userDrawn="1"/>
        </p:nvSpPr>
        <p:spPr>
          <a:xfrm>
            <a:off x="977217" y="0"/>
            <a:ext cx="3934781" cy="5967618"/>
          </a:xfrm>
          <a:prstGeom prst="rect">
            <a:avLst/>
          </a:prstGeom>
          <a:solidFill>
            <a:srgbClr val="0F00E6">
              <a:alpha val="9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511E3DB-1F1A-E825-0C2B-37D56A3D79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05200" y="2347616"/>
            <a:ext cx="3263900" cy="1741149"/>
          </a:xfrm>
        </p:spPr>
        <p:txBody>
          <a:bodyPr vert="horz" anchor="b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334B224B-B905-F206-387B-7643BA570B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05199" y="4233235"/>
            <a:ext cx="3263900" cy="118586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Master subtitle style</a:t>
            </a:r>
          </a:p>
        </p:txBody>
      </p:sp>
      <p:sp>
        <p:nvSpPr>
          <p:cNvPr id="12" name="Graphic 23">
            <a:extLst>
              <a:ext uri="{FF2B5EF4-FFF2-40B4-BE49-F238E27FC236}">
                <a16:creationId xmlns:a16="http://schemas.microsoft.com/office/drawing/2014/main" id="{B3877107-5A77-3F72-ADB8-5904444CA90A}"/>
              </a:ext>
            </a:extLst>
          </p:cNvPr>
          <p:cNvSpPr/>
          <p:nvPr userDrawn="1"/>
        </p:nvSpPr>
        <p:spPr>
          <a:xfrm>
            <a:off x="0" y="430620"/>
            <a:ext cx="11405093" cy="5335180"/>
          </a:xfrm>
          <a:custGeom>
            <a:avLst/>
            <a:gdLst>
              <a:gd name="connsiteX0" fmla="*/ 0 w 11214783"/>
              <a:gd name="connsiteY0" fmla="*/ 0 h 5127245"/>
              <a:gd name="connsiteX1" fmla="*/ 0 w 11214783"/>
              <a:gd name="connsiteY1" fmla="*/ 0 h 5127245"/>
              <a:gd name="connsiteX2" fmla="*/ 11214783 w 11214783"/>
              <a:gd name="connsiteY2" fmla="*/ 0 h 5127245"/>
              <a:gd name="connsiteX3" fmla="*/ 11214783 w 11214783"/>
              <a:gd name="connsiteY3" fmla="*/ 5127246 h 5127245"/>
              <a:gd name="connsiteX4" fmla="*/ 0 w 11214783"/>
              <a:gd name="connsiteY4" fmla="*/ 5127246 h 5127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214783" h="5127245">
                <a:moveTo>
                  <a:pt x="0" y="0"/>
                </a:moveTo>
                <a:lnTo>
                  <a:pt x="0" y="0"/>
                </a:lnTo>
                <a:lnTo>
                  <a:pt x="11214783" y="0"/>
                </a:lnTo>
                <a:lnTo>
                  <a:pt x="11214783" y="5127246"/>
                </a:lnTo>
                <a:lnTo>
                  <a:pt x="0" y="5127246"/>
                </a:lnTo>
              </a:path>
            </a:pathLst>
          </a:custGeom>
          <a:noFill/>
          <a:ln w="57150" cap="flat">
            <a:solidFill>
              <a:srgbClr val="FFFFFF">
                <a:alpha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20C8102-F4BD-1A5B-5045-7773EDF46AED}"/>
              </a:ext>
            </a:extLst>
          </p:cNvPr>
          <p:cNvSpPr/>
          <p:nvPr userDrawn="1"/>
        </p:nvSpPr>
        <p:spPr>
          <a:xfrm>
            <a:off x="0" y="0"/>
            <a:ext cx="12192000" cy="2635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4ECDB2E-098D-B080-78F6-E811F9D7C27E}"/>
              </a:ext>
            </a:extLst>
          </p:cNvPr>
          <p:cNvSpPr/>
          <p:nvPr userDrawn="1"/>
        </p:nvSpPr>
        <p:spPr>
          <a:xfrm>
            <a:off x="11582400" y="263525"/>
            <a:ext cx="609600" cy="65944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CO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5108249-E302-7A47-051A-98D04BCEABB6}"/>
              </a:ext>
            </a:extLst>
          </p:cNvPr>
          <p:cNvSpPr/>
          <p:nvPr userDrawn="1"/>
        </p:nvSpPr>
        <p:spPr>
          <a:xfrm>
            <a:off x="0" y="5967618"/>
            <a:ext cx="11582400" cy="8903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1C6DCD1-BDAF-4D38-9AC2-000D4C88BC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2366" y="6121799"/>
            <a:ext cx="970033" cy="582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058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C0E2274-5DAF-6F4A-D673-2906DAA0F460}"/>
              </a:ext>
            </a:extLst>
          </p:cNvPr>
          <p:cNvSpPr/>
          <p:nvPr userDrawn="1"/>
        </p:nvSpPr>
        <p:spPr>
          <a:xfrm>
            <a:off x="977217" y="0"/>
            <a:ext cx="3934781" cy="5967618"/>
          </a:xfrm>
          <a:prstGeom prst="rect">
            <a:avLst/>
          </a:prstGeom>
          <a:solidFill>
            <a:srgbClr val="0F00E6">
              <a:alpha val="9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511E3DB-1F1A-E825-0C2B-37D56A3D79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05200" y="2347616"/>
            <a:ext cx="3263900" cy="1741149"/>
          </a:xfrm>
        </p:spPr>
        <p:txBody>
          <a:bodyPr vert="horz" anchor="b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334B224B-B905-F206-387B-7643BA570B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05199" y="4233235"/>
            <a:ext cx="3263900" cy="118586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Master subtitle style</a:t>
            </a:r>
          </a:p>
        </p:txBody>
      </p:sp>
      <p:sp>
        <p:nvSpPr>
          <p:cNvPr id="12" name="Graphic 23">
            <a:extLst>
              <a:ext uri="{FF2B5EF4-FFF2-40B4-BE49-F238E27FC236}">
                <a16:creationId xmlns:a16="http://schemas.microsoft.com/office/drawing/2014/main" id="{B3877107-5A77-3F72-ADB8-5904444CA90A}"/>
              </a:ext>
            </a:extLst>
          </p:cNvPr>
          <p:cNvSpPr/>
          <p:nvPr userDrawn="1"/>
        </p:nvSpPr>
        <p:spPr>
          <a:xfrm>
            <a:off x="0" y="430620"/>
            <a:ext cx="11405093" cy="5335180"/>
          </a:xfrm>
          <a:custGeom>
            <a:avLst/>
            <a:gdLst>
              <a:gd name="connsiteX0" fmla="*/ 0 w 11214783"/>
              <a:gd name="connsiteY0" fmla="*/ 0 h 5127245"/>
              <a:gd name="connsiteX1" fmla="*/ 0 w 11214783"/>
              <a:gd name="connsiteY1" fmla="*/ 0 h 5127245"/>
              <a:gd name="connsiteX2" fmla="*/ 11214783 w 11214783"/>
              <a:gd name="connsiteY2" fmla="*/ 0 h 5127245"/>
              <a:gd name="connsiteX3" fmla="*/ 11214783 w 11214783"/>
              <a:gd name="connsiteY3" fmla="*/ 5127246 h 5127245"/>
              <a:gd name="connsiteX4" fmla="*/ 0 w 11214783"/>
              <a:gd name="connsiteY4" fmla="*/ 5127246 h 5127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214783" h="5127245">
                <a:moveTo>
                  <a:pt x="0" y="0"/>
                </a:moveTo>
                <a:lnTo>
                  <a:pt x="0" y="0"/>
                </a:lnTo>
                <a:lnTo>
                  <a:pt x="11214783" y="0"/>
                </a:lnTo>
                <a:lnTo>
                  <a:pt x="11214783" y="5127246"/>
                </a:lnTo>
                <a:lnTo>
                  <a:pt x="0" y="5127246"/>
                </a:lnTo>
              </a:path>
            </a:pathLst>
          </a:custGeom>
          <a:noFill/>
          <a:ln w="57150" cap="flat">
            <a:solidFill>
              <a:srgbClr val="FFFFFF">
                <a:alpha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20C8102-F4BD-1A5B-5045-7773EDF46AED}"/>
              </a:ext>
            </a:extLst>
          </p:cNvPr>
          <p:cNvSpPr/>
          <p:nvPr userDrawn="1"/>
        </p:nvSpPr>
        <p:spPr>
          <a:xfrm>
            <a:off x="0" y="0"/>
            <a:ext cx="12192000" cy="2635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4ECDB2E-098D-B080-78F6-E811F9D7C27E}"/>
              </a:ext>
            </a:extLst>
          </p:cNvPr>
          <p:cNvSpPr/>
          <p:nvPr userDrawn="1"/>
        </p:nvSpPr>
        <p:spPr>
          <a:xfrm>
            <a:off x="11582400" y="263525"/>
            <a:ext cx="609600" cy="65944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CO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5108249-E302-7A47-051A-98D04BCEABB6}"/>
              </a:ext>
            </a:extLst>
          </p:cNvPr>
          <p:cNvSpPr/>
          <p:nvPr userDrawn="1"/>
        </p:nvSpPr>
        <p:spPr>
          <a:xfrm>
            <a:off x="0" y="5967618"/>
            <a:ext cx="11582400" cy="8903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73596EB-BDD9-4215-A33A-828D87B13B4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2366" y="6121799"/>
            <a:ext cx="970033" cy="582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9638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6900A61-C825-471B-B150-D8A4DC37F8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9144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6900A61-C825-471B-B150-D8A4DC37F8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A034C1FA-E2C4-4F29-8009-EEF25B7ED1D0}"/>
              </a:ext>
            </a:extLst>
          </p:cNvPr>
          <p:cNvSpPr/>
          <p:nvPr userDrawn="1"/>
        </p:nvSpPr>
        <p:spPr>
          <a:xfrm>
            <a:off x="0" y="5588000"/>
            <a:ext cx="419100" cy="127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093DDE7-E9A4-4596-9090-1F8ACFDDBCE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622303"/>
            <a:ext cx="12192002" cy="4965697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55549939-ABD0-4B31-8D37-9F7156582491}"/>
              </a:ext>
            </a:extLst>
          </p:cNvPr>
          <p:cNvSpPr/>
          <p:nvPr userDrawn="1"/>
        </p:nvSpPr>
        <p:spPr>
          <a:xfrm>
            <a:off x="0" y="622303"/>
            <a:ext cx="12192001" cy="5029197"/>
          </a:xfrm>
          <a:prstGeom prst="rect">
            <a:avLst/>
          </a:prstGeom>
          <a:solidFill>
            <a:srgbClr val="0F00E6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D6DAC1-6C1C-4494-AEFB-CB5DAF4AF7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8550" y="1757645"/>
            <a:ext cx="5162550" cy="1753905"/>
          </a:xfrm>
        </p:spPr>
        <p:txBody>
          <a:bodyPr vert="horz"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E089D1-D01F-4DBB-82F7-C7D6C809E8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98550" y="3683512"/>
            <a:ext cx="5162550" cy="92233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5FA41D95-9778-4781-817E-2D81052811C6}"/>
              </a:ext>
            </a:extLst>
          </p:cNvPr>
          <p:cNvCxnSpPr/>
          <p:nvPr userDrawn="1"/>
        </p:nvCxnSpPr>
        <p:spPr>
          <a:xfrm>
            <a:off x="0" y="5511800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34220EA-223F-48B1-9593-47826BCC7CEE}"/>
              </a:ext>
            </a:extLst>
          </p:cNvPr>
          <p:cNvCxnSpPr/>
          <p:nvPr userDrawn="1"/>
        </p:nvCxnSpPr>
        <p:spPr>
          <a:xfrm>
            <a:off x="0" y="66040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6AEA47E-9A25-0CA5-7992-74B95D4E83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07506" y="6356350"/>
            <a:ext cx="425944" cy="365125"/>
          </a:xfrm>
          <a:solidFill>
            <a:srgbClr val="0F00E6"/>
          </a:solidFill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2205F9A8-97F1-462E-AA9C-D3381D198B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3A98E8-23CC-4CD4-B860-D2E681DD3136}"/>
              </a:ext>
            </a:extLst>
          </p:cNvPr>
          <p:cNvSpPr/>
          <p:nvPr userDrawn="1"/>
        </p:nvSpPr>
        <p:spPr>
          <a:xfrm>
            <a:off x="11264775" y="-2211"/>
            <a:ext cx="839436" cy="1081547"/>
          </a:xfrm>
          <a:prstGeom prst="rect">
            <a:avLst/>
          </a:prstGeom>
          <a:solidFill>
            <a:srgbClr val="0F00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SL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NEW ENERGY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4128A1D-1841-4CF8-ACF7-8252056A52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2346" y="6343319"/>
            <a:ext cx="732147" cy="439288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CB1609D-5D75-4207-A5F7-1F649821C9F9}"/>
              </a:ext>
            </a:extLst>
          </p:cNvPr>
          <p:cNvCxnSpPr>
            <a:cxnSpLocks/>
          </p:cNvCxnSpPr>
          <p:nvPr userDrawn="1"/>
        </p:nvCxnSpPr>
        <p:spPr>
          <a:xfrm>
            <a:off x="507506" y="6272213"/>
            <a:ext cx="11227787" cy="0"/>
          </a:xfrm>
          <a:prstGeom prst="line">
            <a:avLst/>
          </a:prstGeom>
          <a:ln>
            <a:solidFill>
              <a:srgbClr val="0F00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0A9C27CE-B21F-4306-B422-1F8E693E1A5F}"/>
              </a:ext>
            </a:extLst>
          </p:cNvPr>
          <p:cNvSpPr txBox="1"/>
          <p:nvPr userDrawn="1"/>
        </p:nvSpPr>
        <p:spPr>
          <a:xfrm>
            <a:off x="933450" y="6423060"/>
            <a:ext cx="9861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0" i="0">
                <a:solidFill>
                  <a:srgbClr val="0F00E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arbon Solutions</a:t>
            </a:r>
            <a:endParaRPr lang="en-US" sz="1000" b="1" i="0" kern="1200">
              <a:solidFill>
                <a:srgbClr val="0F00E6"/>
              </a:solidFill>
              <a:latin typeface="Arial Narrow" panose="020B0604020202020204" pitchFamily="34" charset="0"/>
              <a:ea typeface="ヒラギノ角ゴ Pro W3" pitchFamily="48" charset="-128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8202212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40B337D-0927-4500-8AA0-C89F5EBBC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20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A40B337D-0927-4500-8AA0-C89F5EBBC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Picture 2" descr="How a Lithium-Ion Battery Could Capture CO2 Emissions">
            <a:extLst>
              <a:ext uri="{FF2B5EF4-FFF2-40B4-BE49-F238E27FC236}">
                <a16:creationId xmlns:a16="http://schemas.microsoft.com/office/drawing/2014/main" id="{AFB14874-C8F7-426A-8124-D0091ADD2AC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356050" y="0"/>
            <a:ext cx="483595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75F179FD-37AF-4CB9-BEB1-09B636FB3EDE}"/>
              </a:ext>
            </a:extLst>
          </p:cNvPr>
          <p:cNvSpPr/>
          <p:nvPr userDrawn="1"/>
        </p:nvSpPr>
        <p:spPr>
          <a:xfrm>
            <a:off x="7356049" y="-1"/>
            <a:ext cx="4835950" cy="685799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40000">
                <a:srgbClr val="B5AFFF">
                  <a:alpha val="25000"/>
                </a:srgbClr>
              </a:gs>
              <a:gs pos="65000">
                <a:srgbClr val="584BFF">
                  <a:alpha val="50000"/>
                </a:srgbClr>
              </a:gs>
              <a:gs pos="100000">
                <a:srgbClr val="0F00E6">
                  <a:alpha val="75000"/>
                </a:srgbClr>
              </a:gs>
            </a:gsLst>
            <a:lin ang="16200000" scaled="1"/>
            <a:tileRect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B05201-A168-415C-9E61-E562D0A100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507" y="136525"/>
            <a:ext cx="6744084" cy="1063625"/>
          </a:xfrm>
        </p:spPr>
        <p:txBody>
          <a:bodyPr vert="horz" lIns="0" anchor="ctr" anchorCtr="0"/>
          <a:lstStyle>
            <a:lvl1pPr>
              <a:defRPr>
                <a:solidFill>
                  <a:srgbClr val="0F00E6"/>
                </a:solidFill>
                <a:latin typeface="SLB Sans Book" panose="02000503040000020004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BE2BAD-EAF4-43C9-8768-980DC1D998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7506" y="1371600"/>
            <a:ext cx="6744083" cy="4805363"/>
          </a:xfrm>
        </p:spPr>
        <p:txBody>
          <a:bodyPr/>
          <a:lstStyle>
            <a:lvl1pPr marL="228600" indent="-228600">
              <a:lnSpc>
                <a:spcPct val="150000"/>
              </a:lnSpc>
              <a:buClr>
                <a:srgbClr val="11499D"/>
              </a:buClr>
              <a:buFont typeface="Arial" panose="020B0604020202020204" pitchFamily="34" charset="0"/>
              <a:buChar char="•"/>
              <a:defRPr sz="2400">
                <a:latin typeface="SLB Sans Book" panose="02000503040000020004" pitchFamily="50" charset="0"/>
              </a:defRPr>
            </a:lvl1pPr>
            <a:lvl2pPr marL="457200" indent="0">
              <a:buClr>
                <a:schemeClr val="accent3"/>
              </a:buClr>
              <a:buFont typeface="Arial" panose="020B0604020202020204" pitchFamily="34" charset="0"/>
              <a:buNone/>
              <a:defRPr/>
            </a:lvl2pPr>
            <a:lvl3pPr marL="1143000" indent="-228600">
              <a:buClr>
                <a:schemeClr val="accent3"/>
              </a:buClr>
              <a:buFont typeface="Arial" panose="020B0604020202020204" pitchFamily="34" charset="0"/>
              <a:buChar char="•"/>
              <a:defRPr/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•"/>
              <a:defRPr/>
            </a:lvl4pPr>
            <a:lvl5pPr marL="2057400" indent="-228600">
              <a:buClr>
                <a:schemeClr val="accent3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6A8E97-F0BC-441F-888A-A00899A81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solidFill>
            <a:srgbClr val="0F00E6"/>
          </a:solidFill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2205F9A8-97F1-462E-AA9C-D3381D198BE6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9EF2701-BAC5-4D2C-804C-E256789EFCE9}"/>
              </a:ext>
            </a:extLst>
          </p:cNvPr>
          <p:cNvGrpSpPr/>
          <p:nvPr userDrawn="1"/>
        </p:nvGrpSpPr>
        <p:grpSpPr>
          <a:xfrm>
            <a:off x="-228600" y="-2210"/>
            <a:ext cx="200025" cy="1680682"/>
            <a:chOff x="2774400" y="2497769"/>
            <a:chExt cx="345397" cy="2345211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8022BDC-2293-4E4C-BA6C-934813FFC562}"/>
                </a:ext>
              </a:extLst>
            </p:cNvPr>
            <p:cNvSpPr/>
            <p:nvPr/>
          </p:nvSpPr>
          <p:spPr>
            <a:xfrm rot="5400000">
              <a:off x="2818819" y="2751730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11499D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31AFD51-665C-42E7-92D5-06BC2B197697}"/>
                </a:ext>
              </a:extLst>
            </p:cNvPr>
            <p:cNvSpPr/>
            <p:nvPr/>
          </p:nvSpPr>
          <p:spPr>
            <a:xfrm rot="5400000">
              <a:off x="2818819" y="3050109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1761CF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C390395-B19A-4FB3-B1FF-0C4B47F93482}"/>
                </a:ext>
              </a:extLst>
            </p:cNvPr>
            <p:cNvSpPr/>
            <p:nvPr/>
          </p:nvSpPr>
          <p:spPr>
            <a:xfrm rot="5400000">
              <a:off x="2818819" y="3348488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2976E7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6FBD785-35C3-47EC-967F-7C9A145F7187}"/>
                </a:ext>
              </a:extLst>
            </p:cNvPr>
            <p:cNvSpPr/>
            <p:nvPr/>
          </p:nvSpPr>
          <p:spPr>
            <a:xfrm rot="5400000">
              <a:off x="2818819" y="3646867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31ACE2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4E31CC4-6EE0-49BF-AA51-52BD6F4A3B77}"/>
                </a:ext>
              </a:extLst>
            </p:cNvPr>
            <p:cNvSpPr/>
            <p:nvPr/>
          </p:nvSpPr>
          <p:spPr>
            <a:xfrm rot="5400000">
              <a:off x="2818819" y="3945246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04ADD0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28A6344-1EA0-4C7A-9D68-DB3F0B2EA408}"/>
                </a:ext>
              </a:extLst>
            </p:cNvPr>
            <p:cNvSpPr/>
            <p:nvPr/>
          </p:nvSpPr>
          <p:spPr>
            <a:xfrm rot="5400000">
              <a:off x="2818819" y="4243625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62C8CE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881538A-3D0F-43B6-8994-58EDC14D7E70}"/>
                </a:ext>
              </a:extLst>
            </p:cNvPr>
            <p:cNvSpPr/>
            <p:nvPr/>
          </p:nvSpPr>
          <p:spPr>
            <a:xfrm rot="5400000">
              <a:off x="2818819" y="4542002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95D6DC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C6379BF9-8957-42B5-B904-3FDC325D6989}"/>
                </a:ext>
              </a:extLst>
            </p:cNvPr>
            <p:cNvSpPr/>
            <p:nvPr userDrawn="1"/>
          </p:nvSpPr>
          <p:spPr>
            <a:xfrm rot="5400000">
              <a:off x="2818819" y="2453350"/>
              <a:ext cx="256560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0C3457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4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9CE12F0C-3F3D-42DE-9E6D-A04F489EF5C0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89151" y="6469227"/>
            <a:ext cx="1413695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err="1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slb</a:t>
            </a:r>
            <a:r>
              <a:rPr lang="en-US" sz="100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-Privat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5E7EC18-0306-4282-92FA-6646E8E96D3B}"/>
              </a:ext>
            </a:extLst>
          </p:cNvPr>
          <p:cNvCxnSpPr>
            <a:cxnSpLocks/>
          </p:cNvCxnSpPr>
          <p:nvPr userDrawn="1"/>
        </p:nvCxnSpPr>
        <p:spPr>
          <a:xfrm>
            <a:off x="507506" y="6272213"/>
            <a:ext cx="6744084" cy="0"/>
          </a:xfrm>
          <a:prstGeom prst="line">
            <a:avLst/>
          </a:prstGeom>
          <a:ln>
            <a:solidFill>
              <a:srgbClr val="0F00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104C1660-4C5C-4CA2-8DDA-F1C1DBD7E1C6}"/>
              </a:ext>
            </a:extLst>
          </p:cNvPr>
          <p:cNvSpPr txBox="1"/>
          <p:nvPr userDrawn="1"/>
        </p:nvSpPr>
        <p:spPr>
          <a:xfrm>
            <a:off x="933450" y="6423060"/>
            <a:ext cx="9861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0" i="0">
                <a:solidFill>
                  <a:srgbClr val="0F00E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arbon Solutions</a:t>
            </a:r>
            <a:endParaRPr lang="en-US" sz="1000" b="1" i="0" kern="1200">
              <a:solidFill>
                <a:srgbClr val="0F00E6"/>
              </a:solidFill>
              <a:latin typeface="Arial Narrow" panose="020B0604020202020204" pitchFamily="34" charset="0"/>
              <a:ea typeface="ヒラギノ角ゴ Pro W3" pitchFamily="48" charset="-128"/>
              <a:cs typeface="Arial Narrow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5A774C9-AD3D-4324-95D9-C434102F55D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7960" y="6176963"/>
            <a:ext cx="1080918" cy="76676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842F4F6-1367-CE03-9AF2-A2B28033ED7A}"/>
              </a:ext>
            </a:extLst>
          </p:cNvPr>
          <p:cNvSpPr/>
          <p:nvPr userDrawn="1"/>
        </p:nvSpPr>
        <p:spPr>
          <a:xfrm>
            <a:off x="11264775" y="-2211"/>
            <a:ext cx="839436" cy="1081547"/>
          </a:xfrm>
          <a:prstGeom prst="rect">
            <a:avLst/>
          </a:prstGeom>
          <a:solidFill>
            <a:srgbClr val="0F00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SL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NEW ENERGY</a:t>
            </a:r>
          </a:p>
        </p:txBody>
      </p:sp>
    </p:spTree>
    <p:extLst>
      <p:ext uri="{BB962C8B-B14F-4D97-AF65-F5344CB8AC3E}">
        <p14:creationId xmlns:p14="http://schemas.microsoft.com/office/powerpoint/2010/main" val="32157439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7392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36544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2000" y="3654425"/>
            <a:ext cx="7620000" cy="31972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6263485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40B337D-0927-4500-8AA0-C89F5EBBC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3841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A40B337D-0927-4500-8AA0-C89F5EBBC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BB05201-A168-415C-9E61-E562D0A100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3641" y="136525"/>
            <a:ext cx="6744084" cy="1063625"/>
          </a:xfrm>
        </p:spPr>
        <p:txBody>
          <a:bodyPr vert="horz" lIns="0" anchor="ctr" anchorCtr="0"/>
          <a:lstStyle>
            <a:lvl1pPr>
              <a:defRPr>
                <a:solidFill>
                  <a:srgbClr val="0F00E6"/>
                </a:solidFill>
                <a:latin typeface="SLB Sans Book" panose="02000503040000020004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9EF2701-BAC5-4D2C-804C-E256789EFCE9}"/>
              </a:ext>
            </a:extLst>
          </p:cNvPr>
          <p:cNvGrpSpPr/>
          <p:nvPr userDrawn="1"/>
        </p:nvGrpSpPr>
        <p:grpSpPr>
          <a:xfrm>
            <a:off x="-228600" y="-2210"/>
            <a:ext cx="200025" cy="1680682"/>
            <a:chOff x="2774400" y="2497769"/>
            <a:chExt cx="345397" cy="2345211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8022BDC-2293-4E4C-BA6C-934813FFC562}"/>
                </a:ext>
              </a:extLst>
            </p:cNvPr>
            <p:cNvSpPr/>
            <p:nvPr/>
          </p:nvSpPr>
          <p:spPr>
            <a:xfrm rot="5400000">
              <a:off x="2818819" y="2751730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11499D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31AFD51-665C-42E7-92D5-06BC2B197697}"/>
                </a:ext>
              </a:extLst>
            </p:cNvPr>
            <p:cNvSpPr/>
            <p:nvPr/>
          </p:nvSpPr>
          <p:spPr>
            <a:xfrm rot="5400000">
              <a:off x="2818819" y="3050109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1761CF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C390395-B19A-4FB3-B1FF-0C4B47F93482}"/>
                </a:ext>
              </a:extLst>
            </p:cNvPr>
            <p:cNvSpPr/>
            <p:nvPr/>
          </p:nvSpPr>
          <p:spPr>
            <a:xfrm rot="5400000">
              <a:off x="2818819" y="3348488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2976E7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6FBD785-35C3-47EC-967F-7C9A145F7187}"/>
                </a:ext>
              </a:extLst>
            </p:cNvPr>
            <p:cNvSpPr/>
            <p:nvPr/>
          </p:nvSpPr>
          <p:spPr>
            <a:xfrm rot="5400000">
              <a:off x="2818819" y="3646867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31ACE2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4E31CC4-6EE0-49BF-AA51-52BD6F4A3B77}"/>
                </a:ext>
              </a:extLst>
            </p:cNvPr>
            <p:cNvSpPr/>
            <p:nvPr/>
          </p:nvSpPr>
          <p:spPr>
            <a:xfrm rot="5400000">
              <a:off x="2818819" y="3945246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04ADD0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28A6344-1EA0-4C7A-9D68-DB3F0B2EA408}"/>
                </a:ext>
              </a:extLst>
            </p:cNvPr>
            <p:cNvSpPr/>
            <p:nvPr/>
          </p:nvSpPr>
          <p:spPr>
            <a:xfrm rot="5400000">
              <a:off x="2818819" y="4243625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62C8CE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881538A-3D0F-43B6-8994-58EDC14D7E70}"/>
                </a:ext>
              </a:extLst>
            </p:cNvPr>
            <p:cNvSpPr/>
            <p:nvPr/>
          </p:nvSpPr>
          <p:spPr>
            <a:xfrm rot="5400000">
              <a:off x="2818819" y="4542002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95D6DC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C6379BF9-8957-42B5-B904-3FDC325D6989}"/>
                </a:ext>
              </a:extLst>
            </p:cNvPr>
            <p:cNvSpPr/>
            <p:nvPr userDrawn="1"/>
          </p:nvSpPr>
          <p:spPr>
            <a:xfrm rot="5400000">
              <a:off x="2818819" y="2453350"/>
              <a:ext cx="256560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0C3457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6A8E97-F0BC-441F-888A-A00899A81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53640" y="6356350"/>
            <a:ext cx="425944" cy="365125"/>
          </a:xfrm>
          <a:solidFill>
            <a:srgbClr val="0F00E6"/>
          </a:solidFill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2205F9A8-97F1-462E-AA9C-D3381D198B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9CE12F0C-3F3D-42DE-9E6D-A04F489EF5C0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491327" y="6469227"/>
            <a:ext cx="1413695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err="1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slb</a:t>
            </a:r>
            <a:r>
              <a:rPr lang="en-US" sz="100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-Privat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5E7EC18-0306-4282-92FA-6646E8E96D3B}"/>
              </a:ext>
            </a:extLst>
          </p:cNvPr>
          <p:cNvCxnSpPr>
            <a:cxnSpLocks/>
          </p:cNvCxnSpPr>
          <p:nvPr userDrawn="1"/>
        </p:nvCxnSpPr>
        <p:spPr>
          <a:xfrm>
            <a:off x="4353637" y="6272213"/>
            <a:ext cx="7665538" cy="0"/>
          </a:xfrm>
          <a:prstGeom prst="line">
            <a:avLst/>
          </a:prstGeom>
          <a:ln>
            <a:solidFill>
              <a:srgbClr val="0F00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104C1660-4C5C-4CA2-8DDA-F1C1DBD7E1C6}"/>
              </a:ext>
            </a:extLst>
          </p:cNvPr>
          <p:cNvSpPr txBox="1"/>
          <p:nvPr userDrawn="1"/>
        </p:nvSpPr>
        <p:spPr>
          <a:xfrm>
            <a:off x="4779584" y="6423060"/>
            <a:ext cx="9861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0" i="0">
                <a:solidFill>
                  <a:srgbClr val="0F00E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arbon Solutions</a:t>
            </a:r>
            <a:endParaRPr lang="en-US" sz="1000" b="1" i="0" kern="1200">
              <a:solidFill>
                <a:srgbClr val="0F00E6"/>
              </a:solidFill>
              <a:latin typeface="Arial Narrow" panose="020B0604020202020204" pitchFamily="34" charset="0"/>
              <a:ea typeface="ヒラギノ角ゴ Pro W3" pitchFamily="48" charset="-128"/>
              <a:cs typeface="Arial Narrow" panose="020B0604020202020204" pitchFamily="34" charset="0"/>
            </a:endParaRPr>
          </a:p>
        </p:txBody>
      </p:sp>
      <p:pic>
        <p:nvPicPr>
          <p:cNvPr id="23" name="Picture 22" descr="A picture containing engine, miller&#10;&#10;Description automatically generated">
            <a:extLst>
              <a:ext uri="{FF2B5EF4-FFF2-40B4-BE49-F238E27FC236}">
                <a16:creationId xmlns:a16="http://schemas.microsoft.com/office/drawing/2014/main" id="{337FD57F-3EB5-4EDB-9946-55D99AE8DE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181302" cy="685800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BE2BAD-EAF4-43C9-8768-980DC1D998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53640" y="1371600"/>
            <a:ext cx="7665535" cy="4805363"/>
          </a:xfrm>
        </p:spPr>
        <p:txBody>
          <a:bodyPr/>
          <a:lstStyle>
            <a:lvl1pPr marL="228600" indent="-228600">
              <a:lnSpc>
                <a:spcPct val="150000"/>
              </a:lnSpc>
              <a:buClr>
                <a:srgbClr val="11499D"/>
              </a:buClr>
              <a:buFont typeface="Arial" panose="020B0604020202020204" pitchFamily="34" charset="0"/>
              <a:buChar char="•"/>
              <a:defRPr sz="2400">
                <a:latin typeface="SLB Sans Book" panose="02000503040000020004" pitchFamily="50" charset="0"/>
              </a:defRPr>
            </a:lvl1pPr>
            <a:lvl2pPr marL="457200" indent="0">
              <a:buClr>
                <a:schemeClr val="accent3"/>
              </a:buClr>
              <a:buFont typeface="Arial" panose="020B0604020202020204" pitchFamily="34" charset="0"/>
              <a:buNone/>
              <a:defRPr/>
            </a:lvl2pPr>
            <a:lvl3pPr marL="1143000" indent="-228600">
              <a:buClr>
                <a:schemeClr val="accent3"/>
              </a:buClr>
              <a:buFont typeface="Arial" panose="020B0604020202020204" pitchFamily="34" charset="0"/>
              <a:buChar char="•"/>
              <a:defRPr/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•"/>
              <a:defRPr/>
            </a:lvl4pPr>
            <a:lvl5pPr marL="2057400" indent="-228600">
              <a:buClr>
                <a:schemeClr val="accent3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5F179FD-37AF-4CB9-BEB1-09B636FB3EDE}"/>
              </a:ext>
            </a:extLst>
          </p:cNvPr>
          <p:cNvSpPr/>
          <p:nvPr userDrawn="1"/>
        </p:nvSpPr>
        <p:spPr>
          <a:xfrm rot="10800000">
            <a:off x="-17701" y="-2211"/>
            <a:ext cx="4181302" cy="685799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40000">
                <a:srgbClr val="B5AFFF">
                  <a:alpha val="25000"/>
                </a:srgbClr>
              </a:gs>
              <a:gs pos="65000">
                <a:srgbClr val="584BFF">
                  <a:alpha val="50000"/>
                </a:srgbClr>
              </a:gs>
              <a:gs pos="100000">
                <a:srgbClr val="0F00E6">
                  <a:alpha val="75000"/>
                </a:srgbClr>
              </a:gs>
            </a:gsLst>
            <a:lin ang="16200000" scaled="1"/>
            <a:tileRect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5A774C9-AD3D-4324-95D9-C434102F55D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95" y="5972970"/>
            <a:ext cx="1080918" cy="76676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5273897F-7AA6-74B1-BAD1-197032378C62}"/>
              </a:ext>
            </a:extLst>
          </p:cNvPr>
          <p:cNvSpPr/>
          <p:nvPr userDrawn="1"/>
        </p:nvSpPr>
        <p:spPr>
          <a:xfrm>
            <a:off x="11264775" y="-2211"/>
            <a:ext cx="839436" cy="1081547"/>
          </a:xfrm>
          <a:prstGeom prst="rect">
            <a:avLst/>
          </a:prstGeom>
          <a:solidFill>
            <a:srgbClr val="0F00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SL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NEW ENERGY</a:t>
            </a:r>
          </a:p>
        </p:txBody>
      </p:sp>
    </p:spTree>
    <p:extLst>
      <p:ext uri="{BB962C8B-B14F-4D97-AF65-F5344CB8AC3E}">
        <p14:creationId xmlns:p14="http://schemas.microsoft.com/office/powerpoint/2010/main" val="3127264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7392">
          <p15:clr>
            <a:srgbClr val="FBAE40"/>
          </p15:clr>
        </p15:guide>
      </p15:sldGuideLst>
    </p:ext>
  </p:extLst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40B337D-0927-4500-8AA0-C89F5EBBC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7518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A40B337D-0927-4500-8AA0-C89F5EBBC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ECE7565A-AFD3-88DD-2F38-716F5A81F22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6686" y="0"/>
            <a:ext cx="4555314" cy="6858000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75F179FD-37AF-4CB9-BEB1-09B636FB3EDE}"/>
              </a:ext>
            </a:extLst>
          </p:cNvPr>
          <p:cNvSpPr/>
          <p:nvPr userDrawn="1"/>
        </p:nvSpPr>
        <p:spPr>
          <a:xfrm>
            <a:off x="7636686" y="-2211"/>
            <a:ext cx="4555314" cy="685799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40000">
                <a:srgbClr val="B5AFFF">
                  <a:alpha val="25000"/>
                </a:srgbClr>
              </a:gs>
              <a:gs pos="65000">
                <a:srgbClr val="584BFF">
                  <a:alpha val="50000"/>
                </a:srgbClr>
              </a:gs>
              <a:gs pos="100000">
                <a:srgbClr val="0F00E6">
                  <a:alpha val="75000"/>
                </a:srgbClr>
              </a:gs>
            </a:gsLst>
            <a:lin ang="5400000" scaled="1"/>
            <a:tileRect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B05201-A168-415C-9E61-E562D0A100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507" y="2897188"/>
            <a:ext cx="6744084" cy="1063625"/>
          </a:xfrm>
        </p:spPr>
        <p:txBody>
          <a:bodyPr vert="horz" lIns="0" anchor="ctr" anchorCtr="0"/>
          <a:lstStyle>
            <a:lvl1pPr>
              <a:defRPr>
                <a:solidFill>
                  <a:srgbClr val="0F00E6"/>
                </a:solidFill>
                <a:latin typeface="SLB Sans Book" panose="02000503040000020004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6A8E97-F0BC-441F-888A-A00899A81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solidFill>
            <a:srgbClr val="0F00E6"/>
          </a:solidFill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2205F9A8-97F1-462E-AA9C-D3381D198BE6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9EF2701-BAC5-4D2C-804C-E256789EFCE9}"/>
              </a:ext>
            </a:extLst>
          </p:cNvPr>
          <p:cNvGrpSpPr/>
          <p:nvPr userDrawn="1"/>
        </p:nvGrpSpPr>
        <p:grpSpPr>
          <a:xfrm>
            <a:off x="-228600" y="-2210"/>
            <a:ext cx="200025" cy="1680682"/>
            <a:chOff x="2774400" y="2497769"/>
            <a:chExt cx="345397" cy="2345211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8022BDC-2293-4E4C-BA6C-934813FFC562}"/>
                </a:ext>
              </a:extLst>
            </p:cNvPr>
            <p:cNvSpPr/>
            <p:nvPr/>
          </p:nvSpPr>
          <p:spPr>
            <a:xfrm rot="5400000">
              <a:off x="2818819" y="2751730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11499D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31AFD51-665C-42E7-92D5-06BC2B197697}"/>
                </a:ext>
              </a:extLst>
            </p:cNvPr>
            <p:cNvSpPr/>
            <p:nvPr/>
          </p:nvSpPr>
          <p:spPr>
            <a:xfrm rot="5400000">
              <a:off x="2818819" y="3050109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1761CF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C390395-B19A-4FB3-B1FF-0C4B47F93482}"/>
                </a:ext>
              </a:extLst>
            </p:cNvPr>
            <p:cNvSpPr/>
            <p:nvPr/>
          </p:nvSpPr>
          <p:spPr>
            <a:xfrm rot="5400000">
              <a:off x="2818819" y="3348488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2976E7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6FBD785-35C3-47EC-967F-7C9A145F7187}"/>
                </a:ext>
              </a:extLst>
            </p:cNvPr>
            <p:cNvSpPr/>
            <p:nvPr/>
          </p:nvSpPr>
          <p:spPr>
            <a:xfrm rot="5400000">
              <a:off x="2818819" y="3646867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31ACE2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4E31CC4-6EE0-49BF-AA51-52BD6F4A3B77}"/>
                </a:ext>
              </a:extLst>
            </p:cNvPr>
            <p:cNvSpPr/>
            <p:nvPr/>
          </p:nvSpPr>
          <p:spPr>
            <a:xfrm rot="5400000">
              <a:off x="2818819" y="3945246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04ADD0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28A6344-1EA0-4C7A-9D68-DB3F0B2EA408}"/>
                </a:ext>
              </a:extLst>
            </p:cNvPr>
            <p:cNvSpPr/>
            <p:nvPr/>
          </p:nvSpPr>
          <p:spPr>
            <a:xfrm rot="5400000">
              <a:off x="2818819" y="4243625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62C8CE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881538A-3D0F-43B6-8994-58EDC14D7E70}"/>
                </a:ext>
              </a:extLst>
            </p:cNvPr>
            <p:cNvSpPr/>
            <p:nvPr/>
          </p:nvSpPr>
          <p:spPr>
            <a:xfrm rot="5400000">
              <a:off x="2818819" y="4542002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95D6DC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C6379BF9-8957-42B5-B904-3FDC325D6989}"/>
                </a:ext>
              </a:extLst>
            </p:cNvPr>
            <p:cNvSpPr/>
            <p:nvPr userDrawn="1"/>
          </p:nvSpPr>
          <p:spPr>
            <a:xfrm rot="5400000">
              <a:off x="2818819" y="2453350"/>
              <a:ext cx="256560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0C3457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4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9CE12F0C-3F3D-42DE-9E6D-A04F489EF5C0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89151" y="6469227"/>
            <a:ext cx="1413695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err="1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slb</a:t>
            </a:r>
            <a:r>
              <a:rPr lang="en-US" sz="100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-Privat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5E7EC18-0306-4282-92FA-6646E8E96D3B}"/>
              </a:ext>
            </a:extLst>
          </p:cNvPr>
          <p:cNvCxnSpPr>
            <a:cxnSpLocks/>
          </p:cNvCxnSpPr>
          <p:nvPr userDrawn="1"/>
        </p:nvCxnSpPr>
        <p:spPr>
          <a:xfrm>
            <a:off x="507506" y="6272213"/>
            <a:ext cx="6744084" cy="0"/>
          </a:xfrm>
          <a:prstGeom prst="line">
            <a:avLst/>
          </a:prstGeom>
          <a:ln>
            <a:solidFill>
              <a:srgbClr val="0F00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104C1660-4C5C-4CA2-8DDA-F1C1DBD7E1C6}"/>
              </a:ext>
            </a:extLst>
          </p:cNvPr>
          <p:cNvSpPr txBox="1"/>
          <p:nvPr userDrawn="1"/>
        </p:nvSpPr>
        <p:spPr>
          <a:xfrm>
            <a:off x="933450" y="6423060"/>
            <a:ext cx="9861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0" i="0">
                <a:solidFill>
                  <a:srgbClr val="0F00E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arbon Solutions</a:t>
            </a:r>
            <a:endParaRPr lang="en-US" sz="1000" b="1" i="0" kern="1200">
              <a:solidFill>
                <a:srgbClr val="0F00E6"/>
              </a:solidFill>
              <a:latin typeface="Arial Narrow" panose="020B0604020202020204" pitchFamily="34" charset="0"/>
              <a:ea typeface="ヒラギノ角ゴ Pro W3" pitchFamily="48" charset="-128"/>
              <a:cs typeface="Arial Narrow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5A774C9-AD3D-4324-95D9-C434102F55D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7960" y="6176963"/>
            <a:ext cx="1080918" cy="76676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842F4F6-1367-CE03-9AF2-A2B28033ED7A}"/>
              </a:ext>
            </a:extLst>
          </p:cNvPr>
          <p:cNvSpPr/>
          <p:nvPr userDrawn="1"/>
        </p:nvSpPr>
        <p:spPr>
          <a:xfrm>
            <a:off x="11264775" y="-2211"/>
            <a:ext cx="839436" cy="1081547"/>
          </a:xfrm>
          <a:prstGeom prst="rect">
            <a:avLst/>
          </a:prstGeom>
          <a:solidFill>
            <a:srgbClr val="0F00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SL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NEW ENERGY</a:t>
            </a:r>
          </a:p>
        </p:txBody>
      </p:sp>
    </p:spTree>
    <p:extLst>
      <p:ext uri="{BB962C8B-B14F-4D97-AF65-F5344CB8AC3E}">
        <p14:creationId xmlns:p14="http://schemas.microsoft.com/office/powerpoint/2010/main" val="2361404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7392">
          <p15:clr>
            <a:srgbClr val="FBAE40"/>
          </p15:clr>
        </p15:guide>
      </p15:sldGuideLst>
    </p:ext>
  </p:extLst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40B337D-0927-4500-8AA0-C89F5EBBC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2020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A40B337D-0927-4500-8AA0-C89F5EBBC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7E9D22D9-D80E-EE0E-08C5-982E8B25E75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8089" y="0"/>
            <a:ext cx="4593911" cy="6858000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75F179FD-37AF-4CB9-BEB1-09B636FB3EDE}"/>
              </a:ext>
            </a:extLst>
          </p:cNvPr>
          <p:cNvSpPr/>
          <p:nvPr userDrawn="1"/>
        </p:nvSpPr>
        <p:spPr>
          <a:xfrm>
            <a:off x="7598088" y="-2211"/>
            <a:ext cx="4574613" cy="685799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3000">
                <a:srgbClr val="B5AFFF">
                  <a:alpha val="25000"/>
                </a:srgbClr>
              </a:gs>
              <a:gs pos="83000">
                <a:srgbClr val="584BFF">
                  <a:alpha val="50000"/>
                </a:srgbClr>
              </a:gs>
              <a:gs pos="100000">
                <a:srgbClr val="0F00E6">
                  <a:alpha val="75000"/>
                </a:srgbClr>
              </a:gs>
            </a:gsLst>
            <a:lin ang="5400000" scaled="1"/>
            <a:tileRect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B05201-A168-415C-9E61-E562D0A100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507" y="2897188"/>
            <a:ext cx="6744084" cy="1063625"/>
          </a:xfrm>
        </p:spPr>
        <p:txBody>
          <a:bodyPr vert="horz" lIns="0" anchor="ctr" anchorCtr="0"/>
          <a:lstStyle>
            <a:lvl1pPr>
              <a:defRPr>
                <a:solidFill>
                  <a:srgbClr val="0F00E6"/>
                </a:solidFill>
                <a:latin typeface="SLB Sans Book" panose="02000503040000020004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6A8E97-F0BC-441F-888A-A00899A81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solidFill>
            <a:srgbClr val="0F00E6"/>
          </a:solidFill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2205F9A8-97F1-462E-AA9C-D3381D198BE6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9EF2701-BAC5-4D2C-804C-E256789EFCE9}"/>
              </a:ext>
            </a:extLst>
          </p:cNvPr>
          <p:cNvGrpSpPr/>
          <p:nvPr userDrawn="1"/>
        </p:nvGrpSpPr>
        <p:grpSpPr>
          <a:xfrm>
            <a:off x="-228600" y="-2210"/>
            <a:ext cx="200025" cy="1680682"/>
            <a:chOff x="2774400" y="2497769"/>
            <a:chExt cx="345397" cy="2345211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8022BDC-2293-4E4C-BA6C-934813FFC562}"/>
                </a:ext>
              </a:extLst>
            </p:cNvPr>
            <p:cNvSpPr/>
            <p:nvPr/>
          </p:nvSpPr>
          <p:spPr>
            <a:xfrm rot="5400000">
              <a:off x="2818819" y="2751730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11499D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31AFD51-665C-42E7-92D5-06BC2B197697}"/>
                </a:ext>
              </a:extLst>
            </p:cNvPr>
            <p:cNvSpPr/>
            <p:nvPr/>
          </p:nvSpPr>
          <p:spPr>
            <a:xfrm rot="5400000">
              <a:off x="2818819" y="3050109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1761CF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C390395-B19A-4FB3-B1FF-0C4B47F93482}"/>
                </a:ext>
              </a:extLst>
            </p:cNvPr>
            <p:cNvSpPr/>
            <p:nvPr/>
          </p:nvSpPr>
          <p:spPr>
            <a:xfrm rot="5400000">
              <a:off x="2818819" y="3348488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2976E7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6FBD785-35C3-47EC-967F-7C9A145F7187}"/>
                </a:ext>
              </a:extLst>
            </p:cNvPr>
            <p:cNvSpPr/>
            <p:nvPr/>
          </p:nvSpPr>
          <p:spPr>
            <a:xfrm rot="5400000">
              <a:off x="2818819" y="3646867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31ACE2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4E31CC4-6EE0-49BF-AA51-52BD6F4A3B77}"/>
                </a:ext>
              </a:extLst>
            </p:cNvPr>
            <p:cNvSpPr/>
            <p:nvPr/>
          </p:nvSpPr>
          <p:spPr>
            <a:xfrm rot="5400000">
              <a:off x="2818819" y="3945246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04ADD0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28A6344-1EA0-4C7A-9D68-DB3F0B2EA408}"/>
                </a:ext>
              </a:extLst>
            </p:cNvPr>
            <p:cNvSpPr/>
            <p:nvPr/>
          </p:nvSpPr>
          <p:spPr>
            <a:xfrm rot="5400000">
              <a:off x="2818819" y="4243625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62C8CE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881538A-3D0F-43B6-8994-58EDC14D7E70}"/>
                </a:ext>
              </a:extLst>
            </p:cNvPr>
            <p:cNvSpPr/>
            <p:nvPr/>
          </p:nvSpPr>
          <p:spPr>
            <a:xfrm rot="5400000">
              <a:off x="2818819" y="4542002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95D6DC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C6379BF9-8957-42B5-B904-3FDC325D6989}"/>
                </a:ext>
              </a:extLst>
            </p:cNvPr>
            <p:cNvSpPr/>
            <p:nvPr userDrawn="1"/>
          </p:nvSpPr>
          <p:spPr>
            <a:xfrm rot="5400000">
              <a:off x="2818819" y="2453350"/>
              <a:ext cx="256560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0C3457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4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9CE12F0C-3F3D-42DE-9E6D-A04F489EF5C0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89151" y="6469227"/>
            <a:ext cx="1413695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err="1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slb</a:t>
            </a:r>
            <a:r>
              <a:rPr lang="en-US" sz="100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-Privat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5E7EC18-0306-4282-92FA-6646E8E96D3B}"/>
              </a:ext>
            </a:extLst>
          </p:cNvPr>
          <p:cNvCxnSpPr>
            <a:cxnSpLocks/>
          </p:cNvCxnSpPr>
          <p:nvPr userDrawn="1"/>
        </p:nvCxnSpPr>
        <p:spPr>
          <a:xfrm>
            <a:off x="507506" y="6272213"/>
            <a:ext cx="6744084" cy="0"/>
          </a:xfrm>
          <a:prstGeom prst="line">
            <a:avLst/>
          </a:prstGeom>
          <a:ln>
            <a:solidFill>
              <a:srgbClr val="0F00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104C1660-4C5C-4CA2-8DDA-F1C1DBD7E1C6}"/>
              </a:ext>
            </a:extLst>
          </p:cNvPr>
          <p:cNvSpPr txBox="1"/>
          <p:nvPr userDrawn="1"/>
        </p:nvSpPr>
        <p:spPr>
          <a:xfrm>
            <a:off x="933450" y="6423060"/>
            <a:ext cx="9861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0" i="0">
                <a:solidFill>
                  <a:srgbClr val="0F00E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arbon Solutions</a:t>
            </a:r>
            <a:endParaRPr lang="en-US" sz="1000" b="1" i="0" kern="1200">
              <a:solidFill>
                <a:srgbClr val="0F00E6"/>
              </a:solidFill>
              <a:latin typeface="Arial Narrow" panose="020B0604020202020204" pitchFamily="34" charset="0"/>
              <a:ea typeface="ヒラギノ角ゴ Pro W3" pitchFamily="48" charset="-128"/>
              <a:cs typeface="Arial Narrow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5A774C9-AD3D-4324-95D9-C434102F55D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7960" y="6176963"/>
            <a:ext cx="1080918" cy="76676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842F4F6-1367-CE03-9AF2-A2B28033ED7A}"/>
              </a:ext>
            </a:extLst>
          </p:cNvPr>
          <p:cNvSpPr/>
          <p:nvPr userDrawn="1"/>
        </p:nvSpPr>
        <p:spPr>
          <a:xfrm>
            <a:off x="11264775" y="-2211"/>
            <a:ext cx="839436" cy="1081547"/>
          </a:xfrm>
          <a:prstGeom prst="rect">
            <a:avLst/>
          </a:prstGeom>
          <a:solidFill>
            <a:srgbClr val="0F00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SL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NEW ENERGY</a:t>
            </a:r>
          </a:p>
        </p:txBody>
      </p:sp>
    </p:spTree>
    <p:extLst>
      <p:ext uri="{BB962C8B-B14F-4D97-AF65-F5344CB8AC3E}">
        <p14:creationId xmlns:p14="http://schemas.microsoft.com/office/powerpoint/2010/main" val="26953253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7392">
          <p15:clr>
            <a:srgbClr val="FBAE40"/>
          </p15:clr>
        </p15:guide>
      </p15:sldGuideLst>
    </p:ext>
  </p:extLst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40B337D-0927-4500-8AA0-C89F5EBBC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7942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A40B337D-0927-4500-8AA0-C89F5EBBC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BB05201-A168-415C-9E61-E562D0A100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506" y="136525"/>
            <a:ext cx="10246219" cy="1063625"/>
          </a:xfrm>
        </p:spPr>
        <p:txBody>
          <a:bodyPr vert="horz" lIns="0" anchor="ctr" anchorCtr="0"/>
          <a:lstStyle>
            <a:lvl1pPr>
              <a:defRPr>
                <a:solidFill>
                  <a:srgbClr val="0F00E6"/>
                </a:solidFill>
                <a:latin typeface="SLB Sans Book" panose="02000503040000020004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BE2BAD-EAF4-43C9-8768-980DC1D998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Clr>
                <a:srgbClr val="11499D"/>
              </a:buClr>
              <a:buFont typeface="Arial" panose="020B0604020202020204" pitchFamily="34" charset="0"/>
              <a:buChar char="•"/>
              <a:defRPr sz="1800">
                <a:latin typeface="SLB Sans Book" panose="02000503040000020004" pitchFamily="50" charset="0"/>
              </a:defRPr>
            </a:lvl1pPr>
            <a:lvl2pPr marL="457200" indent="0">
              <a:buClr>
                <a:schemeClr val="accent3"/>
              </a:buClr>
              <a:buFont typeface="Arial" panose="020B0604020202020204" pitchFamily="34" charset="0"/>
              <a:buNone/>
              <a:defRPr/>
            </a:lvl2pPr>
            <a:lvl3pPr marL="1143000" indent="-228600">
              <a:buClr>
                <a:schemeClr val="accent3"/>
              </a:buClr>
              <a:buFont typeface="Arial" panose="020B0604020202020204" pitchFamily="34" charset="0"/>
              <a:buChar char="•"/>
              <a:defRPr/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•"/>
              <a:defRPr/>
            </a:lvl4pPr>
            <a:lvl5pPr marL="2057400" indent="-228600">
              <a:buClr>
                <a:schemeClr val="accent3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6A8E97-F0BC-441F-888A-A00899A81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solidFill>
            <a:srgbClr val="0F00E6"/>
          </a:solidFill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2205F9A8-97F1-462E-AA9C-D3381D198BE6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9EF2701-BAC5-4D2C-804C-E256789EFCE9}"/>
              </a:ext>
            </a:extLst>
          </p:cNvPr>
          <p:cNvGrpSpPr/>
          <p:nvPr userDrawn="1"/>
        </p:nvGrpSpPr>
        <p:grpSpPr>
          <a:xfrm>
            <a:off x="-228600" y="-2210"/>
            <a:ext cx="200025" cy="1680682"/>
            <a:chOff x="2774400" y="2497769"/>
            <a:chExt cx="345397" cy="2345211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8022BDC-2293-4E4C-BA6C-934813FFC562}"/>
                </a:ext>
              </a:extLst>
            </p:cNvPr>
            <p:cNvSpPr/>
            <p:nvPr/>
          </p:nvSpPr>
          <p:spPr>
            <a:xfrm rot="5400000">
              <a:off x="2818819" y="2751730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11499D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31AFD51-665C-42E7-92D5-06BC2B197697}"/>
                </a:ext>
              </a:extLst>
            </p:cNvPr>
            <p:cNvSpPr/>
            <p:nvPr/>
          </p:nvSpPr>
          <p:spPr>
            <a:xfrm rot="5400000">
              <a:off x="2818819" y="3050109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1761CF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C390395-B19A-4FB3-B1FF-0C4B47F93482}"/>
                </a:ext>
              </a:extLst>
            </p:cNvPr>
            <p:cNvSpPr/>
            <p:nvPr/>
          </p:nvSpPr>
          <p:spPr>
            <a:xfrm rot="5400000">
              <a:off x="2818819" y="3348488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2976E7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6FBD785-35C3-47EC-967F-7C9A145F7187}"/>
                </a:ext>
              </a:extLst>
            </p:cNvPr>
            <p:cNvSpPr/>
            <p:nvPr/>
          </p:nvSpPr>
          <p:spPr>
            <a:xfrm rot="5400000">
              <a:off x="2818819" y="3646867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31ACE2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4E31CC4-6EE0-49BF-AA51-52BD6F4A3B77}"/>
                </a:ext>
              </a:extLst>
            </p:cNvPr>
            <p:cNvSpPr/>
            <p:nvPr/>
          </p:nvSpPr>
          <p:spPr>
            <a:xfrm rot="5400000">
              <a:off x="2818819" y="3945246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04ADD0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28A6344-1EA0-4C7A-9D68-DB3F0B2EA408}"/>
                </a:ext>
              </a:extLst>
            </p:cNvPr>
            <p:cNvSpPr/>
            <p:nvPr/>
          </p:nvSpPr>
          <p:spPr>
            <a:xfrm rot="5400000">
              <a:off x="2818819" y="4243625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62C8CE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881538A-3D0F-43B6-8994-58EDC14D7E70}"/>
                </a:ext>
              </a:extLst>
            </p:cNvPr>
            <p:cNvSpPr/>
            <p:nvPr/>
          </p:nvSpPr>
          <p:spPr>
            <a:xfrm rot="5400000">
              <a:off x="2818819" y="4542002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95D6DC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C6379BF9-8957-42B5-B904-3FDC325D6989}"/>
                </a:ext>
              </a:extLst>
            </p:cNvPr>
            <p:cNvSpPr/>
            <p:nvPr userDrawn="1"/>
          </p:nvSpPr>
          <p:spPr>
            <a:xfrm rot="5400000">
              <a:off x="2818819" y="2453350"/>
              <a:ext cx="256560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0C3457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4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9CE12F0C-3F3D-42DE-9E6D-A04F489EF5C0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89151" y="6469227"/>
            <a:ext cx="1413695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err="1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slb</a:t>
            </a:r>
            <a:r>
              <a:rPr lang="en-US" sz="100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-Private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50F9572D-D0C3-4028-8B6C-740A2B750FF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2346" y="6343319"/>
            <a:ext cx="732147" cy="439288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5E7EC18-0306-4282-92FA-6646E8E96D3B}"/>
              </a:ext>
            </a:extLst>
          </p:cNvPr>
          <p:cNvCxnSpPr>
            <a:cxnSpLocks/>
          </p:cNvCxnSpPr>
          <p:nvPr userDrawn="1"/>
        </p:nvCxnSpPr>
        <p:spPr>
          <a:xfrm>
            <a:off x="507506" y="6272213"/>
            <a:ext cx="11227787" cy="0"/>
          </a:xfrm>
          <a:prstGeom prst="line">
            <a:avLst/>
          </a:prstGeom>
          <a:ln>
            <a:solidFill>
              <a:srgbClr val="0F00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104C1660-4C5C-4CA2-8DDA-F1C1DBD7E1C6}"/>
              </a:ext>
            </a:extLst>
          </p:cNvPr>
          <p:cNvSpPr txBox="1"/>
          <p:nvPr userDrawn="1"/>
        </p:nvSpPr>
        <p:spPr>
          <a:xfrm>
            <a:off x="933450" y="6423060"/>
            <a:ext cx="9861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0" i="0">
                <a:solidFill>
                  <a:srgbClr val="0F00E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arbon Solutions</a:t>
            </a:r>
            <a:endParaRPr lang="en-US" sz="1000" b="1" i="0" kern="1200">
              <a:solidFill>
                <a:srgbClr val="0F00E6"/>
              </a:solidFill>
              <a:latin typeface="Arial Narrow" panose="020B0604020202020204" pitchFamily="34" charset="0"/>
              <a:ea typeface="ヒラギノ角ゴ Pro W3" pitchFamily="48" charset="-128"/>
              <a:cs typeface="Arial Narrow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688E801-3920-4986-0A40-C8B8E5C81BB4}"/>
              </a:ext>
            </a:extLst>
          </p:cNvPr>
          <p:cNvSpPr/>
          <p:nvPr userDrawn="1"/>
        </p:nvSpPr>
        <p:spPr>
          <a:xfrm>
            <a:off x="11264775" y="-2211"/>
            <a:ext cx="839436" cy="1081547"/>
          </a:xfrm>
          <a:prstGeom prst="rect">
            <a:avLst/>
          </a:prstGeom>
          <a:solidFill>
            <a:srgbClr val="0F00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SL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NEW ENERGY</a:t>
            </a:r>
          </a:p>
        </p:txBody>
      </p:sp>
    </p:spTree>
    <p:extLst>
      <p:ext uri="{BB962C8B-B14F-4D97-AF65-F5344CB8AC3E}">
        <p14:creationId xmlns:p14="http://schemas.microsoft.com/office/powerpoint/2010/main" val="1571774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7392">
          <p15:clr>
            <a:srgbClr val="FBAE40"/>
          </p15:clr>
        </p15:guide>
      </p15:sldGuideLst>
    </p:ext>
  </p:extLst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40B337D-0927-4500-8AA0-C89F5EBBC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1868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A40B337D-0927-4500-8AA0-C89F5EBBC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BB05201-A168-415C-9E61-E562D0A100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506" y="136525"/>
            <a:ext cx="10246219" cy="1063625"/>
          </a:xfrm>
        </p:spPr>
        <p:txBody>
          <a:bodyPr vert="horz" lIns="0" anchor="ctr" anchorCtr="0"/>
          <a:lstStyle>
            <a:lvl1pPr>
              <a:defRPr>
                <a:solidFill>
                  <a:srgbClr val="0F00E6"/>
                </a:solidFill>
                <a:latin typeface="SLB Sans Book" panose="02000503040000020004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6A8E97-F0BC-441F-888A-A00899A81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solidFill>
            <a:srgbClr val="0F00E6"/>
          </a:solidFill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2205F9A8-97F1-462E-AA9C-D3381D198BE6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9EF2701-BAC5-4D2C-804C-E256789EFCE9}"/>
              </a:ext>
            </a:extLst>
          </p:cNvPr>
          <p:cNvGrpSpPr/>
          <p:nvPr userDrawn="1"/>
        </p:nvGrpSpPr>
        <p:grpSpPr>
          <a:xfrm>
            <a:off x="-228600" y="-2210"/>
            <a:ext cx="200025" cy="1680682"/>
            <a:chOff x="2774400" y="2497769"/>
            <a:chExt cx="345397" cy="2345211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8022BDC-2293-4E4C-BA6C-934813FFC562}"/>
                </a:ext>
              </a:extLst>
            </p:cNvPr>
            <p:cNvSpPr/>
            <p:nvPr/>
          </p:nvSpPr>
          <p:spPr>
            <a:xfrm rot="5400000">
              <a:off x="2818819" y="2751730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11499D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31AFD51-665C-42E7-92D5-06BC2B197697}"/>
                </a:ext>
              </a:extLst>
            </p:cNvPr>
            <p:cNvSpPr/>
            <p:nvPr/>
          </p:nvSpPr>
          <p:spPr>
            <a:xfrm rot="5400000">
              <a:off x="2818819" y="3050109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1761CF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C390395-B19A-4FB3-B1FF-0C4B47F93482}"/>
                </a:ext>
              </a:extLst>
            </p:cNvPr>
            <p:cNvSpPr/>
            <p:nvPr/>
          </p:nvSpPr>
          <p:spPr>
            <a:xfrm rot="5400000">
              <a:off x="2818819" y="3348488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2976E7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6FBD785-35C3-47EC-967F-7C9A145F7187}"/>
                </a:ext>
              </a:extLst>
            </p:cNvPr>
            <p:cNvSpPr/>
            <p:nvPr/>
          </p:nvSpPr>
          <p:spPr>
            <a:xfrm rot="5400000">
              <a:off x="2818819" y="3646867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31ACE2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4E31CC4-6EE0-49BF-AA51-52BD6F4A3B77}"/>
                </a:ext>
              </a:extLst>
            </p:cNvPr>
            <p:cNvSpPr/>
            <p:nvPr/>
          </p:nvSpPr>
          <p:spPr>
            <a:xfrm rot="5400000">
              <a:off x="2818819" y="3945246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04ADD0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28A6344-1EA0-4C7A-9D68-DB3F0B2EA408}"/>
                </a:ext>
              </a:extLst>
            </p:cNvPr>
            <p:cNvSpPr/>
            <p:nvPr/>
          </p:nvSpPr>
          <p:spPr>
            <a:xfrm rot="5400000">
              <a:off x="2818819" y="4243625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62C8CE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881538A-3D0F-43B6-8994-58EDC14D7E70}"/>
                </a:ext>
              </a:extLst>
            </p:cNvPr>
            <p:cNvSpPr/>
            <p:nvPr/>
          </p:nvSpPr>
          <p:spPr>
            <a:xfrm rot="5400000">
              <a:off x="2818819" y="4542002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95D6DC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C6379BF9-8957-42B5-B904-3FDC325D6989}"/>
                </a:ext>
              </a:extLst>
            </p:cNvPr>
            <p:cNvSpPr/>
            <p:nvPr userDrawn="1"/>
          </p:nvSpPr>
          <p:spPr>
            <a:xfrm rot="5400000">
              <a:off x="2818819" y="2453350"/>
              <a:ext cx="256560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0C3457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4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9CE12F0C-3F3D-42DE-9E6D-A04F489EF5C0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89151" y="6469227"/>
            <a:ext cx="1413695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err="1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slb</a:t>
            </a:r>
            <a:r>
              <a:rPr lang="en-US" sz="100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-Privat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77AD1D0-4AEE-4056-9D91-706ED3F41721}"/>
              </a:ext>
            </a:extLst>
          </p:cNvPr>
          <p:cNvSpPr/>
          <p:nvPr userDrawn="1"/>
        </p:nvSpPr>
        <p:spPr>
          <a:xfrm>
            <a:off x="11264775" y="-2211"/>
            <a:ext cx="839436" cy="1081547"/>
          </a:xfrm>
          <a:prstGeom prst="rect">
            <a:avLst/>
          </a:prstGeom>
          <a:solidFill>
            <a:srgbClr val="0F00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SL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NEW ENERGY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2D548D71-41B2-4ACB-910B-52A041461B8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2346" y="6343319"/>
            <a:ext cx="732147" cy="439288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59F8EA9-7D2F-41A1-8C6C-DBA19DB49D67}"/>
              </a:ext>
            </a:extLst>
          </p:cNvPr>
          <p:cNvCxnSpPr>
            <a:cxnSpLocks/>
          </p:cNvCxnSpPr>
          <p:nvPr userDrawn="1"/>
        </p:nvCxnSpPr>
        <p:spPr>
          <a:xfrm>
            <a:off x="507506" y="6272213"/>
            <a:ext cx="11227787" cy="0"/>
          </a:xfrm>
          <a:prstGeom prst="line">
            <a:avLst/>
          </a:prstGeom>
          <a:ln>
            <a:solidFill>
              <a:srgbClr val="0F00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4ADA5A22-FC8E-417B-9F67-604BF7F5DCC0}"/>
              </a:ext>
            </a:extLst>
          </p:cNvPr>
          <p:cNvSpPr txBox="1"/>
          <p:nvPr userDrawn="1"/>
        </p:nvSpPr>
        <p:spPr>
          <a:xfrm>
            <a:off x="933450" y="6423060"/>
            <a:ext cx="9861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0" i="0">
                <a:solidFill>
                  <a:srgbClr val="0F00E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arbon Solutions</a:t>
            </a:r>
            <a:endParaRPr lang="en-US" sz="1000" b="1" i="0" kern="1200">
              <a:solidFill>
                <a:srgbClr val="0F00E6"/>
              </a:solidFill>
              <a:latin typeface="Arial Narrow" panose="020B0604020202020204" pitchFamily="34" charset="0"/>
              <a:ea typeface="ヒラギノ角ゴ Pro W3" pitchFamily="48" charset="-128"/>
              <a:cs typeface="Arial Narrow" panose="020B0604020202020204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0C5FC81-905A-4F8E-9696-F40D330FC484}"/>
              </a:ext>
            </a:extLst>
          </p:cNvPr>
          <p:cNvGrpSpPr/>
          <p:nvPr userDrawn="1"/>
        </p:nvGrpSpPr>
        <p:grpSpPr>
          <a:xfrm>
            <a:off x="1233799" y="1297254"/>
            <a:ext cx="9348499" cy="4889795"/>
            <a:chOff x="1209522" y="1200150"/>
            <a:chExt cx="9348499" cy="4889795"/>
          </a:xfrm>
        </p:grpSpPr>
        <p:sp>
          <p:nvSpPr>
            <p:cNvPr id="28" name="Freeform 3">
              <a:extLst>
                <a:ext uri="{FF2B5EF4-FFF2-40B4-BE49-F238E27FC236}">
                  <a16:creationId xmlns:a16="http://schemas.microsoft.com/office/drawing/2014/main" id="{8D39C025-3F72-4B0E-988B-62938C9406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3321" y="1799508"/>
              <a:ext cx="483806" cy="237368"/>
            </a:xfrm>
            <a:custGeom>
              <a:avLst/>
              <a:gdLst>
                <a:gd name="T0" fmla="*/ 90310 w 509"/>
                <a:gd name="T1" fmla="*/ 41275 h 240"/>
                <a:gd name="T2" fmla="*/ 93478 w 509"/>
                <a:gd name="T3" fmla="*/ 44450 h 240"/>
                <a:gd name="T4" fmla="*/ 90310 w 509"/>
                <a:gd name="T5" fmla="*/ 47625 h 240"/>
                <a:gd name="T6" fmla="*/ 76050 w 509"/>
                <a:gd name="T7" fmla="*/ 44450 h 240"/>
                <a:gd name="T8" fmla="*/ 65752 w 509"/>
                <a:gd name="T9" fmla="*/ 44450 h 240"/>
                <a:gd name="T10" fmla="*/ 55453 w 509"/>
                <a:gd name="T11" fmla="*/ 44450 h 240"/>
                <a:gd name="T12" fmla="*/ 48324 w 509"/>
                <a:gd name="T13" fmla="*/ 47625 h 240"/>
                <a:gd name="T14" fmla="*/ 34064 w 509"/>
                <a:gd name="T15" fmla="*/ 47625 h 240"/>
                <a:gd name="T16" fmla="*/ 30895 w 509"/>
                <a:gd name="T17" fmla="*/ 44450 h 240"/>
                <a:gd name="T18" fmla="*/ 23766 w 509"/>
                <a:gd name="T19" fmla="*/ 44450 h 240"/>
                <a:gd name="T20" fmla="*/ 13467 w 509"/>
                <a:gd name="T21" fmla="*/ 44450 h 240"/>
                <a:gd name="T22" fmla="*/ 6338 w 509"/>
                <a:gd name="T23" fmla="*/ 37306 h 240"/>
                <a:gd name="T24" fmla="*/ 20597 w 509"/>
                <a:gd name="T25" fmla="*/ 34131 h 240"/>
                <a:gd name="T26" fmla="*/ 30895 w 509"/>
                <a:gd name="T27" fmla="*/ 34131 h 240"/>
                <a:gd name="T28" fmla="*/ 23766 w 509"/>
                <a:gd name="T29" fmla="*/ 30956 h 240"/>
                <a:gd name="T30" fmla="*/ 13467 w 509"/>
                <a:gd name="T31" fmla="*/ 30956 h 240"/>
                <a:gd name="T32" fmla="*/ 3169 w 509"/>
                <a:gd name="T33" fmla="*/ 26988 h 240"/>
                <a:gd name="T34" fmla="*/ 10298 w 509"/>
                <a:gd name="T35" fmla="*/ 23813 h 240"/>
                <a:gd name="T36" fmla="*/ 3169 w 509"/>
                <a:gd name="T37" fmla="*/ 23813 h 240"/>
                <a:gd name="T38" fmla="*/ 0 w 509"/>
                <a:gd name="T39" fmla="*/ 20638 h 240"/>
                <a:gd name="T40" fmla="*/ 13467 w 509"/>
                <a:gd name="T41" fmla="*/ 7144 h 240"/>
                <a:gd name="T42" fmla="*/ 23766 w 509"/>
                <a:gd name="T43" fmla="*/ 7144 h 240"/>
                <a:gd name="T44" fmla="*/ 27727 w 509"/>
                <a:gd name="T45" fmla="*/ 13494 h 240"/>
                <a:gd name="T46" fmla="*/ 30895 w 509"/>
                <a:gd name="T47" fmla="*/ 7144 h 240"/>
                <a:gd name="T48" fmla="*/ 41194 w 509"/>
                <a:gd name="T49" fmla="*/ 10319 h 240"/>
                <a:gd name="T50" fmla="*/ 45155 w 509"/>
                <a:gd name="T51" fmla="*/ 13494 h 240"/>
                <a:gd name="T52" fmla="*/ 48324 w 509"/>
                <a:gd name="T53" fmla="*/ 10319 h 240"/>
                <a:gd name="T54" fmla="*/ 55453 w 509"/>
                <a:gd name="T55" fmla="*/ 10319 h 240"/>
                <a:gd name="T56" fmla="*/ 55453 w 509"/>
                <a:gd name="T57" fmla="*/ 17463 h 240"/>
                <a:gd name="T58" fmla="*/ 58622 w 509"/>
                <a:gd name="T59" fmla="*/ 20638 h 240"/>
                <a:gd name="T60" fmla="*/ 58622 w 509"/>
                <a:gd name="T61" fmla="*/ 13494 h 240"/>
                <a:gd name="T62" fmla="*/ 55453 w 509"/>
                <a:gd name="T63" fmla="*/ 7144 h 240"/>
                <a:gd name="T64" fmla="*/ 61791 w 509"/>
                <a:gd name="T65" fmla="*/ 3175 h 240"/>
                <a:gd name="T66" fmla="*/ 65752 w 509"/>
                <a:gd name="T67" fmla="*/ 0 h 240"/>
                <a:gd name="T68" fmla="*/ 72882 w 509"/>
                <a:gd name="T69" fmla="*/ 0 h 240"/>
                <a:gd name="T70" fmla="*/ 76050 w 509"/>
                <a:gd name="T71" fmla="*/ 3175 h 240"/>
                <a:gd name="T72" fmla="*/ 76050 w 509"/>
                <a:gd name="T73" fmla="*/ 10319 h 240"/>
                <a:gd name="T74" fmla="*/ 76050 w 509"/>
                <a:gd name="T75" fmla="*/ 20638 h 240"/>
                <a:gd name="T76" fmla="*/ 83180 w 509"/>
                <a:gd name="T77" fmla="*/ 30956 h 240"/>
                <a:gd name="T78" fmla="*/ 100608 w 509"/>
                <a:gd name="T79" fmla="*/ 37306 h 240"/>
                <a:gd name="T80" fmla="*/ 93478 w 509"/>
                <a:gd name="T81" fmla="*/ 37306 h 24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09"/>
                <a:gd name="T124" fmla="*/ 0 h 240"/>
                <a:gd name="T125" fmla="*/ 509 w 509"/>
                <a:gd name="T126" fmla="*/ 240 h 24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09" h="240">
                  <a:moveTo>
                    <a:pt x="457" y="188"/>
                  </a:moveTo>
                  <a:lnTo>
                    <a:pt x="457" y="205"/>
                  </a:lnTo>
                  <a:lnTo>
                    <a:pt x="457" y="223"/>
                  </a:lnTo>
                  <a:lnTo>
                    <a:pt x="475" y="223"/>
                  </a:lnTo>
                  <a:lnTo>
                    <a:pt x="457" y="223"/>
                  </a:lnTo>
                  <a:lnTo>
                    <a:pt x="457" y="240"/>
                  </a:lnTo>
                  <a:lnTo>
                    <a:pt x="423" y="240"/>
                  </a:lnTo>
                  <a:lnTo>
                    <a:pt x="386" y="223"/>
                  </a:lnTo>
                  <a:lnTo>
                    <a:pt x="369" y="223"/>
                  </a:lnTo>
                  <a:lnTo>
                    <a:pt x="333" y="223"/>
                  </a:lnTo>
                  <a:lnTo>
                    <a:pt x="315" y="223"/>
                  </a:lnTo>
                  <a:lnTo>
                    <a:pt x="281" y="223"/>
                  </a:lnTo>
                  <a:lnTo>
                    <a:pt x="281" y="240"/>
                  </a:lnTo>
                  <a:lnTo>
                    <a:pt x="246" y="240"/>
                  </a:lnTo>
                  <a:lnTo>
                    <a:pt x="210" y="240"/>
                  </a:lnTo>
                  <a:lnTo>
                    <a:pt x="175" y="240"/>
                  </a:lnTo>
                  <a:lnTo>
                    <a:pt x="158" y="240"/>
                  </a:lnTo>
                  <a:lnTo>
                    <a:pt x="158" y="223"/>
                  </a:lnTo>
                  <a:lnTo>
                    <a:pt x="141" y="223"/>
                  </a:lnTo>
                  <a:lnTo>
                    <a:pt x="123" y="223"/>
                  </a:lnTo>
                  <a:lnTo>
                    <a:pt x="106" y="223"/>
                  </a:lnTo>
                  <a:lnTo>
                    <a:pt x="70" y="223"/>
                  </a:lnTo>
                  <a:lnTo>
                    <a:pt x="52" y="205"/>
                  </a:lnTo>
                  <a:lnTo>
                    <a:pt x="35" y="188"/>
                  </a:lnTo>
                  <a:lnTo>
                    <a:pt x="70" y="171"/>
                  </a:lnTo>
                  <a:lnTo>
                    <a:pt x="106" y="171"/>
                  </a:lnTo>
                  <a:lnTo>
                    <a:pt x="141" y="171"/>
                  </a:lnTo>
                  <a:lnTo>
                    <a:pt x="158" y="171"/>
                  </a:lnTo>
                  <a:lnTo>
                    <a:pt x="158" y="154"/>
                  </a:lnTo>
                  <a:lnTo>
                    <a:pt x="123" y="154"/>
                  </a:lnTo>
                  <a:lnTo>
                    <a:pt x="106" y="154"/>
                  </a:lnTo>
                  <a:lnTo>
                    <a:pt x="70" y="154"/>
                  </a:lnTo>
                  <a:lnTo>
                    <a:pt x="35" y="154"/>
                  </a:lnTo>
                  <a:lnTo>
                    <a:pt x="18" y="136"/>
                  </a:lnTo>
                  <a:lnTo>
                    <a:pt x="35" y="119"/>
                  </a:lnTo>
                  <a:lnTo>
                    <a:pt x="52" y="119"/>
                  </a:lnTo>
                  <a:lnTo>
                    <a:pt x="35" y="119"/>
                  </a:lnTo>
                  <a:lnTo>
                    <a:pt x="18" y="119"/>
                  </a:lnTo>
                  <a:lnTo>
                    <a:pt x="0" y="119"/>
                  </a:lnTo>
                  <a:lnTo>
                    <a:pt x="0" y="102"/>
                  </a:lnTo>
                  <a:lnTo>
                    <a:pt x="18" y="67"/>
                  </a:lnTo>
                  <a:lnTo>
                    <a:pt x="70" y="33"/>
                  </a:lnTo>
                  <a:lnTo>
                    <a:pt x="123" y="15"/>
                  </a:lnTo>
                  <a:lnTo>
                    <a:pt x="123" y="33"/>
                  </a:lnTo>
                  <a:lnTo>
                    <a:pt x="141" y="50"/>
                  </a:lnTo>
                  <a:lnTo>
                    <a:pt x="141" y="67"/>
                  </a:lnTo>
                  <a:lnTo>
                    <a:pt x="141" y="50"/>
                  </a:lnTo>
                  <a:lnTo>
                    <a:pt x="158" y="33"/>
                  </a:lnTo>
                  <a:lnTo>
                    <a:pt x="192" y="50"/>
                  </a:lnTo>
                  <a:lnTo>
                    <a:pt x="210" y="50"/>
                  </a:lnTo>
                  <a:lnTo>
                    <a:pt x="210" y="67"/>
                  </a:lnTo>
                  <a:lnTo>
                    <a:pt x="229" y="67"/>
                  </a:lnTo>
                  <a:lnTo>
                    <a:pt x="229" y="50"/>
                  </a:lnTo>
                  <a:lnTo>
                    <a:pt x="246" y="50"/>
                  </a:lnTo>
                  <a:lnTo>
                    <a:pt x="263" y="50"/>
                  </a:lnTo>
                  <a:lnTo>
                    <a:pt x="281" y="50"/>
                  </a:lnTo>
                  <a:lnTo>
                    <a:pt x="281" y="67"/>
                  </a:lnTo>
                  <a:lnTo>
                    <a:pt x="281" y="85"/>
                  </a:lnTo>
                  <a:lnTo>
                    <a:pt x="281" y="102"/>
                  </a:lnTo>
                  <a:lnTo>
                    <a:pt x="298" y="102"/>
                  </a:lnTo>
                  <a:lnTo>
                    <a:pt x="315" y="102"/>
                  </a:lnTo>
                  <a:lnTo>
                    <a:pt x="298" y="67"/>
                  </a:lnTo>
                  <a:lnTo>
                    <a:pt x="298" y="50"/>
                  </a:lnTo>
                  <a:lnTo>
                    <a:pt x="281" y="33"/>
                  </a:lnTo>
                  <a:lnTo>
                    <a:pt x="298" y="15"/>
                  </a:lnTo>
                  <a:lnTo>
                    <a:pt x="315" y="15"/>
                  </a:lnTo>
                  <a:lnTo>
                    <a:pt x="333" y="15"/>
                  </a:lnTo>
                  <a:lnTo>
                    <a:pt x="333" y="0"/>
                  </a:lnTo>
                  <a:lnTo>
                    <a:pt x="350" y="0"/>
                  </a:lnTo>
                  <a:lnTo>
                    <a:pt x="369" y="0"/>
                  </a:lnTo>
                  <a:lnTo>
                    <a:pt x="386" y="0"/>
                  </a:lnTo>
                  <a:lnTo>
                    <a:pt x="386" y="15"/>
                  </a:lnTo>
                  <a:lnTo>
                    <a:pt x="386" y="33"/>
                  </a:lnTo>
                  <a:lnTo>
                    <a:pt x="386" y="50"/>
                  </a:lnTo>
                  <a:lnTo>
                    <a:pt x="386" y="67"/>
                  </a:lnTo>
                  <a:lnTo>
                    <a:pt x="386" y="102"/>
                  </a:lnTo>
                  <a:lnTo>
                    <a:pt x="405" y="119"/>
                  </a:lnTo>
                  <a:lnTo>
                    <a:pt x="423" y="154"/>
                  </a:lnTo>
                  <a:lnTo>
                    <a:pt x="457" y="171"/>
                  </a:lnTo>
                  <a:lnTo>
                    <a:pt x="509" y="188"/>
                  </a:lnTo>
                  <a:lnTo>
                    <a:pt x="492" y="188"/>
                  </a:lnTo>
                  <a:lnTo>
                    <a:pt x="475" y="188"/>
                  </a:lnTo>
                  <a:lnTo>
                    <a:pt x="457" y="188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Freeform 4">
              <a:extLst>
                <a:ext uri="{FF2B5EF4-FFF2-40B4-BE49-F238E27FC236}">
                  <a16:creationId xmlns:a16="http://schemas.microsoft.com/office/drawing/2014/main" id="{D5E25899-6898-40C2-8F40-C11BBF839BF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6655" y="1746098"/>
              <a:ext cx="287618" cy="187918"/>
            </a:xfrm>
            <a:custGeom>
              <a:avLst/>
              <a:gdLst>
                <a:gd name="T0" fmla="*/ 10353 w 301"/>
                <a:gd name="T1" fmla="*/ 34925 h 190"/>
                <a:gd name="T2" fmla="*/ 10353 w 301"/>
                <a:gd name="T3" fmla="*/ 30956 h 190"/>
                <a:gd name="T4" fmla="*/ 7167 w 301"/>
                <a:gd name="T5" fmla="*/ 30956 h 190"/>
                <a:gd name="T6" fmla="*/ 3982 w 301"/>
                <a:gd name="T7" fmla="*/ 30956 h 190"/>
                <a:gd name="T8" fmla="*/ 0 w 301"/>
                <a:gd name="T9" fmla="*/ 27781 h 190"/>
                <a:gd name="T10" fmla="*/ 3982 w 301"/>
                <a:gd name="T11" fmla="*/ 23813 h 190"/>
                <a:gd name="T12" fmla="*/ 10353 w 301"/>
                <a:gd name="T13" fmla="*/ 14288 h 190"/>
                <a:gd name="T14" fmla="*/ 10353 w 301"/>
                <a:gd name="T15" fmla="*/ 10319 h 190"/>
                <a:gd name="T16" fmla="*/ 10353 w 301"/>
                <a:gd name="T17" fmla="*/ 7938 h 190"/>
                <a:gd name="T18" fmla="*/ 10353 w 301"/>
                <a:gd name="T19" fmla="*/ 3969 h 190"/>
                <a:gd name="T20" fmla="*/ 7167 w 301"/>
                <a:gd name="T21" fmla="*/ 3969 h 190"/>
                <a:gd name="T22" fmla="*/ 10353 w 301"/>
                <a:gd name="T23" fmla="*/ 0 h 190"/>
                <a:gd name="T24" fmla="*/ 14335 w 301"/>
                <a:gd name="T25" fmla="*/ 0 h 190"/>
                <a:gd name="T26" fmla="*/ 21502 w 301"/>
                <a:gd name="T27" fmla="*/ 3969 h 190"/>
                <a:gd name="T28" fmla="*/ 24688 w 301"/>
                <a:gd name="T29" fmla="*/ 0 h 190"/>
                <a:gd name="T30" fmla="*/ 27874 w 301"/>
                <a:gd name="T31" fmla="*/ 0 h 190"/>
                <a:gd name="T32" fmla="*/ 31856 w 301"/>
                <a:gd name="T33" fmla="*/ 3969 h 190"/>
                <a:gd name="T34" fmla="*/ 35837 w 301"/>
                <a:gd name="T35" fmla="*/ 3969 h 190"/>
                <a:gd name="T36" fmla="*/ 39023 w 301"/>
                <a:gd name="T37" fmla="*/ 7938 h 190"/>
                <a:gd name="T38" fmla="*/ 43005 w 301"/>
                <a:gd name="T39" fmla="*/ 3969 h 190"/>
                <a:gd name="T40" fmla="*/ 46191 w 301"/>
                <a:gd name="T41" fmla="*/ 3969 h 190"/>
                <a:gd name="T42" fmla="*/ 49376 w 301"/>
                <a:gd name="T43" fmla="*/ 7938 h 190"/>
                <a:gd name="T44" fmla="*/ 56544 w 301"/>
                <a:gd name="T45" fmla="*/ 10319 h 190"/>
                <a:gd name="T46" fmla="*/ 60526 w 301"/>
                <a:gd name="T47" fmla="*/ 10319 h 190"/>
                <a:gd name="T48" fmla="*/ 56544 w 301"/>
                <a:gd name="T49" fmla="*/ 14288 h 190"/>
                <a:gd name="T50" fmla="*/ 49376 w 301"/>
                <a:gd name="T51" fmla="*/ 17463 h 190"/>
                <a:gd name="T52" fmla="*/ 46191 w 301"/>
                <a:gd name="T53" fmla="*/ 17463 h 190"/>
                <a:gd name="T54" fmla="*/ 39023 w 301"/>
                <a:gd name="T55" fmla="*/ 20638 h 190"/>
                <a:gd name="T56" fmla="*/ 35837 w 301"/>
                <a:gd name="T57" fmla="*/ 23813 h 190"/>
                <a:gd name="T58" fmla="*/ 31856 w 301"/>
                <a:gd name="T59" fmla="*/ 30956 h 190"/>
                <a:gd name="T60" fmla="*/ 27874 w 301"/>
                <a:gd name="T61" fmla="*/ 34925 h 190"/>
                <a:gd name="T62" fmla="*/ 21502 w 301"/>
                <a:gd name="T63" fmla="*/ 34925 h 190"/>
                <a:gd name="T64" fmla="*/ 14335 w 301"/>
                <a:gd name="T65" fmla="*/ 38100 h 190"/>
                <a:gd name="T66" fmla="*/ 14335 w 301"/>
                <a:gd name="T67" fmla="*/ 34925 h 190"/>
                <a:gd name="T68" fmla="*/ 10353 w 301"/>
                <a:gd name="T69" fmla="*/ 34925 h 19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01"/>
                <a:gd name="T106" fmla="*/ 0 h 190"/>
                <a:gd name="T107" fmla="*/ 301 w 301"/>
                <a:gd name="T108" fmla="*/ 190 h 19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01" h="190">
                  <a:moveTo>
                    <a:pt x="51" y="173"/>
                  </a:moveTo>
                  <a:lnTo>
                    <a:pt x="51" y="156"/>
                  </a:lnTo>
                  <a:lnTo>
                    <a:pt x="34" y="156"/>
                  </a:lnTo>
                  <a:lnTo>
                    <a:pt x="17" y="156"/>
                  </a:lnTo>
                  <a:lnTo>
                    <a:pt x="0" y="139"/>
                  </a:lnTo>
                  <a:lnTo>
                    <a:pt x="17" y="121"/>
                  </a:lnTo>
                  <a:lnTo>
                    <a:pt x="51" y="69"/>
                  </a:lnTo>
                  <a:lnTo>
                    <a:pt x="51" y="54"/>
                  </a:lnTo>
                  <a:lnTo>
                    <a:pt x="51" y="37"/>
                  </a:lnTo>
                  <a:lnTo>
                    <a:pt x="51" y="20"/>
                  </a:lnTo>
                  <a:lnTo>
                    <a:pt x="34" y="20"/>
                  </a:lnTo>
                  <a:lnTo>
                    <a:pt x="51" y="0"/>
                  </a:lnTo>
                  <a:lnTo>
                    <a:pt x="71" y="0"/>
                  </a:lnTo>
                  <a:lnTo>
                    <a:pt x="105" y="20"/>
                  </a:lnTo>
                  <a:lnTo>
                    <a:pt x="122" y="0"/>
                  </a:lnTo>
                  <a:lnTo>
                    <a:pt x="140" y="0"/>
                  </a:lnTo>
                  <a:lnTo>
                    <a:pt x="159" y="20"/>
                  </a:lnTo>
                  <a:lnTo>
                    <a:pt x="178" y="20"/>
                  </a:lnTo>
                  <a:lnTo>
                    <a:pt x="195" y="37"/>
                  </a:lnTo>
                  <a:lnTo>
                    <a:pt x="213" y="20"/>
                  </a:lnTo>
                  <a:lnTo>
                    <a:pt x="230" y="20"/>
                  </a:lnTo>
                  <a:lnTo>
                    <a:pt x="247" y="37"/>
                  </a:lnTo>
                  <a:lnTo>
                    <a:pt x="284" y="54"/>
                  </a:lnTo>
                  <a:lnTo>
                    <a:pt x="301" y="54"/>
                  </a:lnTo>
                  <a:lnTo>
                    <a:pt x="284" y="69"/>
                  </a:lnTo>
                  <a:lnTo>
                    <a:pt x="247" y="87"/>
                  </a:lnTo>
                  <a:lnTo>
                    <a:pt x="230" y="87"/>
                  </a:lnTo>
                  <a:lnTo>
                    <a:pt x="195" y="104"/>
                  </a:lnTo>
                  <a:lnTo>
                    <a:pt x="178" y="121"/>
                  </a:lnTo>
                  <a:lnTo>
                    <a:pt x="159" y="156"/>
                  </a:lnTo>
                  <a:lnTo>
                    <a:pt x="140" y="173"/>
                  </a:lnTo>
                  <a:lnTo>
                    <a:pt x="105" y="173"/>
                  </a:lnTo>
                  <a:lnTo>
                    <a:pt x="71" y="190"/>
                  </a:lnTo>
                  <a:lnTo>
                    <a:pt x="71" y="173"/>
                  </a:lnTo>
                  <a:lnTo>
                    <a:pt x="51" y="173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383F7EE8-BC1F-40B6-8963-D743A08697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7607" y="1627414"/>
              <a:ext cx="312378" cy="136487"/>
            </a:xfrm>
            <a:custGeom>
              <a:avLst/>
              <a:gdLst>
                <a:gd name="T0" fmla="*/ 20637 w 328"/>
                <a:gd name="T1" fmla="*/ 23813 h 138"/>
                <a:gd name="T2" fmla="*/ 20637 w 328"/>
                <a:gd name="T3" fmla="*/ 23813 h 138"/>
                <a:gd name="T4" fmla="*/ 23812 w 328"/>
                <a:gd name="T5" fmla="*/ 19844 h 138"/>
                <a:gd name="T6" fmla="*/ 20637 w 328"/>
                <a:gd name="T7" fmla="*/ 16669 h 138"/>
                <a:gd name="T8" fmla="*/ 16669 w 328"/>
                <a:gd name="T9" fmla="*/ 19844 h 138"/>
                <a:gd name="T10" fmla="*/ 10319 w 328"/>
                <a:gd name="T11" fmla="*/ 19844 h 138"/>
                <a:gd name="T12" fmla="*/ 3969 w 328"/>
                <a:gd name="T13" fmla="*/ 19844 h 138"/>
                <a:gd name="T14" fmla="*/ 0 w 328"/>
                <a:gd name="T15" fmla="*/ 16669 h 138"/>
                <a:gd name="T16" fmla="*/ 3969 w 328"/>
                <a:gd name="T17" fmla="*/ 13494 h 138"/>
                <a:gd name="T18" fmla="*/ 10319 w 328"/>
                <a:gd name="T19" fmla="*/ 13494 h 138"/>
                <a:gd name="T20" fmla="*/ 10319 w 328"/>
                <a:gd name="T21" fmla="*/ 13494 h 138"/>
                <a:gd name="T22" fmla="*/ 3969 w 328"/>
                <a:gd name="T23" fmla="*/ 13494 h 138"/>
                <a:gd name="T24" fmla="*/ 7144 w 328"/>
                <a:gd name="T25" fmla="*/ 9525 h 138"/>
                <a:gd name="T26" fmla="*/ 14288 w 328"/>
                <a:gd name="T27" fmla="*/ 9525 h 138"/>
                <a:gd name="T28" fmla="*/ 14288 w 328"/>
                <a:gd name="T29" fmla="*/ 9525 h 138"/>
                <a:gd name="T30" fmla="*/ 7144 w 328"/>
                <a:gd name="T31" fmla="*/ 9525 h 138"/>
                <a:gd name="T32" fmla="*/ 10319 w 328"/>
                <a:gd name="T33" fmla="*/ 7144 h 138"/>
                <a:gd name="T34" fmla="*/ 10319 w 328"/>
                <a:gd name="T35" fmla="*/ 3175 h 138"/>
                <a:gd name="T36" fmla="*/ 16669 w 328"/>
                <a:gd name="T37" fmla="*/ 3175 h 138"/>
                <a:gd name="T38" fmla="*/ 23812 w 328"/>
                <a:gd name="T39" fmla="*/ 7144 h 138"/>
                <a:gd name="T40" fmla="*/ 34131 w 328"/>
                <a:gd name="T41" fmla="*/ 13494 h 138"/>
                <a:gd name="T42" fmla="*/ 44450 w 328"/>
                <a:gd name="T43" fmla="*/ 13494 h 138"/>
                <a:gd name="T44" fmla="*/ 44450 w 328"/>
                <a:gd name="T45" fmla="*/ 13494 h 138"/>
                <a:gd name="T46" fmla="*/ 44450 w 328"/>
                <a:gd name="T47" fmla="*/ 9525 h 138"/>
                <a:gd name="T48" fmla="*/ 40481 w 328"/>
                <a:gd name="T49" fmla="*/ 7144 h 138"/>
                <a:gd name="T50" fmla="*/ 37306 w 328"/>
                <a:gd name="T51" fmla="*/ 3175 h 138"/>
                <a:gd name="T52" fmla="*/ 44450 w 328"/>
                <a:gd name="T53" fmla="*/ 0 h 138"/>
                <a:gd name="T54" fmla="*/ 47625 w 328"/>
                <a:gd name="T55" fmla="*/ 3175 h 138"/>
                <a:gd name="T56" fmla="*/ 51594 w 328"/>
                <a:gd name="T57" fmla="*/ 9525 h 138"/>
                <a:gd name="T58" fmla="*/ 61913 w 328"/>
                <a:gd name="T59" fmla="*/ 7144 h 138"/>
                <a:gd name="T60" fmla="*/ 65088 w 328"/>
                <a:gd name="T61" fmla="*/ 9525 h 138"/>
                <a:gd name="T62" fmla="*/ 61913 w 328"/>
                <a:gd name="T63" fmla="*/ 19844 h 138"/>
                <a:gd name="T64" fmla="*/ 47625 w 328"/>
                <a:gd name="T65" fmla="*/ 19844 h 138"/>
                <a:gd name="T66" fmla="*/ 37306 w 328"/>
                <a:gd name="T67" fmla="*/ 23813 h 138"/>
                <a:gd name="T68" fmla="*/ 30956 w 328"/>
                <a:gd name="T69" fmla="*/ 23813 h 138"/>
                <a:gd name="T70" fmla="*/ 23812 w 328"/>
                <a:gd name="T71" fmla="*/ 27781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28"/>
                <a:gd name="T109" fmla="*/ 0 h 138"/>
                <a:gd name="T110" fmla="*/ 328 w 328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28" h="138">
                  <a:moveTo>
                    <a:pt x="121" y="138"/>
                  </a:moveTo>
                  <a:lnTo>
                    <a:pt x="104" y="120"/>
                  </a:lnTo>
                  <a:lnTo>
                    <a:pt x="86" y="120"/>
                  </a:lnTo>
                  <a:lnTo>
                    <a:pt x="104" y="120"/>
                  </a:lnTo>
                  <a:lnTo>
                    <a:pt x="121" y="120"/>
                  </a:lnTo>
                  <a:lnTo>
                    <a:pt x="121" y="103"/>
                  </a:lnTo>
                  <a:lnTo>
                    <a:pt x="104" y="103"/>
                  </a:lnTo>
                  <a:lnTo>
                    <a:pt x="104" y="86"/>
                  </a:lnTo>
                  <a:lnTo>
                    <a:pt x="86" y="86"/>
                  </a:lnTo>
                  <a:lnTo>
                    <a:pt x="86" y="103"/>
                  </a:lnTo>
                  <a:lnTo>
                    <a:pt x="69" y="103"/>
                  </a:lnTo>
                  <a:lnTo>
                    <a:pt x="52" y="103"/>
                  </a:lnTo>
                  <a:lnTo>
                    <a:pt x="34" y="103"/>
                  </a:lnTo>
                  <a:lnTo>
                    <a:pt x="17" y="103"/>
                  </a:lnTo>
                  <a:lnTo>
                    <a:pt x="0" y="103"/>
                  </a:lnTo>
                  <a:lnTo>
                    <a:pt x="0" y="86"/>
                  </a:lnTo>
                  <a:lnTo>
                    <a:pt x="0" y="69"/>
                  </a:lnTo>
                  <a:lnTo>
                    <a:pt x="17" y="69"/>
                  </a:lnTo>
                  <a:lnTo>
                    <a:pt x="34" y="69"/>
                  </a:lnTo>
                  <a:lnTo>
                    <a:pt x="52" y="69"/>
                  </a:lnTo>
                  <a:lnTo>
                    <a:pt x="69" y="69"/>
                  </a:lnTo>
                  <a:lnTo>
                    <a:pt x="52" y="69"/>
                  </a:lnTo>
                  <a:lnTo>
                    <a:pt x="34" y="69"/>
                  </a:lnTo>
                  <a:lnTo>
                    <a:pt x="17" y="69"/>
                  </a:lnTo>
                  <a:lnTo>
                    <a:pt x="17" y="51"/>
                  </a:lnTo>
                  <a:lnTo>
                    <a:pt x="34" y="51"/>
                  </a:lnTo>
                  <a:lnTo>
                    <a:pt x="52" y="51"/>
                  </a:lnTo>
                  <a:lnTo>
                    <a:pt x="69" y="51"/>
                  </a:lnTo>
                  <a:lnTo>
                    <a:pt x="86" y="51"/>
                  </a:lnTo>
                  <a:lnTo>
                    <a:pt x="69" y="51"/>
                  </a:lnTo>
                  <a:lnTo>
                    <a:pt x="52" y="51"/>
                  </a:lnTo>
                  <a:lnTo>
                    <a:pt x="34" y="51"/>
                  </a:lnTo>
                  <a:lnTo>
                    <a:pt x="34" y="34"/>
                  </a:lnTo>
                  <a:lnTo>
                    <a:pt x="52" y="34"/>
                  </a:lnTo>
                  <a:lnTo>
                    <a:pt x="69" y="34"/>
                  </a:lnTo>
                  <a:lnTo>
                    <a:pt x="52" y="17"/>
                  </a:lnTo>
                  <a:lnTo>
                    <a:pt x="69" y="17"/>
                  </a:lnTo>
                  <a:lnTo>
                    <a:pt x="86" y="17"/>
                  </a:lnTo>
                  <a:lnTo>
                    <a:pt x="104" y="34"/>
                  </a:lnTo>
                  <a:lnTo>
                    <a:pt x="121" y="34"/>
                  </a:lnTo>
                  <a:lnTo>
                    <a:pt x="138" y="51"/>
                  </a:lnTo>
                  <a:lnTo>
                    <a:pt x="173" y="69"/>
                  </a:lnTo>
                  <a:lnTo>
                    <a:pt x="207" y="69"/>
                  </a:lnTo>
                  <a:lnTo>
                    <a:pt x="225" y="69"/>
                  </a:lnTo>
                  <a:lnTo>
                    <a:pt x="242" y="69"/>
                  </a:lnTo>
                  <a:lnTo>
                    <a:pt x="225" y="69"/>
                  </a:lnTo>
                  <a:lnTo>
                    <a:pt x="207" y="69"/>
                  </a:lnTo>
                  <a:lnTo>
                    <a:pt x="225" y="51"/>
                  </a:lnTo>
                  <a:lnTo>
                    <a:pt x="225" y="34"/>
                  </a:lnTo>
                  <a:lnTo>
                    <a:pt x="207" y="34"/>
                  </a:lnTo>
                  <a:lnTo>
                    <a:pt x="190" y="34"/>
                  </a:lnTo>
                  <a:lnTo>
                    <a:pt x="190" y="17"/>
                  </a:lnTo>
                  <a:lnTo>
                    <a:pt x="207" y="0"/>
                  </a:lnTo>
                  <a:lnTo>
                    <a:pt x="225" y="0"/>
                  </a:lnTo>
                  <a:lnTo>
                    <a:pt x="242" y="0"/>
                  </a:lnTo>
                  <a:lnTo>
                    <a:pt x="242" y="17"/>
                  </a:lnTo>
                  <a:lnTo>
                    <a:pt x="242" y="34"/>
                  </a:lnTo>
                  <a:lnTo>
                    <a:pt x="259" y="51"/>
                  </a:lnTo>
                  <a:lnTo>
                    <a:pt x="294" y="51"/>
                  </a:lnTo>
                  <a:lnTo>
                    <a:pt x="311" y="34"/>
                  </a:lnTo>
                  <a:lnTo>
                    <a:pt x="311" y="51"/>
                  </a:lnTo>
                  <a:lnTo>
                    <a:pt x="328" y="51"/>
                  </a:lnTo>
                  <a:lnTo>
                    <a:pt x="328" y="69"/>
                  </a:lnTo>
                  <a:lnTo>
                    <a:pt x="311" y="103"/>
                  </a:lnTo>
                  <a:lnTo>
                    <a:pt x="294" y="103"/>
                  </a:lnTo>
                  <a:lnTo>
                    <a:pt x="242" y="103"/>
                  </a:lnTo>
                  <a:lnTo>
                    <a:pt x="225" y="120"/>
                  </a:lnTo>
                  <a:lnTo>
                    <a:pt x="190" y="120"/>
                  </a:lnTo>
                  <a:lnTo>
                    <a:pt x="173" y="120"/>
                  </a:lnTo>
                  <a:lnTo>
                    <a:pt x="155" y="120"/>
                  </a:lnTo>
                  <a:lnTo>
                    <a:pt x="138" y="120"/>
                  </a:lnTo>
                  <a:lnTo>
                    <a:pt x="121" y="138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D2600C97-D213-475C-B624-E8ECAD2CF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0466" y="1591808"/>
              <a:ext cx="186665" cy="102860"/>
            </a:xfrm>
            <a:custGeom>
              <a:avLst/>
              <a:gdLst>
                <a:gd name="T0" fmla="*/ 38894 w 196"/>
                <a:gd name="T1" fmla="*/ 0 h 104"/>
                <a:gd name="T2" fmla="*/ 38894 w 196"/>
                <a:gd name="T3" fmla="*/ 3969 h 104"/>
                <a:gd name="T4" fmla="*/ 35719 w 196"/>
                <a:gd name="T5" fmla="*/ 3969 h 104"/>
                <a:gd name="T6" fmla="*/ 35719 w 196"/>
                <a:gd name="T7" fmla="*/ 7144 h 104"/>
                <a:gd name="T8" fmla="*/ 38894 w 196"/>
                <a:gd name="T9" fmla="*/ 7144 h 104"/>
                <a:gd name="T10" fmla="*/ 35719 w 196"/>
                <a:gd name="T11" fmla="*/ 7144 h 104"/>
                <a:gd name="T12" fmla="*/ 28575 w 196"/>
                <a:gd name="T13" fmla="*/ 14288 h 104"/>
                <a:gd name="T14" fmla="*/ 24606 w 196"/>
                <a:gd name="T15" fmla="*/ 10319 h 104"/>
                <a:gd name="T16" fmla="*/ 24606 w 196"/>
                <a:gd name="T17" fmla="*/ 7144 h 104"/>
                <a:gd name="T18" fmla="*/ 20637 w 196"/>
                <a:gd name="T19" fmla="*/ 10319 h 104"/>
                <a:gd name="T20" fmla="*/ 20637 w 196"/>
                <a:gd name="T21" fmla="*/ 14288 h 104"/>
                <a:gd name="T22" fmla="*/ 18256 w 196"/>
                <a:gd name="T23" fmla="*/ 14288 h 104"/>
                <a:gd name="T24" fmla="*/ 18256 w 196"/>
                <a:gd name="T25" fmla="*/ 17463 h 104"/>
                <a:gd name="T26" fmla="*/ 18256 w 196"/>
                <a:gd name="T27" fmla="*/ 20638 h 104"/>
                <a:gd name="T28" fmla="*/ 14288 w 196"/>
                <a:gd name="T29" fmla="*/ 20638 h 104"/>
                <a:gd name="T30" fmla="*/ 10319 w 196"/>
                <a:gd name="T31" fmla="*/ 20638 h 104"/>
                <a:gd name="T32" fmla="*/ 10319 w 196"/>
                <a:gd name="T33" fmla="*/ 17463 h 104"/>
                <a:gd name="T34" fmla="*/ 7144 w 196"/>
                <a:gd name="T35" fmla="*/ 17463 h 104"/>
                <a:gd name="T36" fmla="*/ 3969 w 196"/>
                <a:gd name="T37" fmla="*/ 17463 h 104"/>
                <a:gd name="T38" fmla="*/ 0 w 196"/>
                <a:gd name="T39" fmla="*/ 17463 h 104"/>
                <a:gd name="T40" fmla="*/ 0 w 196"/>
                <a:gd name="T41" fmla="*/ 14288 h 104"/>
                <a:gd name="T42" fmla="*/ 3969 w 196"/>
                <a:gd name="T43" fmla="*/ 10319 h 104"/>
                <a:gd name="T44" fmla="*/ 7144 w 196"/>
                <a:gd name="T45" fmla="*/ 10319 h 104"/>
                <a:gd name="T46" fmla="*/ 10319 w 196"/>
                <a:gd name="T47" fmla="*/ 7144 h 104"/>
                <a:gd name="T48" fmla="*/ 14288 w 196"/>
                <a:gd name="T49" fmla="*/ 7144 h 104"/>
                <a:gd name="T50" fmla="*/ 18256 w 196"/>
                <a:gd name="T51" fmla="*/ 7144 h 104"/>
                <a:gd name="T52" fmla="*/ 18256 w 196"/>
                <a:gd name="T53" fmla="*/ 3969 h 104"/>
                <a:gd name="T54" fmla="*/ 20637 w 196"/>
                <a:gd name="T55" fmla="*/ 0 h 104"/>
                <a:gd name="T56" fmla="*/ 24606 w 196"/>
                <a:gd name="T57" fmla="*/ 0 h 104"/>
                <a:gd name="T58" fmla="*/ 28575 w 196"/>
                <a:gd name="T59" fmla="*/ 0 h 104"/>
                <a:gd name="T60" fmla="*/ 35719 w 196"/>
                <a:gd name="T61" fmla="*/ 0 h 104"/>
                <a:gd name="T62" fmla="*/ 38894 w 196"/>
                <a:gd name="T63" fmla="*/ 0 h 10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96"/>
                <a:gd name="T97" fmla="*/ 0 h 104"/>
                <a:gd name="T98" fmla="*/ 196 w 196"/>
                <a:gd name="T99" fmla="*/ 104 h 10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96" h="104">
                  <a:moveTo>
                    <a:pt x="196" y="0"/>
                  </a:moveTo>
                  <a:lnTo>
                    <a:pt x="196" y="17"/>
                  </a:lnTo>
                  <a:lnTo>
                    <a:pt x="177" y="17"/>
                  </a:lnTo>
                  <a:lnTo>
                    <a:pt x="177" y="35"/>
                  </a:lnTo>
                  <a:lnTo>
                    <a:pt x="196" y="35"/>
                  </a:lnTo>
                  <a:lnTo>
                    <a:pt x="177" y="35"/>
                  </a:lnTo>
                  <a:lnTo>
                    <a:pt x="142" y="69"/>
                  </a:lnTo>
                  <a:lnTo>
                    <a:pt x="125" y="52"/>
                  </a:lnTo>
                  <a:lnTo>
                    <a:pt x="125" y="35"/>
                  </a:lnTo>
                  <a:lnTo>
                    <a:pt x="107" y="52"/>
                  </a:lnTo>
                  <a:lnTo>
                    <a:pt x="107" y="69"/>
                  </a:lnTo>
                  <a:lnTo>
                    <a:pt x="90" y="69"/>
                  </a:lnTo>
                  <a:lnTo>
                    <a:pt x="90" y="86"/>
                  </a:lnTo>
                  <a:lnTo>
                    <a:pt x="90" y="104"/>
                  </a:lnTo>
                  <a:lnTo>
                    <a:pt x="69" y="104"/>
                  </a:lnTo>
                  <a:lnTo>
                    <a:pt x="52" y="104"/>
                  </a:lnTo>
                  <a:lnTo>
                    <a:pt x="52" y="86"/>
                  </a:lnTo>
                  <a:lnTo>
                    <a:pt x="34" y="86"/>
                  </a:lnTo>
                  <a:lnTo>
                    <a:pt x="17" y="86"/>
                  </a:lnTo>
                  <a:lnTo>
                    <a:pt x="0" y="86"/>
                  </a:lnTo>
                  <a:lnTo>
                    <a:pt x="0" y="69"/>
                  </a:lnTo>
                  <a:lnTo>
                    <a:pt x="17" y="52"/>
                  </a:lnTo>
                  <a:lnTo>
                    <a:pt x="34" y="52"/>
                  </a:lnTo>
                  <a:lnTo>
                    <a:pt x="52" y="35"/>
                  </a:lnTo>
                  <a:lnTo>
                    <a:pt x="69" y="35"/>
                  </a:lnTo>
                  <a:lnTo>
                    <a:pt x="90" y="35"/>
                  </a:lnTo>
                  <a:lnTo>
                    <a:pt x="90" y="17"/>
                  </a:lnTo>
                  <a:lnTo>
                    <a:pt x="107" y="0"/>
                  </a:lnTo>
                  <a:lnTo>
                    <a:pt x="125" y="0"/>
                  </a:lnTo>
                  <a:lnTo>
                    <a:pt x="142" y="0"/>
                  </a:lnTo>
                  <a:lnTo>
                    <a:pt x="177" y="0"/>
                  </a:lnTo>
                  <a:lnTo>
                    <a:pt x="196" y="0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 7">
              <a:extLst>
                <a:ext uri="{FF2B5EF4-FFF2-40B4-BE49-F238E27FC236}">
                  <a16:creationId xmlns:a16="http://schemas.microsoft.com/office/drawing/2014/main" id="{649777D8-9FB7-4216-9F98-C4046783916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9988" y="1524553"/>
              <a:ext cx="100952" cy="35606"/>
            </a:xfrm>
            <a:custGeom>
              <a:avLst/>
              <a:gdLst>
                <a:gd name="T0" fmla="*/ 7144 w 106"/>
                <a:gd name="T1" fmla="*/ 7144 h 36"/>
                <a:gd name="T2" fmla="*/ 3969 w 106"/>
                <a:gd name="T3" fmla="*/ 3969 h 36"/>
                <a:gd name="T4" fmla="*/ 0 w 106"/>
                <a:gd name="T5" fmla="*/ 3969 h 36"/>
                <a:gd name="T6" fmla="*/ 0 w 106"/>
                <a:gd name="T7" fmla="*/ 7144 h 36"/>
                <a:gd name="T8" fmla="*/ 0 w 106"/>
                <a:gd name="T9" fmla="*/ 0 h 36"/>
                <a:gd name="T10" fmla="*/ 7144 w 106"/>
                <a:gd name="T11" fmla="*/ 0 h 36"/>
                <a:gd name="T12" fmla="*/ 10319 w 106"/>
                <a:gd name="T13" fmla="*/ 0 h 36"/>
                <a:gd name="T14" fmla="*/ 14288 w 106"/>
                <a:gd name="T15" fmla="*/ 0 h 36"/>
                <a:gd name="T16" fmla="*/ 17463 w 106"/>
                <a:gd name="T17" fmla="*/ 0 h 36"/>
                <a:gd name="T18" fmla="*/ 21431 w 106"/>
                <a:gd name="T19" fmla="*/ 3969 h 36"/>
                <a:gd name="T20" fmla="*/ 17463 w 106"/>
                <a:gd name="T21" fmla="*/ 3969 h 36"/>
                <a:gd name="T22" fmla="*/ 14288 w 106"/>
                <a:gd name="T23" fmla="*/ 7144 h 36"/>
                <a:gd name="T24" fmla="*/ 10319 w 106"/>
                <a:gd name="T25" fmla="*/ 7144 h 36"/>
                <a:gd name="T26" fmla="*/ 7144 w 106"/>
                <a:gd name="T27" fmla="*/ 7144 h 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06"/>
                <a:gd name="T43" fmla="*/ 0 h 36"/>
                <a:gd name="T44" fmla="*/ 106 w 106"/>
                <a:gd name="T45" fmla="*/ 36 h 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06" h="36">
                  <a:moveTo>
                    <a:pt x="36" y="36"/>
                  </a:moveTo>
                  <a:lnTo>
                    <a:pt x="17" y="17"/>
                  </a:lnTo>
                  <a:lnTo>
                    <a:pt x="0" y="17"/>
                  </a:lnTo>
                  <a:lnTo>
                    <a:pt x="0" y="36"/>
                  </a:lnTo>
                  <a:lnTo>
                    <a:pt x="0" y="0"/>
                  </a:lnTo>
                  <a:lnTo>
                    <a:pt x="36" y="0"/>
                  </a:lnTo>
                  <a:lnTo>
                    <a:pt x="54" y="0"/>
                  </a:lnTo>
                  <a:lnTo>
                    <a:pt x="71" y="0"/>
                  </a:lnTo>
                  <a:lnTo>
                    <a:pt x="88" y="0"/>
                  </a:lnTo>
                  <a:lnTo>
                    <a:pt x="106" y="17"/>
                  </a:lnTo>
                  <a:lnTo>
                    <a:pt x="88" y="17"/>
                  </a:lnTo>
                  <a:lnTo>
                    <a:pt x="71" y="36"/>
                  </a:lnTo>
                  <a:lnTo>
                    <a:pt x="54" y="36"/>
                  </a:lnTo>
                  <a:lnTo>
                    <a:pt x="36" y="36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7A1E5ADA-C975-46CF-B71F-6F3A9DFD55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9988" y="1560159"/>
              <a:ext cx="85713" cy="51431"/>
            </a:xfrm>
            <a:custGeom>
              <a:avLst/>
              <a:gdLst>
                <a:gd name="T0" fmla="*/ 14612 w 88"/>
                <a:gd name="T1" fmla="*/ 3969 h 52"/>
                <a:gd name="T2" fmla="*/ 11365 w 88"/>
                <a:gd name="T3" fmla="*/ 7144 h 52"/>
                <a:gd name="T4" fmla="*/ 4059 w 88"/>
                <a:gd name="T5" fmla="*/ 10319 h 52"/>
                <a:gd name="T6" fmla="*/ 0 w 88"/>
                <a:gd name="T7" fmla="*/ 7144 h 52"/>
                <a:gd name="T8" fmla="*/ 0 w 88"/>
                <a:gd name="T9" fmla="*/ 3969 h 52"/>
                <a:gd name="T10" fmla="*/ 0 w 88"/>
                <a:gd name="T11" fmla="*/ 0 h 52"/>
                <a:gd name="T12" fmla="*/ 11365 w 88"/>
                <a:gd name="T13" fmla="*/ 0 h 52"/>
                <a:gd name="T14" fmla="*/ 14612 w 88"/>
                <a:gd name="T15" fmla="*/ 0 h 52"/>
                <a:gd name="T16" fmla="*/ 18671 w 88"/>
                <a:gd name="T17" fmla="*/ 0 h 52"/>
                <a:gd name="T18" fmla="*/ 18671 w 88"/>
                <a:gd name="T19" fmla="*/ 3969 h 52"/>
                <a:gd name="T20" fmla="*/ 14612 w 88"/>
                <a:gd name="T21" fmla="*/ 3969 h 52"/>
                <a:gd name="T22" fmla="*/ 11365 w 88"/>
                <a:gd name="T23" fmla="*/ 3969 h 52"/>
                <a:gd name="T24" fmla="*/ 14612 w 88"/>
                <a:gd name="T25" fmla="*/ 3969 h 5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8"/>
                <a:gd name="T40" fmla="*/ 0 h 52"/>
                <a:gd name="T41" fmla="*/ 88 w 88"/>
                <a:gd name="T42" fmla="*/ 52 h 5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8" h="52">
                  <a:moveTo>
                    <a:pt x="71" y="18"/>
                  </a:moveTo>
                  <a:lnTo>
                    <a:pt x="54" y="35"/>
                  </a:lnTo>
                  <a:lnTo>
                    <a:pt x="17" y="52"/>
                  </a:lnTo>
                  <a:lnTo>
                    <a:pt x="0" y="35"/>
                  </a:lnTo>
                  <a:lnTo>
                    <a:pt x="0" y="18"/>
                  </a:lnTo>
                  <a:lnTo>
                    <a:pt x="0" y="0"/>
                  </a:lnTo>
                  <a:lnTo>
                    <a:pt x="54" y="0"/>
                  </a:lnTo>
                  <a:lnTo>
                    <a:pt x="71" y="0"/>
                  </a:lnTo>
                  <a:lnTo>
                    <a:pt x="88" y="0"/>
                  </a:lnTo>
                  <a:lnTo>
                    <a:pt x="88" y="18"/>
                  </a:lnTo>
                  <a:lnTo>
                    <a:pt x="71" y="18"/>
                  </a:lnTo>
                  <a:lnTo>
                    <a:pt x="54" y="18"/>
                  </a:lnTo>
                  <a:lnTo>
                    <a:pt x="71" y="18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Freeform 9">
              <a:extLst>
                <a:ext uri="{FF2B5EF4-FFF2-40B4-BE49-F238E27FC236}">
                  <a16:creationId xmlns:a16="http://schemas.microsoft.com/office/drawing/2014/main" id="{AB37EC46-47EA-4696-9BDA-13E7B50DC1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4274" y="1627414"/>
              <a:ext cx="32381" cy="0"/>
            </a:xfrm>
            <a:custGeom>
              <a:avLst/>
              <a:gdLst>
                <a:gd name="T0" fmla="*/ 3084 w 35"/>
                <a:gd name="T1" fmla="*/ 0 w 35"/>
                <a:gd name="T2" fmla="*/ 3084 w 35"/>
                <a:gd name="T3" fmla="*/ 6169 w 35"/>
                <a:gd name="T4" fmla="*/ 3084 w 35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  <a:gd name="T10" fmla="*/ 0 w 35"/>
                <a:gd name="T11" fmla="*/ 35 w 35"/>
              </a:gdLst>
              <a:ahLst/>
              <a:cxnLst>
                <a:cxn ang="T5">
                  <a:pos x="T0" y="0"/>
                </a:cxn>
                <a:cxn ang="T6">
                  <a:pos x="T1" y="0"/>
                </a:cxn>
                <a:cxn ang="T7">
                  <a:pos x="T2" y="0"/>
                </a:cxn>
                <a:cxn ang="T8">
                  <a:pos x="T3" y="0"/>
                </a:cxn>
                <a:cxn ang="T9">
                  <a:pos x="T4" y="0"/>
                </a:cxn>
              </a:cxnLst>
              <a:rect l="T10" t="0" r="T11" b="0"/>
              <a:pathLst>
                <a:path w="35">
                  <a:moveTo>
                    <a:pt x="17" y="0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35" y="0"/>
                  </a:lnTo>
                  <a:lnTo>
                    <a:pt x="17" y="0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446232D5-5061-4D5D-A0F3-751D9AECC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0937" y="1627414"/>
              <a:ext cx="184762" cy="104837"/>
            </a:xfrm>
            <a:custGeom>
              <a:avLst/>
              <a:gdLst>
                <a:gd name="T0" fmla="*/ 3969 w 194"/>
                <a:gd name="T1" fmla="*/ 7212 h 105"/>
                <a:gd name="T2" fmla="*/ 3969 w 194"/>
                <a:gd name="T3" fmla="*/ 4007 h 105"/>
                <a:gd name="T4" fmla="*/ 0 w 194"/>
                <a:gd name="T5" fmla="*/ 0 h 105"/>
                <a:gd name="T6" fmla="*/ 3969 w 194"/>
                <a:gd name="T7" fmla="*/ 0 h 105"/>
                <a:gd name="T8" fmla="*/ 10319 w 194"/>
                <a:gd name="T9" fmla="*/ 4007 h 105"/>
                <a:gd name="T10" fmla="*/ 14288 w 194"/>
                <a:gd name="T11" fmla="*/ 11218 h 105"/>
                <a:gd name="T12" fmla="*/ 20638 w 194"/>
                <a:gd name="T13" fmla="*/ 11218 h 105"/>
                <a:gd name="T14" fmla="*/ 18256 w 194"/>
                <a:gd name="T15" fmla="*/ 11218 h 105"/>
                <a:gd name="T16" fmla="*/ 14288 w 194"/>
                <a:gd name="T17" fmla="*/ 7212 h 105"/>
                <a:gd name="T18" fmla="*/ 14288 w 194"/>
                <a:gd name="T19" fmla="*/ 4007 h 105"/>
                <a:gd name="T20" fmla="*/ 18256 w 194"/>
                <a:gd name="T21" fmla="*/ 7212 h 105"/>
                <a:gd name="T22" fmla="*/ 24606 w 194"/>
                <a:gd name="T23" fmla="*/ 7212 h 105"/>
                <a:gd name="T24" fmla="*/ 24606 w 194"/>
                <a:gd name="T25" fmla="*/ 11218 h 105"/>
                <a:gd name="T26" fmla="*/ 24606 w 194"/>
                <a:gd name="T27" fmla="*/ 7212 h 105"/>
                <a:gd name="T28" fmla="*/ 24606 w 194"/>
                <a:gd name="T29" fmla="*/ 4007 h 105"/>
                <a:gd name="T30" fmla="*/ 20638 w 194"/>
                <a:gd name="T31" fmla="*/ 4007 h 105"/>
                <a:gd name="T32" fmla="*/ 20638 w 194"/>
                <a:gd name="T33" fmla="*/ 0 h 105"/>
                <a:gd name="T34" fmla="*/ 24606 w 194"/>
                <a:gd name="T35" fmla="*/ 0 h 105"/>
                <a:gd name="T36" fmla="*/ 28575 w 194"/>
                <a:gd name="T37" fmla="*/ 4007 h 105"/>
                <a:gd name="T38" fmla="*/ 31750 w 194"/>
                <a:gd name="T39" fmla="*/ 4007 h 105"/>
                <a:gd name="T40" fmla="*/ 35719 w 194"/>
                <a:gd name="T41" fmla="*/ 4007 h 105"/>
                <a:gd name="T42" fmla="*/ 35719 w 194"/>
                <a:gd name="T43" fmla="*/ 0 h 105"/>
                <a:gd name="T44" fmla="*/ 35719 w 194"/>
                <a:gd name="T45" fmla="*/ 4007 h 105"/>
                <a:gd name="T46" fmla="*/ 38894 w 194"/>
                <a:gd name="T47" fmla="*/ 4007 h 105"/>
                <a:gd name="T48" fmla="*/ 38894 w 194"/>
                <a:gd name="T49" fmla="*/ 7212 h 105"/>
                <a:gd name="T50" fmla="*/ 38894 w 194"/>
                <a:gd name="T51" fmla="*/ 14424 h 105"/>
                <a:gd name="T52" fmla="*/ 35719 w 194"/>
                <a:gd name="T53" fmla="*/ 14424 h 105"/>
                <a:gd name="T54" fmla="*/ 35719 w 194"/>
                <a:gd name="T55" fmla="*/ 21635 h 105"/>
                <a:gd name="T56" fmla="*/ 31750 w 194"/>
                <a:gd name="T57" fmla="*/ 21635 h 105"/>
                <a:gd name="T58" fmla="*/ 28575 w 194"/>
                <a:gd name="T59" fmla="*/ 21635 h 105"/>
                <a:gd name="T60" fmla="*/ 24606 w 194"/>
                <a:gd name="T61" fmla="*/ 21635 h 105"/>
                <a:gd name="T62" fmla="*/ 24606 w 194"/>
                <a:gd name="T63" fmla="*/ 17629 h 105"/>
                <a:gd name="T64" fmla="*/ 24606 w 194"/>
                <a:gd name="T65" fmla="*/ 14424 h 105"/>
                <a:gd name="T66" fmla="*/ 28575 w 194"/>
                <a:gd name="T67" fmla="*/ 14424 h 105"/>
                <a:gd name="T68" fmla="*/ 24606 w 194"/>
                <a:gd name="T69" fmla="*/ 14424 h 105"/>
                <a:gd name="T70" fmla="*/ 18256 w 194"/>
                <a:gd name="T71" fmla="*/ 14424 h 105"/>
                <a:gd name="T72" fmla="*/ 14288 w 194"/>
                <a:gd name="T73" fmla="*/ 14424 h 105"/>
                <a:gd name="T74" fmla="*/ 10319 w 194"/>
                <a:gd name="T75" fmla="*/ 14424 h 105"/>
                <a:gd name="T76" fmla="*/ 7938 w 194"/>
                <a:gd name="T77" fmla="*/ 14424 h 105"/>
                <a:gd name="T78" fmla="*/ 7938 w 194"/>
                <a:gd name="T79" fmla="*/ 11218 h 105"/>
                <a:gd name="T80" fmla="*/ 3969 w 194"/>
                <a:gd name="T81" fmla="*/ 11218 h 105"/>
                <a:gd name="T82" fmla="*/ 3969 w 194"/>
                <a:gd name="T83" fmla="*/ 7212 h 105"/>
                <a:gd name="T84" fmla="*/ 3969 w 194"/>
                <a:gd name="T85" fmla="*/ 4007 h 105"/>
                <a:gd name="T86" fmla="*/ 3969 w 194"/>
                <a:gd name="T87" fmla="*/ 7212 h 10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94"/>
                <a:gd name="T133" fmla="*/ 0 h 105"/>
                <a:gd name="T134" fmla="*/ 194 w 194"/>
                <a:gd name="T135" fmla="*/ 105 h 10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94" h="105">
                  <a:moveTo>
                    <a:pt x="19" y="34"/>
                  </a:moveTo>
                  <a:lnTo>
                    <a:pt x="19" y="17"/>
                  </a:lnTo>
                  <a:lnTo>
                    <a:pt x="0" y="0"/>
                  </a:lnTo>
                  <a:lnTo>
                    <a:pt x="19" y="0"/>
                  </a:lnTo>
                  <a:lnTo>
                    <a:pt x="54" y="17"/>
                  </a:lnTo>
                  <a:lnTo>
                    <a:pt x="71" y="53"/>
                  </a:lnTo>
                  <a:lnTo>
                    <a:pt x="106" y="53"/>
                  </a:lnTo>
                  <a:lnTo>
                    <a:pt x="89" y="53"/>
                  </a:lnTo>
                  <a:lnTo>
                    <a:pt x="71" y="34"/>
                  </a:lnTo>
                  <a:lnTo>
                    <a:pt x="71" y="17"/>
                  </a:lnTo>
                  <a:lnTo>
                    <a:pt x="89" y="34"/>
                  </a:lnTo>
                  <a:lnTo>
                    <a:pt x="125" y="34"/>
                  </a:lnTo>
                  <a:lnTo>
                    <a:pt x="125" y="53"/>
                  </a:lnTo>
                  <a:lnTo>
                    <a:pt x="125" y="34"/>
                  </a:lnTo>
                  <a:lnTo>
                    <a:pt x="125" y="17"/>
                  </a:lnTo>
                  <a:lnTo>
                    <a:pt x="106" y="17"/>
                  </a:lnTo>
                  <a:lnTo>
                    <a:pt x="106" y="0"/>
                  </a:lnTo>
                  <a:lnTo>
                    <a:pt x="125" y="0"/>
                  </a:lnTo>
                  <a:lnTo>
                    <a:pt x="142" y="17"/>
                  </a:lnTo>
                  <a:lnTo>
                    <a:pt x="160" y="17"/>
                  </a:lnTo>
                  <a:lnTo>
                    <a:pt x="177" y="17"/>
                  </a:lnTo>
                  <a:lnTo>
                    <a:pt x="177" y="0"/>
                  </a:lnTo>
                  <a:lnTo>
                    <a:pt x="177" y="17"/>
                  </a:lnTo>
                  <a:lnTo>
                    <a:pt x="194" y="17"/>
                  </a:lnTo>
                  <a:lnTo>
                    <a:pt x="194" y="34"/>
                  </a:lnTo>
                  <a:lnTo>
                    <a:pt x="194" y="71"/>
                  </a:lnTo>
                  <a:lnTo>
                    <a:pt x="177" y="71"/>
                  </a:lnTo>
                  <a:lnTo>
                    <a:pt x="177" y="105"/>
                  </a:lnTo>
                  <a:lnTo>
                    <a:pt x="160" y="105"/>
                  </a:lnTo>
                  <a:lnTo>
                    <a:pt x="142" y="105"/>
                  </a:lnTo>
                  <a:lnTo>
                    <a:pt x="125" y="105"/>
                  </a:lnTo>
                  <a:lnTo>
                    <a:pt x="125" y="88"/>
                  </a:lnTo>
                  <a:lnTo>
                    <a:pt x="125" y="71"/>
                  </a:lnTo>
                  <a:lnTo>
                    <a:pt x="142" y="71"/>
                  </a:lnTo>
                  <a:lnTo>
                    <a:pt x="125" y="71"/>
                  </a:lnTo>
                  <a:lnTo>
                    <a:pt x="89" y="71"/>
                  </a:lnTo>
                  <a:lnTo>
                    <a:pt x="71" y="71"/>
                  </a:lnTo>
                  <a:lnTo>
                    <a:pt x="54" y="71"/>
                  </a:lnTo>
                  <a:lnTo>
                    <a:pt x="37" y="71"/>
                  </a:lnTo>
                  <a:lnTo>
                    <a:pt x="37" y="53"/>
                  </a:lnTo>
                  <a:lnTo>
                    <a:pt x="19" y="53"/>
                  </a:lnTo>
                  <a:lnTo>
                    <a:pt x="19" y="34"/>
                  </a:lnTo>
                  <a:lnTo>
                    <a:pt x="19" y="17"/>
                  </a:lnTo>
                  <a:lnTo>
                    <a:pt x="19" y="34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808C456B-7C99-4DA3-A831-04BD684EBF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2843" y="1575983"/>
              <a:ext cx="38095" cy="35606"/>
            </a:xfrm>
            <a:custGeom>
              <a:avLst/>
              <a:gdLst>
                <a:gd name="T0" fmla="*/ 9191 w 38"/>
                <a:gd name="T1" fmla="*/ 3969 h 36"/>
                <a:gd name="T2" fmla="*/ 9191 w 38"/>
                <a:gd name="T3" fmla="*/ 7144 h 36"/>
                <a:gd name="T4" fmla="*/ 4178 w 38"/>
                <a:gd name="T5" fmla="*/ 7144 h 36"/>
                <a:gd name="T6" fmla="*/ 0 w 38"/>
                <a:gd name="T7" fmla="*/ 3969 h 36"/>
                <a:gd name="T8" fmla="*/ 0 w 38"/>
                <a:gd name="T9" fmla="*/ 0 h 36"/>
                <a:gd name="T10" fmla="*/ 4178 w 38"/>
                <a:gd name="T11" fmla="*/ 0 h 36"/>
                <a:gd name="T12" fmla="*/ 9191 w 38"/>
                <a:gd name="T13" fmla="*/ 3969 h 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"/>
                <a:gd name="T22" fmla="*/ 0 h 36"/>
                <a:gd name="T23" fmla="*/ 38 w 38"/>
                <a:gd name="T24" fmla="*/ 36 h 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" h="36">
                  <a:moveTo>
                    <a:pt x="38" y="17"/>
                  </a:moveTo>
                  <a:lnTo>
                    <a:pt x="38" y="36"/>
                  </a:lnTo>
                  <a:lnTo>
                    <a:pt x="19" y="36"/>
                  </a:lnTo>
                  <a:lnTo>
                    <a:pt x="0" y="17"/>
                  </a:lnTo>
                  <a:lnTo>
                    <a:pt x="0" y="0"/>
                  </a:lnTo>
                  <a:lnTo>
                    <a:pt x="19" y="0"/>
                  </a:lnTo>
                  <a:lnTo>
                    <a:pt x="38" y="17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AED20371-D3AD-49C5-8205-F7FC5424BB8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0937" y="1694668"/>
              <a:ext cx="36191" cy="37584"/>
            </a:xfrm>
            <a:custGeom>
              <a:avLst/>
              <a:gdLst>
                <a:gd name="T0" fmla="*/ 3094 w 39"/>
                <a:gd name="T1" fmla="*/ 0 h 36"/>
                <a:gd name="T2" fmla="*/ 6961 w 39"/>
                <a:gd name="T3" fmla="*/ 4189 h 36"/>
                <a:gd name="T4" fmla="*/ 3094 w 39"/>
                <a:gd name="T5" fmla="*/ 8379 h 36"/>
                <a:gd name="T6" fmla="*/ 0 w 39"/>
                <a:gd name="T7" fmla="*/ 8379 h 36"/>
                <a:gd name="T8" fmla="*/ 0 w 39"/>
                <a:gd name="T9" fmla="*/ 4189 h 36"/>
                <a:gd name="T10" fmla="*/ 0 w 39"/>
                <a:gd name="T11" fmla="*/ 0 h 36"/>
                <a:gd name="T12" fmla="*/ 3094 w 39"/>
                <a:gd name="T13" fmla="*/ 0 h 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9"/>
                <a:gd name="T22" fmla="*/ 0 h 36"/>
                <a:gd name="T23" fmla="*/ 39 w 39"/>
                <a:gd name="T24" fmla="*/ 36 h 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9" h="36">
                  <a:moveTo>
                    <a:pt x="19" y="0"/>
                  </a:moveTo>
                  <a:lnTo>
                    <a:pt x="39" y="19"/>
                  </a:lnTo>
                  <a:lnTo>
                    <a:pt x="19" y="36"/>
                  </a:lnTo>
                  <a:lnTo>
                    <a:pt x="0" y="36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9" y="0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0E975501-3893-42C6-97EA-F17F2D58EC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5699" y="1560159"/>
              <a:ext cx="34286" cy="15825"/>
            </a:xfrm>
            <a:custGeom>
              <a:avLst/>
              <a:gdLst>
                <a:gd name="T0" fmla="*/ 0 w 37"/>
                <a:gd name="T1" fmla="*/ 3175 h 16"/>
                <a:gd name="T2" fmla="*/ 0 w 37"/>
                <a:gd name="T3" fmla="*/ 0 h 16"/>
                <a:gd name="T4" fmla="*/ 3861 w 37"/>
                <a:gd name="T5" fmla="*/ 0 h 16"/>
                <a:gd name="T6" fmla="*/ 3861 w 37"/>
                <a:gd name="T7" fmla="*/ 3175 h 16"/>
                <a:gd name="T8" fmla="*/ 6951 w 37"/>
                <a:gd name="T9" fmla="*/ 3175 h 16"/>
                <a:gd name="T10" fmla="*/ 3861 w 37"/>
                <a:gd name="T11" fmla="*/ 3175 h 16"/>
                <a:gd name="T12" fmla="*/ 0 w 37"/>
                <a:gd name="T13" fmla="*/ 3175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"/>
                <a:gd name="T22" fmla="*/ 0 h 16"/>
                <a:gd name="T23" fmla="*/ 37 w 37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" h="16">
                  <a:moveTo>
                    <a:pt x="0" y="16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16"/>
                  </a:lnTo>
                  <a:lnTo>
                    <a:pt x="37" y="16"/>
                  </a:lnTo>
                  <a:lnTo>
                    <a:pt x="20" y="16"/>
                  </a:lnTo>
                  <a:lnTo>
                    <a:pt x="0" y="16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A02D67E2-8C73-4C1C-A091-D3965E5D89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4269" y="1439496"/>
              <a:ext cx="34286" cy="17803"/>
            </a:xfrm>
            <a:custGeom>
              <a:avLst/>
              <a:gdLst>
                <a:gd name="T0" fmla="*/ 6951 w 37"/>
                <a:gd name="T1" fmla="*/ 0 h 19"/>
                <a:gd name="T2" fmla="*/ 6951 w 37"/>
                <a:gd name="T3" fmla="*/ 3008 h 19"/>
                <a:gd name="T4" fmla="*/ 3089 w 37"/>
                <a:gd name="T5" fmla="*/ 3008 h 19"/>
                <a:gd name="T6" fmla="*/ 0 w 37"/>
                <a:gd name="T7" fmla="*/ 0 h 19"/>
                <a:gd name="T8" fmla="*/ 3089 w 37"/>
                <a:gd name="T9" fmla="*/ 0 h 19"/>
                <a:gd name="T10" fmla="*/ 6951 w 37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7"/>
                <a:gd name="T19" fmla="*/ 0 h 19"/>
                <a:gd name="T20" fmla="*/ 37 w 37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7" h="19">
                  <a:moveTo>
                    <a:pt x="37" y="0"/>
                  </a:moveTo>
                  <a:lnTo>
                    <a:pt x="37" y="19"/>
                  </a:lnTo>
                  <a:lnTo>
                    <a:pt x="18" y="19"/>
                  </a:lnTo>
                  <a:lnTo>
                    <a:pt x="0" y="0"/>
                  </a:lnTo>
                  <a:lnTo>
                    <a:pt x="18" y="0"/>
                  </a:lnTo>
                  <a:lnTo>
                    <a:pt x="37" y="0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73A8043A-B191-4C39-9862-BF117C52E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700" y="1475102"/>
              <a:ext cx="169523" cy="100882"/>
            </a:xfrm>
            <a:custGeom>
              <a:avLst/>
              <a:gdLst>
                <a:gd name="T0" fmla="*/ 24469 w 179"/>
                <a:gd name="T1" fmla="*/ 16669 h 102"/>
                <a:gd name="T2" fmla="*/ 17365 w 179"/>
                <a:gd name="T3" fmla="*/ 13494 h 102"/>
                <a:gd name="T4" fmla="*/ 14208 w 179"/>
                <a:gd name="T5" fmla="*/ 13494 h 102"/>
                <a:gd name="T6" fmla="*/ 11050 w 179"/>
                <a:gd name="T7" fmla="*/ 13494 h 102"/>
                <a:gd name="T8" fmla="*/ 7104 w 179"/>
                <a:gd name="T9" fmla="*/ 13494 h 102"/>
                <a:gd name="T10" fmla="*/ 3157 w 179"/>
                <a:gd name="T11" fmla="*/ 13494 h 102"/>
                <a:gd name="T12" fmla="*/ 3157 w 179"/>
                <a:gd name="T13" fmla="*/ 10319 h 102"/>
                <a:gd name="T14" fmla="*/ 7104 w 179"/>
                <a:gd name="T15" fmla="*/ 10319 h 102"/>
                <a:gd name="T16" fmla="*/ 3157 w 179"/>
                <a:gd name="T17" fmla="*/ 10319 h 102"/>
                <a:gd name="T18" fmla="*/ 3157 w 179"/>
                <a:gd name="T19" fmla="*/ 7144 h 102"/>
                <a:gd name="T20" fmla="*/ 0 w 179"/>
                <a:gd name="T21" fmla="*/ 7144 h 102"/>
                <a:gd name="T22" fmla="*/ 0 w 179"/>
                <a:gd name="T23" fmla="*/ 2381 h 102"/>
                <a:gd name="T24" fmla="*/ 3157 w 179"/>
                <a:gd name="T25" fmla="*/ 2381 h 102"/>
                <a:gd name="T26" fmla="*/ 3157 w 179"/>
                <a:gd name="T27" fmla="*/ 0 h 102"/>
                <a:gd name="T28" fmla="*/ 7104 w 179"/>
                <a:gd name="T29" fmla="*/ 2381 h 102"/>
                <a:gd name="T30" fmla="*/ 11050 w 179"/>
                <a:gd name="T31" fmla="*/ 2381 h 102"/>
                <a:gd name="T32" fmla="*/ 14208 w 179"/>
                <a:gd name="T33" fmla="*/ 7144 h 102"/>
                <a:gd name="T34" fmla="*/ 14208 w 179"/>
                <a:gd name="T35" fmla="*/ 2381 h 102"/>
                <a:gd name="T36" fmla="*/ 17365 w 179"/>
                <a:gd name="T37" fmla="*/ 2381 h 102"/>
                <a:gd name="T38" fmla="*/ 21312 w 179"/>
                <a:gd name="T39" fmla="*/ 7144 h 102"/>
                <a:gd name="T40" fmla="*/ 21312 w 179"/>
                <a:gd name="T41" fmla="*/ 10319 h 102"/>
                <a:gd name="T42" fmla="*/ 24469 w 179"/>
                <a:gd name="T43" fmla="*/ 10319 h 102"/>
                <a:gd name="T44" fmla="*/ 24469 w 179"/>
                <a:gd name="T45" fmla="*/ 7144 h 102"/>
                <a:gd name="T46" fmla="*/ 28415 w 179"/>
                <a:gd name="T47" fmla="*/ 7144 h 102"/>
                <a:gd name="T48" fmla="*/ 28415 w 179"/>
                <a:gd name="T49" fmla="*/ 10319 h 102"/>
                <a:gd name="T50" fmla="*/ 31573 w 179"/>
                <a:gd name="T51" fmla="*/ 10319 h 102"/>
                <a:gd name="T52" fmla="*/ 28415 w 179"/>
                <a:gd name="T53" fmla="*/ 10319 h 102"/>
                <a:gd name="T54" fmla="*/ 31573 w 179"/>
                <a:gd name="T55" fmla="*/ 13494 h 102"/>
                <a:gd name="T56" fmla="*/ 34730 w 179"/>
                <a:gd name="T57" fmla="*/ 16669 h 102"/>
                <a:gd name="T58" fmla="*/ 34730 w 179"/>
                <a:gd name="T59" fmla="*/ 20638 h 102"/>
                <a:gd name="T60" fmla="*/ 31573 w 179"/>
                <a:gd name="T61" fmla="*/ 20638 h 102"/>
                <a:gd name="T62" fmla="*/ 28415 w 179"/>
                <a:gd name="T63" fmla="*/ 20638 h 102"/>
                <a:gd name="T64" fmla="*/ 28415 w 179"/>
                <a:gd name="T65" fmla="*/ 16669 h 102"/>
                <a:gd name="T66" fmla="*/ 24469 w 179"/>
                <a:gd name="T67" fmla="*/ 16669 h 10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79"/>
                <a:gd name="T103" fmla="*/ 0 h 102"/>
                <a:gd name="T104" fmla="*/ 179 w 179"/>
                <a:gd name="T105" fmla="*/ 102 h 10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79" h="102">
                  <a:moveTo>
                    <a:pt x="127" y="84"/>
                  </a:moveTo>
                  <a:lnTo>
                    <a:pt x="90" y="67"/>
                  </a:lnTo>
                  <a:lnTo>
                    <a:pt x="73" y="67"/>
                  </a:lnTo>
                  <a:lnTo>
                    <a:pt x="56" y="67"/>
                  </a:lnTo>
                  <a:lnTo>
                    <a:pt x="39" y="67"/>
                  </a:lnTo>
                  <a:lnTo>
                    <a:pt x="19" y="67"/>
                  </a:lnTo>
                  <a:lnTo>
                    <a:pt x="19" y="50"/>
                  </a:lnTo>
                  <a:lnTo>
                    <a:pt x="39" y="50"/>
                  </a:lnTo>
                  <a:lnTo>
                    <a:pt x="19" y="50"/>
                  </a:lnTo>
                  <a:lnTo>
                    <a:pt x="19" y="33"/>
                  </a:lnTo>
                  <a:lnTo>
                    <a:pt x="0" y="33"/>
                  </a:lnTo>
                  <a:lnTo>
                    <a:pt x="0" y="15"/>
                  </a:lnTo>
                  <a:lnTo>
                    <a:pt x="19" y="15"/>
                  </a:lnTo>
                  <a:lnTo>
                    <a:pt x="19" y="0"/>
                  </a:lnTo>
                  <a:lnTo>
                    <a:pt x="39" y="15"/>
                  </a:lnTo>
                  <a:lnTo>
                    <a:pt x="56" y="15"/>
                  </a:lnTo>
                  <a:lnTo>
                    <a:pt x="73" y="33"/>
                  </a:lnTo>
                  <a:lnTo>
                    <a:pt x="73" y="15"/>
                  </a:lnTo>
                  <a:lnTo>
                    <a:pt x="90" y="15"/>
                  </a:lnTo>
                  <a:lnTo>
                    <a:pt x="108" y="33"/>
                  </a:lnTo>
                  <a:lnTo>
                    <a:pt x="108" y="50"/>
                  </a:lnTo>
                  <a:lnTo>
                    <a:pt x="127" y="50"/>
                  </a:lnTo>
                  <a:lnTo>
                    <a:pt x="127" y="33"/>
                  </a:lnTo>
                  <a:lnTo>
                    <a:pt x="144" y="33"/>
                  </a:lnTo>
                  <a:lnTo>
                    <a:pt x="144" y="50"/>
                  </a:lnTo>
                  <a:lnTo>
                    <a:pt x="161" y="50"/>
                  </a:lnTo>
                  <a:lnTo>
                    <a:pt x="144" y="50"/>
                  </a:lnTo>
                  <a:lnTo>
                    <a:pt x="161" y="67"/>
                  </a:lnTo>
                  <a:lnTo>
                    <a:pt x="179" y="84"/>
                  </a:lnTo>
                  <a:lnTo>
                    <a:pt x="179" y="102"/>
                  </a:lnTo>
                  <a:lnTo>
                    <a:pt x="161" y="102"/>
                  </a:lnTo>
                  <a:lnTo>
                    <a:pt x="144" y="102"/>
                  </a:lnTo>
                  <a:lnTo>
                    <a:pt x="144" y="84"/>
                  </a:lnTo>
                  <a:lnTo>
                    <a:pt x="127" y="84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BD5B84D4-0091-4B5C-AEB5-70D1EF12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8079" y="1611590"/>
              <a:ext cx="453330" cy="134509"/>
            </a:xfrm>
            <a:custGeom>
              <a:avLst/>
              <a:gdLst>
                <a:gd name="T0" fmla="*/ 91281 w 476"/>
                <a:gd name="T1" fmla="*/ 20637 h 136"/>
                <a:gd name="T2" fmla="*/ 91281 w 476"/>
                <a:gd name="T3" fmla="*/ 23019 h 136"/>
                <a:gd name="T4" fmla="*/ 94456 w 476"/>
                <a:gd name="T5" fmla="*/ 23019 h 136"/>
                <a:gd name="T6" fmla="*/ 91281 w 476"/>
                <a:gd name="T7" fmla="*/ 26988 h 136"/>
                <a:gd name="T8" fmla="*/ 84138 w 476"/>
                <a:gd name="T9" fmla="*/ 26988 h 136"/>
                <a:gd name="T10" fmla="*/ 76994 w 476"/>
                <a:gd name="T11" fmla="*/ 26988 h 136"/>
                <a:gd name="T12" fmla="*/ 73819 w 476"/>
                <a:gd name="T13" fmla="*/ 26988 h 136"/>
                <a:gd name="T14" fmla="*/ 70644 w 476"/>
                <a:gd name="T15" fmla="*/ 26988 h 136"/>
                <a:gd name="T16" fmla="*/ 63500 w 476"/>
                <a:gd name="T17" fmla="*/ 26988 h 136"/>
                <a:gd name="T18" fmla="*/ 56356 w 476"/>
                <a:gd name="T19" fmla="*/ 26988 h 136"/>
                <a:gd name="T20" fmla="*/ 53181 w 476"/>
                <a:gd name="T21" fmla="*/ 26988 h 136"/>
                <a:gd name="T22" fmla="*/ 48419 w 476"/>
                <a:gd name="T23" fmla="*/ 26988 h 136"/>
                <a:gd name="T24" fmla="*/ 45244 w 476"/>
                <a:gd name="T25" fmla="*/ 26988 h 136"/>
                <a:gd name="T26" fmla="*/ 42069 w 476"/>
                <a:gd name="T27" fmla="*/ 26988 h 136"/>
                <a:gd name="T28" fmla="*/ 38100 w 476"/>
                <a:gd name="T29" fmla="*/ 26988 h 136"/>
                <a:gd name="T30" fmla="*/ 31750 w 476"/>
                <a:gd name="T31" fmla="*/ 26988 h 136"/>
                <a:gd name="T32" fmla="*/ 23812 w 476"/>
                <a:gd name="T33" fmla="*/ 23019 h 136"/>
                <a:gd name="T34" fmla="*/ 21431 w 476"/>
                <a:gd name="T35" fmla="*/ 20637 h 136"/>
                <a:gd name="T36" fmla="*/ 23812 w 476"/>
                <a:gd name="T37" fmla="*/ 20637 h 136"/>
                <a:gd name="T38" fmla="*/ 23812 w 476"/>
                <a:gd name="T39" fmla="*/ 16669 h 136"/>
                <a:gd name="T40" fmla="*/ 21431 w 476"/>
                <a:gd name="T41" fmla="*/ 16669 h 136"/>
                <a:gd name="T42" fmla="*/ 17463 w 476"/>
                <a:gd name="T43" fmla="*/ 10319 h 136"/>
                <a:gd name="T44" fmla="*/ 17463 w 476"/>
                <a:gd name="T45" fmla="*/ 7144 h 136"/>
                <a:gd name="T46" fmla="*/ 14288 w 476"/>
                <a:gd name="T47" fmla="*/ 10319 h 136"/>
                <a:gd name="T48" fmla="*/ 7144 w 476"/>
                <a:gd name="T49" fmla="*/ 7144 h 136"/>
                <a:gd name="T50" fmla="*/ 3969 w 476"/>
                <a:gd name="T51" fmla="*/ 3175 h 136"/>
                <a:gd name="T52" fmla="*/ 0 w 476"/>
                <a:gd name="T53" fmla="*/ 3175 h 136"/>
                <a:gd name="T54" fmla="*/ 3969 w 476"/>
                <a:gd name="T55" fmla="*/ 3175 h 136"/>
                <a:gd name="T56" fmla="*/ 3969 w 476"/>
                <a:gd name="T57" fmla="*/ 0 h 136"/>
                <a:gd name="T58" fmla="*/ 14288 w 476"/>
                <a:gd name="T59" fmla="*/ 3175 h 136"/>
                <a:gd name="T60" fmla="*/ 21431 w 476"/>
                <a:gd name="T61" fmla="*/ 7144 h 136"/>
                <a:gd name="T62" fmla="*/ 23812 w 476"/>
                <a:gd name="T63" fmla="*/ 7144 h 136"/>
                <a:gd name="T64" fmla="*/ 23812 w 476"/>
                <a:gd name="T65" fmla="*/ 3175 h 136"/>
                <a:gd name="T66" fmla="*/ 27781 w 476"/>
                <a:gd name="T67" fmla="*/ 3175 h 136"/>
                <a:gd name="T68" fmla="*/ 27781 w 476"/>
                <a:gd name="T69" fmla="*/ 7144 h 136"/>
                <a:gd name="T70" fmla="*/ 34925 w 476"/>
                <a:gd name="T71" fmla="*/ 10319 h 136"/>
                <a:gd name="T72" fmla="*/ 38100 w 476"/>
                <a:gd name="T73" fmla="*/ 10319 h 136"/>
                <a:gd name="T74" fmla="*/ 31750 w 476"/>
                <a:gd name="T75" fmla="*/ 10319 h 136"/>
                <a:gd name="T76" fmla="*/ 27781 w 476"/>
                <a:gd name="T77" fmla="*/ 10319 h 136"/>
                <a:gd name="T78" fmla="*/ 31750 w 476"/>
                <a:gd name="T79" fmla="*/ 16669 h 136"/>
                <a:gd name="T80" fmla="*/ 34925 w 476"/>
                <a:gd name="T81" fmla="*/ 16669 h 136"/>
                <a:gd name="T82" fmla="*/ 38100 w 476"/>
                <a:gd name="T83" fmla="*/ 16669 h 136"/>
                <a:gd name="T84" fmla="*/ 45244 w 476"/>
                <a:gd name="T85" fmla="*/ 16669 h 136"/>
                <a:gd name="T86" fmla="*/ 48419 w 476"/>
                <a:gd name="T87" fmla="*/ 20637 h 136"/>
                <a:gd name="T88" fmla="*/ 53181 w 476"/>
                <a:gd name="T89" fmla="*/ 20637 h 136"/>
                <a:gd name="T90" fmla="*/ 59531 w 476"/>
                <a:gd name="T91" fmla="*/ 16669 h 136"/>
                <a:gd name="T92" fmla="*/ 70644 w 476"/>
                <a:gd name="T93" fmla="*/ 16669 h 136"/>
                <a:gd name="T94" fmla="*/ 76994 w 476"/>
                <a:gd name="T95" fmla="*/ 16669 h 136"/>
                <a:gd name="T96" fmla="*/ 84138 w 476"/>
                <a:gd name="T97" fmla="*/ 16669 h 136"/>
                <a:gd name="T98" fmla="*/ 87313 w 476"/>
                <a:gd name="T99" fmla="*/ 16669 h 136"/>
                <a:gd name="T100" fmla="*/ 94456 w 476"/>
                <a:gd name="T101" fmla="*/ 20637 h 136"/>
                <a:gd name="T102" fmla="*/ 91281 w 476"/>
                <a:gd name="T103" fmla="*/ 20637 h 1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76"/>
                <a:gd name="T157" fmla="*/ 0 h 136"/>
                <a:gd name="T158" fmla="*/ 476 w 476"/>
                <a:gd name="T159" fmla="*/ 136 h 1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76" h="136">
                  <a:moveTo>
                    <a:pt x="457" y="104"/>
                  </a:moveTo>
                  <a:lnTo>
                    <a:pt x="457" y="119"/>
                  </a:lnTo>
                  <a:lnTo>
                    <a:pt x="476" y="119"/>
                  </a:lnTo>
                  <a:lnTo>
                    <a:pt x="457" y="136"/>
                  </a:lnTo>
                  <a:lnTo>
                    <a:pt x="422" y="136"/>
                  </a:lnTo>
                  <a:lnTo>
                    <a:pt x="388" y="136"/>
                  </a:lnTo>
                  <a:lnTo>
                    <a:pt x="370" y="136"/>
                  </a:lnTo>
                  <a:lnTo>
                    <a:pt x="353" y="136"/>
                  </a:lnTo>
                  <a:lnTo>
                    <a:pt x="317" y="136"/>
                  </a:lnTo>
                  <a:lnTo>
                    <a:pt x="282" y="136"/>
                  </a:lnTo>
                  <a:lnTo>
                    <a:pt x="265" y="136"/>
                  </a:lnTo>
                  <a:lnTo>
                    <a:pt x="247" y="136"/>
                  </a:lnTo>
                  <a:lnTo>
                    <a:pt x="228" y="136"/>
                  </a:lnTo>
                  <a:lnTo>
                    <a:pt x="211" y="136"/>
                  </a:lnTo>
                  <a:lnTo>
                    <a:pt x="192" y="136"/>
                  </a:lnTo>
                  <a:lnTo>
                    <a:pt x="157" y="136"/>
                  </a:lnTo>
                  <a:lnTo>
                    <a:pt x="123" y="119"/>
                  </a:lnTo>
                  <a:lnTo>
                    <a:pt x="105" y="104"/>
                  </a:lnTo>
                  <a:lnTo>
                    <a:pt x="123" y="104"/>
                  </a:lnTo>
                  <a:lnTo>
                    <a:pt x="123" y="87"/>
                  </a:lnTo>
                  <a:lnTo>
                    <a:pt x="105" y="87"/>
                  </a:lnTo>
                  <a:lnTo>
                    <a:pt x="86" y="52"/>
                  </a:lnTo>
                  <a:lnTo>
                    <a:pt x="86" y="35"/>
                  </a:lnTo>
                  <a:lnTo>
                    <a:pt x="69" y="52"/>
                  </a:lnTo>
                  <a:lnTo>
                    <a:pt x="34" y="35"/>
                  </a:lnTo>
                  <a:lnTo>
                    <a:pt x="17" y="17"/>
                  </a:lnTo>
                  <a:lnTo>
                    <a:pt x="0" y="17"/>
                  </a:lnTo>
                  <a:lnTo>
                    <a:pt x="17" y="17"/>
                  </a:lnTo>
                  <a:lnTo>
                    <a:pt x="17" y="0"/>
                  </a:lnTo>
                  <a:lnTo>
                    <a:pt x="69" y="17"/>
                  </a:lnTo>
                  <a:lnTo>
                    <a:pt x="105" y="35"/>
                  </a:lnTo>
                  <a:lnTo>
                    <a:pt x="123" y="35"/>
                  </a:lnTo>
                  <a:lnTo>
                    <a:pt x="123" y="17"/>
                  </a:lnTo>
                  <a:lnTo>
                    <a:pt x="140" y="17"/>
                  </a:lnTo>
                  <a:lnTo>
                    <a:pt x="140" y="35"/>
                  </a:lnTo>
                  <a:lnTo>
                    <a:pt x="174" y="52"/>
                  </a:lnTo>
                  <a:lnTo>
                    <a:pt x="192" y="52"/>
                  </a:lnTo>
                  <a:lnTo>
                    <a:pt x="157" y="52"/>
                  </a:lnTo>
                  <a:lnTo>
                    <a:pt x="140" y="52"/>
                  </a:lnTo>
                  <a:lnTo>
                    <a:pt x="157" y="87"/>
                  </a:lnTo>
                  <a:lnTo>
                    <a:pt x="174" y="87"/>
                  </a:lnTo>
                  <a:lnTo>
                    <a:pt x="192" y="87"/>
                  </a:lnTo>
                  <a:lnTo>
                    <a:pt x="228" y="87"/>
                  </a:lnTo>
                  <a:lnTo>
                    <a:pt x="247" y="104"/>
                  </a:lnTo>
                  <a:lnTo>
                    <a:pt x="265" y="104"/>
                  </a:lnTo>
                  <a:lnTo>
                    <a:pt x="299" y="87"/>
                  </a:lnTo>
                  <a:lnTo>
                    <a:pt x="353" y="87"/>
                  </a:lnTo>
                  <a:lnTo>
                    <a:pt x="388" y="87"/>
                  </a:lnTo>
                  <a:lnTo>
                    <a:pt x="422" y="87"/>
                  </a:lnTo>
                  <a:lnTo>
                    <a:pt x="439" y="87"/>
                  </a:lnTo>
                  <a:lnTo>
                    <a:pt x="476" y="104"/>
                  </a:lnTo>
                  <a:lnTo>
                    <a:pt x="457" y="104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6C75C707-5D87-4511-9209-17D27FD0E6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8079" y="1694668"/>
              <a:ext cx="81905" cy="51431"/>
            </a:xfrm>
            <a:custGeom>
              <a:avLst/>
              <a:gdLst>
                <a:gd name="T0" fmla="*/ 3969 w 86"/>
                <a:gd name="T1" fmla="*/ 4047 h 51"/>
                <a:gd name="T2" fmla="*/ 3969 w 86"/>
                <a:gd name="T3" fmla="*/ 0 h 51"/>
                <a:gd name="T4" fmla="*/ 10319 w 86"/>
                <a:gd name="T5" fmla="*/ 0 h 51"/>
                <a:gd name="T6" fmla="*/ 14288 w 86"/>
                <a:gd name="T7" fmla="*/ 0 h 51"/>
                <a:gd name="T8" fmla="*/ 14288 w 86"/>
                <a:gd name="T9" fmla="*/ 4047 h 51"/>
                <a:gd name="T10" fmla="*/ 17463 w 86"/>
                <a:gd name="T11" fmla="*/ 7284 h 51"/>
                <a:gd name="T12" fmla="*/ 14288 w 86"/>
                <a:gd name="T13" fmla="*/ 10521 h 51"/>
                <a:gd name="T14" fmla="*/ 10319 w 86"/>
                <a:gd name="T15" fmla="*/ 10521 h 51"/>
                <a:gd name="T16" fmla="*/ 3969 w 86"/>
                <a:gd name="T17" fmla="*/ 7284 h 51"/>
                <a:gd name="T18" fmla="*/ 0 w 86"/>
                <a:gd name="T19" fmla="*/ 7284 h 51"/>
                <a:gd name="T20" fmla="*/ 3969 w 86"/>
                <a:gd name="T21" fmla="*/ 4047 h 5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6"/>
                <a:gd name="T34" fmla="*/ 0 h 51"/>
                <a:gd name="T35" fmla="*/ 86 w 86"/>
                <a:gd name="T36" fmla="*/ 51 h 5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6" h="51">
                  <a:moveTo>
                    <a:pt x="17" y="17"/>
                  </a:moveTo>
                  <a:lnTo>
                    <a:pt x="17" y="0"/>
                  </a:lnTo>
                  <a:lnTo>
                    <a:pt x="52" y="0"/>
                  </a:lnTo>
                  <a:lnTo>
                    <a:pt x="69" y="0"/>
                  </a:lnTo>
                  <a:lnTo>
                    <a:pt x="69" y="17"/>
                  </a:lnTo>
                  <a:lnTo>
                    <a:pt x="86" y="34"/>
                  </a:lnTo>
                  <a:lnTo>
                    <a:pt x="69" y="51"/>
                  </a:lnTo>
                  <a:lnTo>
                    <a:pt x="52" y="51"/>
                  </a:lnTo>
                  <a:lnTo>
                    <a:pt x="17" y="34"/>
                  </a:lnTo>
                  <a:lnTo>
                    <a:pt x="0" y="34"/>
                  </a:lnTo>
                  <a:lnTo>
                    <a:pt x="17" y="17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96BB26DB-855F-4093-8567-20D2AA560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3317" y="1575983"/>
              <a:ext cx="66667" cy="15825"/>
            </a:xfrm>
            <a:custGeom>
              <a:avLst/>
              <a:gdLst>
                <a:gd name="T0" fmla="*/ 10174 w 71"/>
                <a:gd name="T1" fmla="*/ 0 h 17"/>
                <a:gd name="T2" fmla="*/ 13304 w 71"/>
                <a:gd name="T3" fmla="*/ 0 h 17"/>
                <a:gd name="T4" fmla="*/ 13304 w 71"/>
                <a:gd name="T5" fmla="*/ 2988 h 17"/>
                <a:gd name="T6" fmla="*/ 10174 w 71"/>
                <a:gd name="T7" fmla="*/ 2988 h 17"/>
                <a:gd name="T8" fmla="*/ 7043 w 71"/>
                <a:gd name="T9" fmla="*/ 2988 h 17"/>
                <a:gd name="T10" fmla="*/ 0 w 71"/>
                <a:gd name="T11" fmla="*/ 0 h 17"/>
                <a:gd name="T12" fmla="*/ 7043 w 71"/>
                <a:gd name="T13" fmla="*/ 0 h 17"/>
                <a:gd name="T14" fmla="*/ 10174 w 71"/>
                <a:gd name="T15" fmla="*/ 0 h 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1"/>
                <a:gd name="T25" fmla="*/ 0 h 17"/>
                <a:gd name="T26" fmla="*/ 71 w 71"/>
                <a:gd name="T27" fmla="*/ 17 h 1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1" h="17">
                  <a:moveTo>
                    <a:pt x="54" y="0"/>
                  </a:moveTo>
                  <a:lnTo>
                    <a:pt x="71" y="0"/>
                  </a:lnTo>
                  <a:lnTo>
                    <a:pt x="71" y="17"/>
                  </a:lnTo>
                  <a:lnTo>
                    <a:pt x="54" y="17"/>
                  </a:lnTo>
                  <a:lnTo>
                    <a:pt x="37" y="17"/>
                  </a:lnTo>
                  <a:lnTo>
                    <a:pt x="0" y="0"/>
                  </a:lnTo>
                  <a:lnTo>
                    <a:pt x="37" y="0"/>
                  </a:lnTo>
                  <a:lnTo>
                    <a:pt x="54" y="0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F3BB7257-46F8-41F4-8898-5518DC30A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4269" y="1506753"/>
              <a:ext cx="99046" cy="69233"/>
            </a:xfrm>
            <a:custGeom>
              <a:avLst/>
              <a:gdLst>
                <a:gd name="T0" fmla="*/ 7144 w 104"/>
                <a:gd name="T1" fmla="*/ 14495 h 69"/>
                <a:gd name="T2" fmla="*/ 7144 w 104"/>
                <a:gd name="T3" fmla="*/ 10468 h 69"/>
                <a:gd name="T4" fmla="*/ 3969 w 104"/>
                <a:gd name="T5" fmla="*/ 7247 h 69"/>
                <a:gd name="T6" fmla="*/ 0 w 104"/>
                <a:gd name="T7" fmla="*/ 4026 h 69"/>
                <a:gd name="T8" fmla="*/ 3969 w 104"/>
                <a:gd name="T9" fmla="*/ 0 h 69"/>
                <a:gd name="T10" fmla="*/ 7144 w 104"/>
                <a:gd name="T11" fmla="*/ 0 h 69"/>
                <a:gd name="T12" fmla="*/ 7144 w 104"/>
                <a:gd name="T13" fmla="*/ 4026 h 69"/>
                <a:gd name="T14" fmla="*/ 10319 w 104"/>
                <a:gd name="T15" fmla="*/ 4026 h 69"/>
                <a:gd name="T16" fmla="*/ 14288 w 104"/>
                <a:gd name="T17" fmla="*/ 4026 h 69"/>
                <a:gd name="T18" fmla="*/ 17463 w 104"/>
                <a:gd name="T19" fmla="*/ 4026 h 69"/>
                <a:gd name="T20" fmla="*/ 20638 w 104"/>
                <a:gd name="T21" fmla="*/ 7247 h 69"/>
                <a:gd name="T22" fmla="*/ 17463 w 104"/>
                <a:gd name="T23" fmla="*/ 7247 h 69"/>
                <a:gd name="T24" fmla="*/ 17463 w 104"/>
                <a:gd name="T25" fmla="*/ 10468 h 69"/>
                <a:gd name="T26" fmla="*/ 20638 w 104"/>
                <a:gd name="T27" fmla="*/ 14495 h 69"/>
                <a:gd name="T28" fmla="*/ 14288 w 104"/>
                <a:gd name="T29" fmla="*/ 14495 h 69"/>
                <a:gd name="T30" fmla="*/ 7144 w 104"/>
                <a:gd name="T31" fmla="*/ 14495 h 6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04"/>
                <a:gd name="T49" fmla="*/ 0 h 69"/>
                <a:gd name="T50" fmla="*/ 104 w 104"/>
                <a:gd name="T51" fmla="*/ 69 h 6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04" h="69">
                  <a:moveTo>
                    <a:pt x="34" y="69"/>
                  </a:moveTo>
                  <a:lnTo>
                    <a:pt x="34" y="51"/>
                  </a:lnTo>
                  <a:lnTo>
                    <a:pt x="17" y="34"/>
                  </a:lnTo>
                  <a:lnTo>
                    <a:pt x="0" y="17"/>
                  </a:lnTo>
                  <a:lnTo>
                    <a:pt x="17" y="0"/>
                  </a:lnTo>
                  <a:lnTo>
                    <a:pt x="34" y="0"/>
                  </a:lnTo>
                  <a:lnTo>
                    <a:pt x="34" y="17"/>
                  </a:lnTo>
                  <a:lnTo>
                    <a:pt x="52" y="17"/>
                  </a:lnTo>
                  <a:lnTo>
                    <a:pt x="69" y="17"/>
                  </a:lnTo>
                  <a:lnTo>
                    <a:pt x="86" y="17"/>
                  </a:lnTo>
                  <a:lnTo>
                    <a:pt x="104" y="34"/>
                  </a:lnTo>
                  <a:lnTo>
                    <a:pt x="86" y="34"/>
                  </a:lnTo>
                  <a:lnTo>
                    <a:pt x="86" y="51"/>
                  </a:lnTo>
                  <a:lnTo>
                    <a:pt x="104" y="69"/>
                  </a:lnTo>
                  <a:lnTo>
                    <a:pt x="69" y="69"/>
                  </a:lnTo>
                  <a:lnTo>
                    <a:pt x="34" y="69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46" name="Freeform 20">
              <a:extLst>
                <a:ext uri="{FF2B5EF4-FFF2-40B4-BE49-F238E27FC236}">
                  <a16:creationId xmlns:a16="http://schemas.microsoft.com/office/drawing/2014/main" id="{8CB9BDE3-B4E9-4C26-8B72-BEE590723F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3317" y="1354441"/>
              <a:ext cx="270474" cy="205719"/>
            </a:xfrm>
            <a:custGeom>
              <a:avLst/>
              <a:gdLst>
                <a:gd name="T0" fmla="*/ 42069 w 284"/>
                <a:gd name="T1" fmla="*/ 17379 h 209"/>
                <a:gd name="T2" fmla="*/ 45244 w 284"/>
                <a:gd name="T3" fmla="*/ 13429 h 209"/>
                <a:gd name="T4" fmla="*/ 45244 w 284"/>
                <a:gd name="T5" fmla="*/ 20539 h 209"/>
                <a:gd name="T6" fmla="*/ 53181 w 284"/>
                <a:gd name="T7" fmla="*/ 20539 h 209"/>
                <a:gd name="T8" fmla="*/ 56356 w 284"/>
                <a:gd name="T9" fmla="*/ 26858 h 209"/>
                <a:gd name="T10" fmla="*/ 45244 w 284"/>
                <a:gd name="T11" fmla="*/ 33968 h 209"/>
                <a:gd name="T12" fmla="*/ 42069 w 284"/>
                <a:gd name="T13" fmla="*/ 30808 h 209"/>
                <a:gd name="T14" fmla="*/ 38894 w 284"/>
                <a:gd name="T15" fmla="*/ 33968 h 209"/>
                <a:gd name="T16" fmla="*/ 42069 w 284"/>
                <a:gd name="T17" fmla="*/ 37128 h 209"/>
                <a:gd name="T18" fmla="*/ 38894 w 284"/>
                <a:gd name="T19" fmla="*/ 41078 h 209"/>
                <a:gd name="T20" fmla="*/ 34925 w 284"/>
                <a:gd name="T21" fmla="*/ 33968 h 209"/>
                <a:gd name="T22" fmla="*/ 30956 w 284"/>
                <a:gd name="T23" fmla="*/ 41078 h 209"/>
                <a:gd name="T24" fmla="*/ 23812 w 284"/>
                <a:gd name="T25" fmla="*/ 41078 h 209"/>
                <a:gd name="T26" fmla="*/ 20637 w 284"/>
                <a:gd name="T27" fmla="*/ 33968 h 209"/>
                <a:gd name="T28" fmla="*/ 14287 w 284"/>
                <a:gd name="T29" fmla="*/ 30808 h 209"/>
                <a:gd name="T30" fmla="*/ 20637 w 284"/>
                <a:gd name="T31" fmla="*/ 26858 h 209"/>
                <a:gd name="T32" fmla="*/ 23812 w 284"/>
                <a:gd name="T33" fmla="*/ 26858 h 209"/>
                <a:gd name="T34" fmla="*/ 17462 w 284"/>
                <a:gd name="T35" fmla="*/ 23699 h 209"/>
                <a:gd name="T36" fmla="*/ 14287 w 284"/>
                <a:gd name="T37" fmla="*/ 26858 h 209"/>
                <a:gd name="T38" fmla="*/ 10319 w 284"/>
                <a:gd name="T39" fmla="*/ 26858 h 209"/>
                <a:gd name="T40" fmla="*/ 10319 w 284"/>
                <a:gd name="T41" fmla="*/ 23699 h 209"/>
                <a:gd name="T42" fmla="*/ 7144 w 284"/>
                <a:gd name="T43" fmla="*/ 20539 h 209"/>
                <a:gd name="T44" fmla="*/ 0 w 284"/>
                <a:gd name="T45" fmla="*/ 17379 h 209"/>
                <a:gd name="T46" fmla="*/ 7144 w 284"/>
                <a:gd name="T47" fmla="*/ 17379 h 209"/>
                <a:gd name="T48" fmla="*/ 7144 w 284"/>
                <a:gd name="T49" fmla="*/ 13429 h 209"/>
                <a:gd name="T50" fmla="*/ 0 w 284"/>
                <a:gd name="T51" fmla="*/ 10269 h 209"/>
                <a:gd name="T52" fmla="*/ 7144 w 284"/>
                <a:gd name="T53" fmla="*/ 10269 h 209"/>
                <a:gd name="T54" fmla="*/ 14287 w 284"/>
                <a:gd name="T55" fmla="*/ 10269 h 209"/>
                <a:gd name="T56" fmla="*/ 7144 w 284"/>
                <a:gd name="T57" fmla="*/ 10269 h 209"/>
                <a:gd name="T58" fmla="*/ 10319 w 284"/>
                <a:gd name="T59" fmla="*/ 3160 h 209"/>
                <a:gd name="T60" fmla="*/ 14287 w 284"/>
                <a:gd name="T61" fmla="*/ 6320 h 209"/>
                <a:gd name="T62" fmla="*/ 14287 w 284"/>
                <a:gd name="T63" fmla="*/ 3160 h 209"/>
                <a:gd name="T64" fmla="*/ 10319 w 284"/>
                <a:gd name="T65" fmla="*/ 0 h 209"/>
                <a:gd name="T66" fmla="*/ 20637 w 284"/>
                <a:gd name="T67" fmla="*/ 0 h 209"/>
                <a:gd name="T68" fmla="*/ 23812 w 284"/>
                <a:gd name="T69" fmla="*/ 6320 h 209"/>
                <a:gd name="T70" fmla="*/ 27781 w 284"/>
                <a:gd name="T71" fmla="*/ 10269 h 209"/>
                <a:gd name="T72" fmla="*/ 34925 w 284"/>
                <a:gd name="T73" fmla="*/ 10269 h 209"/>
                <a:gd name="T74" fmla="*/ 38894 w 284"/>
                <a:gd name="T75" fmla="*/ 17379 h 20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84"/>
                <a:gd name="T115" fmla="*/ 0 h 209"/>
                <a:gd name="T116" fmla="*/ 284 w 284"/>
                <a:gd name="T117" fmla="*/ 209 h 209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84" h="209">
                  <a:moveTo>
                    <a:pt x="196" y="88"/>
                  </a:moveTo>
                  <a:lnTo>
                    <a:pt x="213" y="88"/>
                  </a:lnTo>
                  <a:lnTo>
                    <a:pt x="213" y="71"/>
                  </a:lnTo>
                  <a:lnTo>
                    <a:pt x="230" y="71"/>
                  </a:lnTo>
                  <a:lnTo>
                    <a:pt x="230" y="88"/>
                  </a:lnTo>
                  <a:lnTo>
                    <a:pt x="230" y="106"/>
                  </a:lnTo>
                  <a:lnTo>
                    <a:pt x="250" y="106"/>
                  </a:lnTo>
                  <a:lnTo>
                    <a:pt x="267" y="106"/>
                  </a:lnTo>
                  <a:lnTo>
                    <a:pt x="284" y="123"/>
                  </a:lnTo>
                  <a:lnTo>
                    <a:pt x="284" y="138"/>
                  </a:lnTo>
                  <a:lnTo>
                    <a:pt x="250" y="156"/>
                  </a:lnTo>
                  <a:lnTo>
                    <a:pt x="230" y="173"/>
                  </a:lnTo>
                  <a:lnTo>
                    <a:pt x="213" y="173"/>
                  </a:lnTo>
                  <a:lnTo>
                    <a:pt x="213" y="156"/>
                  </a:lnTo>
                  <a:lnTo>
                    <a:pt x="213" y="173"/>
                  </a:lnTo>
                  <a:lnTo>
                    <a:pt x="196" y="173"/>
                  </a:lnTo>
                  <a:lnTo>
                    <a:pt x="213" y="173"/>
                  </a:lnTo>
                  <a:lnTo>
                    <a:pt x="213" y="190"/>
                  </a:lnTo>
                  <a:lnTo>
                    <a:pt x="196" y="190"/>
                  </a:lnTo>
                  <a:lnTo>
                    <a:pt x="196" y="209"/>
                  </a:lnTo>
                  <a:lnTo>
                    <a:pt x="177" y="190"/>
                  </a:lnTo>
                  <a:lnTo>
                    <a:pt x="177" y="173"/>
                  </a:lnTo>
                  <a:lnTo>
                    <a:pt x="159" y="190"/>
                  </a:lnTo>
                  <a:lnTo>
                    <a:pt x="159" y="209"/>
                  </a:lnTo>
                  <a:lnTo>
                    <a:pt x="140" y="209"/>
                  </a:lnTo>
                  <a:lnTo>
                    <a:pt x="123" y="209"/>
                  </a:lnTo>
                  <a:lnTo>
                    <a:pt x="106" y="190"/>
                  </a:lnTo>
                  <a:lnTo>
                    <a:pt x="106" y="173"/>
                  </a:lnTo>
                  <a:lnTo>
                    <a:pt x="71" y="173"/>
                  </a:lnTo>
                  <a:lnTo>
                    <a:pt x="71" y="156"/>
                  </a:lnTo>
                  <a:lnTo>
                    <a:pt x="88" y="138"/>
                  </a:lnTo>
                  <a:lnTo>
                    <a:pt x="106" y="138"/>
                  </a:lnTo>
                  <a:lnTo>
                    <a:pt x="140" y="138"/>
                  </a:lnTo>
                  <a:lnTo>
                    <a:pt x="123" y="138"/>
                  </a:lnTo>
                  <a:lnTo>
                    <a:pt x="106" y="123"/>
                  </a:lnTo>
                  <a:lnTo>
                    <a:pt x="88" y="123"/>
                  </a:lnTo>
                  <a:lnTo>
                    <a:pt x="88" y="138"/>
                  </a:lnTo>
                  <a:lnTo>
                    <a:pt x="71" y="138"/>
                  </a:lnTo>
                  <a:lnTo>
                    <a:pt x="54" y="123"/>
                  </a:lnTo>
                  <a:lnTo>
                    <a:pt x="54" y="138"/>
                  </a:lnTo>
                  <a:lnTo>
                    <a:pt x="35" y="123"/>
                  </a:lnTo>
                  <a:lnTo>
                    <a:pt x="54" y="123"/>
                  </a:lnTo>
                  <a:lnTo>
                    <a:pt x="54" y="106"/>
                  </a:lnTo>
                  <a:lnTo>
                    <a:pt x="35" y="106"/>
                  </a:lnTo>
                  <a:lnTo>
                    <a:pt x="0" y="106"/>
                  </a:lnTo>
                  <a:lnTo>
                    <a:pt x="0" y="88"/>
                  </a:lnTo>
                  <a:lnTo>
                    <a:pt x="17" y="88"/>
                  </a:lnTo>
                  <a:lnTo>
                    <a:pt x="35" y="88"/>
                  </a:lnTo>
                  <a:lnTo>
                    <a:pt x="54" y="88"/>
                  </a:lnTo>
                  <a:lnTo>
                    <a:pt x="35" y="71"/>
                  </a:lnTo>
                  <a:lnTo>
                    <a:pt x="17" y="71"/>
                  </a:lnTo>
                  <a:lnTo>
                    <a:pt x="0" y="54"/>
                  </a:lnTo>
                  <a:lnTo>
                    <a:pt x="17" y="54"/>
                  </a:lnTo>
                  <a:lnTo>
                    <a:pt x="35" y="54"/>
                  </a:lnTo>
                  <a:lnTo>
                    <a:pt x="54" y="54"/>
                  </a:lnTo>
                  <a:lnTo>
                    <a:pt x="71" y="54"/>
                  </a:lnTo>
                  <a:lnTo>
                    <a:pt x="54" y="54"/>
                  </a:lnTo>
                  <a:lnTo>
                    <a:pt x="35" y="54"/>
                  </a:lnTo>
                  <a:lnTo>
                    <a:pt x="35" y="35"/>
                  </a:lnTo>
                  <a:lnTo>
                    <a:pt x="54" y="17"/>
                  </a:lnTo>
                  <a:lnTo>
                    <a:pt x="54" y="35"/>
                  </a:lnTo>
                  <a:lnTo>
                    <a:pt x="71" y="35"/>
                  </a:lnTo>
                  <a:lnTo>
                    <a:pt x="88" y="35"/>
                  </a:lnTo>
                  <a:lnTo>
                    <a:pt x="71" y="17"/>
                  </a:lnTo>
                  <a:lnTo>
                    <a:pt x="54" y="17"/>
                  </a:lnTo>
                  <a:lnTo>
                    <a:pt x="54" y="0"/>
                  </a:lnTo>
                  <a:lnTo>
                    <a:pt x="71" y="0"/>
                  </a:lnTo>
                  <a:lnTo>
                    <a:pt x="106" y="0"/>
                  </a:lnTo>
                  <a:lnTo>
                    <a:pt x="106" y="17"/>
                  </a:lnTo>
                  <a:lnTo>
                    <a:pt x="123" y="35"/>
                  </a:lnTo>
                  <a:lnTo>
                    <a:pt x="123" y="54"/>
                  </a:lnTo>
                  <a:lnTo>
                    <a:pt x="140" y="54"/>
                  </a:lnTo>
                  <a:lnTo>
                    <a:pt x="159" y="54"/>
                  </a:lnTo>
                  <a:lnTo>
                    <a:pt x="177" y="54"/>
                  </a:lnTo>
                  <a:lnTo>
                    <a:pt x="196" y="71"/>
                  </a:lnTo>
                  <a:lnTo>
                    <a:pt x="196" y="88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47" name="Freeform 21">
              <a:extLst>
                <a:ext uri="{FF2B5EF4-FFF2-40B4-BE49-F238E27FC236}">
                  <a16:creationId xmlns:a16="http://schemas.microsoft.com/office/drawing/2014/main" id="{2FA3C22F-F807-46EB-B940-AE26C5AB04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2365" y="1235756"/>
              <a:ext cx="809518" cy="425285"/>
            </a:xfrm>
            <a:custGeom>
              <a:avLst/>
              <a:gdLst>
                <a:gd name="T0" fmla="*/ 134460 w 848"/>
                <a:gd name="T1" fmla="*/ 7144 h 430"/>
                <a:gd name="T2" fmla="*/ 151964 w 848"/>
                <a:gd name="T3" fmla="*/ 3969 h 430"/>
                <a:gd name="T4" fmla="*/ 165490 w 848"/>
                <a:gd name="T5" fmla="*/ 10319 h 430"/>
                <a:gd name="T6" fmla="*/ 165490 w 848"/>
                <a:gd name="T7" fmla="*/ 14288 h 430"/>
                <a:gd name="T8" fmla="*/ 137643 w 848"/>
                <a:gd name="T9" fmla="*/ 23813 h 430"/>
                <a:gd name="T10" fmla="*/ 151964 w 848"/>
                <a:gd name="T11" fmla="*/ 23813 h 430"/>
                <a:gd name="T12" fmla="*/ 130482 w 848"/>
                <a:gd name="T13" fmla="*/ 34925 h 430"/>
                <a:gd name="T14" fmla="*/ 112978 w 848"/>
                <a:gd name="T15" fmla="*/ 44450 h 430"/>
                <a:gd name="T16" fmla="*/ 102635 w 848"/>
                <a:gd name="T17" fmla="*/ 44450 h 430"/>
                <a:gd name="T18" fmla="*/ 95475 w 848"/>
                <a:gd name="T19" fmla="*/ 51594 h 430"/>
                <a:gd name="T20" fmla="*/ 95475 w 848"/>
                <a:gd name="T21" fmla="*/ 57944 h 430"/>
                <a:gd name="T22" fmla="*/ 85132 w 848"/>
                <a:gd name="T23" fmla="*/ 68263 h 430"/>
                <a:gd name="T24" fmla="*/ 77971 w 848"/>
                <a:gd name="T25" fmla="*/ 72231 h 430"/>
                <a:gd name="T26" fmla="*/ 73993 w 848"/>
                <a:gd name="T27" fmla="*/ 78581 h 430"/>
                <a:gd name="T28" fmla="*/ 70810 w 848"/>
                <a:gd name="T29" fmla="*/ 85725 h 430"/>
                <a:gd name="T30" fmla="*/ 56489 w 848"/>
                <a:gd name="T31" fmla="*/ 82550 h 430"/>
                <a:gd name="T32" fmla="*/ 38986 w 848"/>
                <a:gd name="T33" fmla="*/ 82550 h 430"/>
                <a:gd name="T34" fmla="*/ 32621 w 848"/>
                <a:gd name="T35" fmla="*/ 85725 h 430"/>
                <a:gd name="T36" fmla="*/ 14321 w 848"/>
                <a:gd name="T37" fmla="*/ 82550 h 430"/>
                <a:gd name="T38" fmla="*/ 28642 w 848"/>
                <a:gd name="T39" fmla="*/ 75406 h 430"/>
                <a:gd name="T40" fmla="*/ 24664 w 848"/>
                <a:gd name="T41" fmla="*/ 68263 h 430"/>
                <a:gd name="T42" fmla="*/ 38986 w 848"/>
                <a:gd name="T43" fmla="*/ 72231 h 430"/>
                <a:gd name="T44" fmla="*/ 35803 w 848"/>
                <a:gd name="T45" fmla="*/ 68263 h 430"/>
                <a:gd name="T46" fmla="*/ 28642 w 848"/>
                <a:gd name="T47" fmla="*/ 65088 h 430"/>
                <a:gd name="T48" fmla="*/ 24664 w 848"/>
                <a:gd name="T49" fmla="*/ 57944 h 430"/>
                <a:gd name="T50" fmla="*/ 35803 w 848"/>
                <a:gd name="T51" fmla="*/ 57944 h 430"/>
                <a:gd name="T52" fmla="*/ 38986 w 848"/>
                <a:gd name="T53" fmla="*/ 44450 h 430"/>
                <a:gd name="T54" fmla="*/ 32621 w 848"/>
                <a:gd name="T55" fmla="*/ 41275 h 430"/>
                <a:gd name="T56" fmla="*/ 32621 w 848"/>
                <a:gd name="T57" fmla="*/ 38100 h 430"/>
                <a:gd name="T58" fmla="*/ 42964 w 848"/>
                <a:gd name="T59" fmla="*/ 38100 h 430"/>
                <a:gd name="T60" fmla="*/ 56489 w 848"/>
                <a:gd name="T61" fmla="*/ 44450 h 430"/>
                <a:gd name="T62" fmla="*/ 49329 w 848"/>
                <a:gd name="T63" fmla="*/ 38100 h 430"/>
                <a:gd name="T64" fmla="*/ 60467 w 848"/>
                <a:gd name="T65" fmla="*/ 38100 h 430"/>
                <a:gd name="T66" fmla="*/ 70810 w 848"/>
                <a:gd name="T67" fmla="*/ 34925 h 430"/>
                <a:gd name="T68" fmla="*/ 56489 w 848"/>
                <a:gd name="T69" fmla="*/ 34925 h 430"/>
                <a:gd name="T70" fmla="*/ 42964 w 848"/>
                <a:gd name="T71" fmla="*/ 34925 h 430"/>
                <a:gd name="T72" fmla="*/ 32621 w 848"/>
                <a:gd name="T73" fmla="*/ 34925 h 430"/>
                <a:gd name="T74" fmla="*/ 18299 w 848"/>
                <a:gd name="T75" fmla="*/ 34925 h 430"/>
                <a:gd name="T76" fmla="*/ 21482 w 848"/>
                <a:gd name="T77" fmla="*/ 27781 h 430"/>
                <a:gd name="T78" fmla="*/ 14321 w 848"/>
                <a:gd name="T79" fmla="*/ 23813 h 430"/>
                <a:gd name="T80" fmla="*/ 21482 w 848"/>
                <a:gd name="T81" fmla="*/ 23813 h 430"/>
                <a:gd name="T82" fmla="*/ 11139 w 848"/>
                <a:gd name="T83" fmla="*/ 23813 h 430"/>
                <a:gd name="T84" fmla="*/ 7161 w 848"/>
                <a:gd name="T85" fmla="*/ 23813 h 430"/>
                <a:gd name="T86" fmla="*/ 3978 w 848"/>
                <a:gd name="T87" fmla="*/ 20638 h 430"/>
                <a:gd name="T88" fmla="*/ 24664 w 848"/>
                <a:gd name="T89" fmla="*/ 14288 h 430"/>
                <a:gd name="T90" fmla="*/ 38986 w 848"/>
                <a:gd name="T91" fmla="*/ 10319 h 430"/>
                <a:gd name="T92" fmla="*/ 49329 w 848"/>
                <a:gd name="T93" fmla="*/ 10319 h 430"/>
                <a:gd name="T94" fmla="*/ 60467 w 848"/>
                <a:gd name="T95" fmla="*/ 7144 h 430"/>
                <a:gd name="T96" fmla="*/ 70810 w 848"/>
                <a:gd name="T97" fmla="*/ 3969 h 430"/>
                <a:gd name="T98" fmla="*/ 88314 w 848"/>
                <a:gd name="T99" fmla="*/ 0 h 430"/>
                <a:gd name="T100" fmla="*/ 98657 w 848"/>
                <a:gd name="T101" fmla="*/ 3969 h 430"/>
                <a:gd name="T102" fmla="*/ 105818 w 848"/>
                <a:gd name="T103" fmla="*/ 0 h 430"/>
                <a:gd name="T104" fmla="*/ 120139 w 848"/>
                <a:gd name="T105" fmla="*/ 0 h 43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848"/>
                <a:gd name="T160" fmla="*/ 0 h 430"/>
                <a:gd name="T161" fmla="*/ 848 w 848"/>
                <a:gd name="T162" fmla="*/ 430 h 43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848" h="430">
                  <a:moveTo>
                    <a:pt x="708" y="17"/>
                  </a:moveTo>
                  <a:lnTo>
                    <a:pt x="689" y="35"/>
                  </a:lnTo>
                  <a:lnTo>
                    <a:pt x="672" y="35"/>
                  </a:lnTo>
                  <a:lnTo>
                    <a:pt x="708" y="35"/>
                  </a:lnTo>
                  <a:lnTo>
                    <a:pt x="725" y="17"/>
                  </a:lnTo>
                  <a:lnTo>
                    <a:pt x="760" y="17"/>
                  </a:lnTo>
                  <a:lnTo>
                    <a:pt x="777" y="35"/>
                  </a:lnTo>
                  <a:lnTo>
                    <a:pt x="814" y="52"/>
                  </a:lnTo>
                  <a:lnTo>
                    <a:pt x="831" y="52"/>
                  </a:lnTo>
                  <a:lnTo>
                    <a:pt x="848" y="52"/>
                  </a:lnTo>
                  <a:lnTo>
                    <a:pt x="848" y="69"/>
                  </a:lnTo>
                  <a:lnTo>
                    <a:pt x="831" y="69"/>
                  </a:lnTo>
                  <a:lnTo>
                    <a:pt x="777" y="87"/>
                  </a:lnTo>
                  <a:lnTo>
                    <a:pt x="743" y="104"/>
                  </a:lnTo>
                  <a:lnTo>
                    <a:pt x="689" y="121"/>
                  </a:lnTo>
                  <a:lnTo>
                    <a:pt x="708" y="121"/>
                  </a:lnTo>
                  <a:lnTo>
                    <a:pt x="743" y="121"/>
                  </a:lnTo>
                  <a:lnTo>
                    <a:pt x="760" y="121"/>
                  </a:lnTo>
                  <a:lnTo>
                    <a:pt x="725" y="138"/>
                  </a:lnTo>
                  <a:lnTo>
                    <a:pt x="689" y="156"/>
                  </a:lnTo>
                  <a:lnTo>
                    <a:pt x="654" y="173"/>
                  </a:lnTo>
                  <a:lnTo>
                    <a:pt x="620" y="173"/>
                  </a:lnTo>
                  <a:lnTo>
                    <a:pt x="583" y="207"/>
                  </a:lnTo>
                  <a:lnTo>
                    <a:pt x="566" y="225"/>
                  </a:lnTo>
                  <a:lnTo>
                    <a:pt x="549" y="225"/>
                  </a:lnTo>
                  <a:lnTo>
                    <a:pt x="531" y="225"/>
                  </a:lnTo>
                  <a:lnTo>
                    <a:pt x="514" y="225"/>
                  </a:lnTo>
                  <a:lnTo>
                    <a:pt x="478" y="242"/>
                  </a:lnTo>
                  <a:lnTo>
                    <a:pt x="459" y="257"/>
                  </a:lnTo>
                  <a:lnTo>
                    <a:pt x="478" y="257"/>
                  </a:lnTo>
                  <a:lnTo>
                    <a:pt x="478" y="275"/>
                  </a:lnTo>
                  <a:lnTo>
                    <a:pt x="459" y="275"/>
                  </a:lnTo>
                  <a:lnTo>
                    <a:pt x="478" y="292"/>
                  </a:lnTo>
                  <a:lnTo>
                    <a:pt x="459" y="309"/>
                  </a:lnTo>
                  <a:lnTo>
                    <a:pt x="441" y="326"/>
                  </a:lnTo>
                  <a:lnTo>
                    <a:pt x="424" y="344"/>
                  </a:lnTo>
                  <a:lnTo>
                    <a:pt x="407" y="344"/>
                  </a:lnTo>
                  <a:lnTo>
                    <a:pt x="389" y="344"/>
                  </a:lnTo>
                  <a:lnTo>
                    <a:pt x="389" y="361"/>
                  </a:lnTo>
                  <a:lnTo>
                    <a:pt x="353" y="378"/>
                  </a:lnTo>
                  <a:lnTo>
                    <a:pt x="353" y="396"/>
                  </a:lnTo>
                  <a:lnTo>
                    <a:pt x="372" y="396"/>
                  </a:lnTo>
                  <a:lnTo>
                    <a:pt x="389" y="396"/>
                  </a:lnTo>
                  <a:lnTo>
                    <a:pt x="372" y="413"/>
                  </a:lnTo>
                  <a:lnTo>
                    <a:pt x="353" y="430"/>
                  </a:lnTo>
                  <a:lnTo>
                    <a:pt x="318" y="430"/>
                  </a:lnTo>
                  <a:lnTo>
                    <a:pt x="301" y="430"/>
                  </a:lnTo>
                  <a:lnTo>
                    <a:pt x="284" y="413"/>
                  </a:lnTo>
                  <a:lnTo>
                    <a:pt x="247" y="413"/>
                  </a:lnTo>
                  <a:lnTo>
                    <a:pt x="213" y="413"/>
                  </a:lnTo>
                  <a:lnTo>
                    <a:pt x="196" y="413"/>
                  </a:lnTo>
                  <a:lnTo>
                    <a:pt x="196" y="430"/>
                  </a:lnTo>
                  <a:lnTo>
                    <a:pt x="178" y="430"/>
                  </a:lnTo>
                  <a:lnTo>
                    <a:pt x="161" y="430"/>
                  </a:lnTo>
                  <a:lnTo>
                    <a:pt x="124" y="413"/>
                  </a:lnTo>
                  <a:lnTo>
                    <a:pt x="90" y="413"/>
                  </a:lnTo>
                  <a:lnTo>
                    <a:pt x="71" y="413"/>
                  </a:lnTo>
                  <a:lnTo>
                    <a:pt x="90" y="396"/>
                  </a:lnTo>
                  <a:lnTo>
                    <a:pt x="124" y="378"/>
                  </a:lnTo>
                  <a:lnTo>
                    <a:pt x="142" y="378"/>
                  </a:lnTo>
                  <a:lnTo>
                    <a:pt x="124" y="361"/>
                  </a:lnTo>
                  <a:lnTo>
                    <a:pt x="107" y="344"/>
                  </a:lnTo>
                  <a:lnTo>
                    <a:pt x="124" y="344"/>
                  </a:lnTo>
                  <a:lnTo>
                    <a:pt x="161" y="344"/>
                  </a:lnTo>
                  <a:lnTo>
                    <a:pt x="178" y="344"/>
                  </a:lnTo>
                  <a:lnTo>
                    <a:pt x="196" y="361"/>
                  </a:lnTo>
                  <a:lnTo>
                    <a:pt x="213" y="361"/>
                  </a:lnTo>
                  <a:lnTo>
                    <a:pt x="196" y="344"/>
                  </a:lnTo>
                  <a:lnTo>
                    <a:pt x="178" y="344"/>
                  </a:lnTo>
                  <a:lnTo>
                    <a:pt x="178" y="326"/>
                  </a:lnTo>
                  <a:lnTo>
                    <a:pt x="161" y="326"/>
                  </a:lnTo>
                  <a:lnTo>
                    <a:pt x="142" y="326"/>
                  </a:lnTo>
                  <a:lnTo>
                    <a:pt x="124" y="326"/>
                  </a:lnTo>
                  <a:lnTo>
                    <a:pt x="124" y="309"/>
                  </a:lnTo>
                  <a:lnTo>
                    <a:pt x="124" y="292"/>
                  </a:lnTo>
                  <a:lnTo>
                    <a:pt x="142" y="292"/>
                  </a:lnTo>
                  <a:lnTo>
                    <a:pt x="161" y="292"/>
                  </a:lnTo>
                  <a:lnTo>
                    <a:pt x="178" y="292"/>
                  </a:lnTo>
                  <a:lnTo>
                    <a:pt x="196" y="275"/>
                  </a:lnTo>
                  <a:lnTo>
                    <a:pt x="213" y="257"/>
                  </a:lnTo>
                  <a:lnTo>
                    <a:pt x="196" y="225"/>
                  </a:lnTo>
                  <a:lnTo>
                    <a:pt x="161" y="225"/>
                  </a:lnTo>
                  <a:lnTo>
                    <a:pt x="142" y="207"/>
                  </a:lnTo>
                  <a:lnTo>
                    <a:pt x="161" y="207"/>
                  </a:lnTo>
                  <a:lnTo>
                    <a:pt x="178" y="207"/>
                  </a:lnTo>
                  <a:lnTo>
                    <a:pt x="161" y="207"/>
                  </a:lnTo>
                  <a:lnTo>
                    <a:pt x="161" y="190"/>
                  </a:lnTo>
                  <a:lnTo>
                    <a:pt x="178" y="190"/>
                  </a:lnTo>
                  <a:lnTo>
                    <a:pt x="196" y="190"/>
                  </a:lnTo>
                  <a:lnTo>
                    <a:pt x="213" y="190"/>
                  </a:lnTo>
                  <a:lnTo>
                    <a:pt x="247" y="207"/>
                  </a:lnTo>
                  <a:lnTo>
                    <a:pt x="247" y="225"/>
                  </a:lnTo>
                  <a:lnTo>
                    <a:pt x="284" y="225"/>
                  </a:lnTo>
                  <a:lnTo>
                    <a:pt x="267" y="225"/>
                  </a:lnTo>
                  <a:lnTo>
                    <a:pt x="247" y="207"/>
                  </a:lnTo>
                  <a:lnTo>
                    <a:pt x="247" y="190"/>
                  </a:lnTo>
                  <a:lnTo>
                    <a:pt x="267" y="190"/>
                  </a:lnTo>
                  <a:lnTo>
                    <a:pt x="284" y="190"/>
                  </a:lnTo>
                  <a:lnTo>
                    <a:pt x="301" y="190"/>
                  </a:lnTo>
                  <a:lnTo>
                    <a:pt x="318" y="173"/>
                  </a:lnTo>
                  <a:lnTo>
                    <a:pt x="336" y="173"/>
                  </a:lnTo>
                  <a:lnTo>
                    <a:pt x="353" y="173"/>
                  </a:lnTo>
                  <a:lnTo>
                    <a:pt x="336" y="173"/>
                  </a:lnTo>
                  <a:lnTo>
                    <a:pt x="301" y="173"/>
                  </a:lnTo>
                  <a:lnTo>
                    <a:pt x="284" y="173"/>
                  </a:lnTo>
                  <a:lnTo>
                    <a:pt x="247" y="173"/>
                  </a:lnTo>
                  <a:lnTo>
                    <a:pt x="230" y="173"/>
                  </a:lnTo>
                  <a:lnTo>
                    <a:pt x="213" y="173"/>
                  </a:lnTo>
                  <a:lnTo>
                    <a:pt x="196" y="173"/>
                  </a:lnTo>
                  <a:lnTo>
                    <a:pt x="178" y="173"/>
                  </a:lnTo>
                  <a:lnTo>
                    <a:pt x="161" y="173"/>
                  </a:lnTo>
                  <a:lnTo>
                    <a:pt x="142" y="173"/>
                  </a:lnTo>
                  <a:lnTo>
                    <a:pt x="124" y="173"/>
                  </a:lnTo>
                  <a:lnTo>
                    <a:pt x="90" y="173"/>
                  </a:lnTo>
                  <a:lnTo>
                    <a:pt x="71" y="156"/>
                  </a:lnTo>
                  <a:lnTo>
                    <a:pt x="90" y="156"/>
                  </a:lnTo>
                  <a:lnTo>
                    <a:pt x="107" y="138"/>
                  </a:lnTo>
                  <a:lnTo>
                    <a:pt x="90" y="138"/>
                  </a:lnTo>
                  <a:lnTo>
                    <a:pt x="71" y="138"/>
                  </a:lnTo>
                  <a:lnTo>
                    <a:pt x="71" y="121"/>
                  </a:lnTo>
                  <a:lnTo>
                    <a:pt x="90" y="121"/>
                  </a:lnTo>
                  <a:lnTo>
                    <a:pt x="124" y="121"/>
                  </a:lnTo>
                  <a:lnTo>
                    <a:pt x="107" y="121"/>
                  </a:lnTo>
                  <a:lnTo>
                    <a:pt x="90" y="121"/>
                  </a:lnTo>
                  <a:lnTo>
                    <a:pt x="71" y="121"/>
                  </a:lnTo>
                  <a:lnTo>
                    <a:pt x="53" y="121"/>
                  </a:lnTo>
                  <a:lnTo>
                    <a:pt x="71" y="121"/>
                  </a:lnTo>
                  <a:lnTo>
                    <a:pt x="53" y="121"/>
                  </a:lnTo>
                  <a:lnTo>
                    <a:pt x="36" y="121"/>
                  </a:lnTo>
                  <a:lnTo>
                    <a:pt x="17" y="121"/>
                  </a:lnTo>
                  <a:lnTo>
                    <a:pt x="0" y="121"/>
                  </a:lnTo>
                  <a:lnTo>
                    <a:pt x="17" y="104"/>
                  </a:lnTo>
                  <a:lnTo>
                    <a:pt x="71" y="87"/>
                  </a:lnTo>
                  <a:lnTo>
                    <a:pt x="107" y="69"/>
                  </a:lnTo>
                  <a:lnTo>
                    <a:pt x="124" y="69"/>
                  </a:lnTo>
                  <a:lnTo>
                    <a:pt x="161" y="52"/>
                  </a:lnTo>
                  <a:lnTo>
                    <a:pt x="178" y="52"/>
                  </a:lnTo>
                  <a:lnTo>
                    <a:pt x="196" y="52"/>
                  </a:lnTo>
                  <a:lnTo>
                    <a:pt x="213" y="52"/>
                  </a:lnTo>
                  <a:lnTo>
                    <a:pt x="247" y="69"/>
                  </a:lnTo>
                  <a:lnTo>
                    <a:pt x="247" y="52"/>
                  </a:lnTo>
                  <a:lnTo>
                    <a:pt x="267" y="35"/>
                  </a:lnTo>
                  <a:lnTo>
                    <a:pt x="284" y="35"/>
                  </a:lnTo>
                  <a:lnTo>
                    <a:pt x="301" y="35"/>
                  </a:lnTo>
                  <a:lnTo>
                    <a:pt x="301" y="17"/>
                  </a:lnTo>
                  <a:lnTo>
                    <a:pt x="318" y="17"/>
                  </a:lnTo>
                  <a:lnTo>
                    <a:pt x="353" y="17"/>
                  </a:lnTo>
                  <a:lnTo>
                    <a:pt x="389" y="17"/>
                  </a:lnTo>
                  <a:lnTo>
                    <a:pt x="424" y="17"/>
                  </a:lnTo>
                  <a:lnTo>
                    <a:pt x="441" y="0"/>
                  </a:lnTo>
                  <a:lnTo>
                    <a:pt x="459" y="0"/>
                  </a:lnTo>
                  <a:lnTo>
                    <a:pt x="478" y="17"/>
                  </a:lnTo>
                  <a:lnTo>
                    <a:pt x="495" y="17"/>
                  </a:lnTo>
                  <a:lnTo>
                    <a:pt x="495" y="0"/>
                  </a:lnTo>
                  <a:lnTo>
                    <a:pt x="514" y="0"/>
                  </a:lnTo>
                  <a:lnTo>
                    <a:pt x="531" y="0"/>
                  </a:lnTo>
                  <a:lnTo>
                    <a:pt x="549" y="0"/>
                  </a:lnTo>
                  <a:lnTo>
                    <a:pt x="566" y="0"/>
                  </a:lnTo>
                  <a:lnTo>
                    <a:pt x="602" y="0"/>
                  </a:lnTo>
                  <a:lnTo>
                    <a:pt x="654" y="17"/>
                  </a:lnTo>
                  <a:lnTo>
                    <a:pt x="708" y="17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48" name="Freeform 22">
              <a:extLst>
                <a:ext uri="{FF2B5EF4-FFF2-40B4-BE49-F238E27FC236}">
                  <a16:creationId xmlns:a16="http://schemas.microsoft.com/office/drawing/2014/main" id="{3AB58C43-76BD-46AA-81A4-A89949C04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5699" y="1799508"/>
              <a:ext cx="167617" cy="118685"/>
            </a:xfrm>
            <a:custGeom>
              <a:avLst/>
              <a:gdLst>
                <a:gd name="T0" fmla="*/ 28738 w 175"/>
                <a:gd name="T1" fmla="*/ 7204 h 119"/>
                <a:gd name="T2" fmla="*/ 28738 w 175"/>
                <a:gd name="T3" fmla="*/ 10405 h 119"/>
                <a:gd name="T4" fmla="*/ 28738 w 175"/>
                <a:gd name="T5" fmla="*/ 13607 h 119"/>
                <a:gd name="T6" fmla="*/ 31931 w 175"/>
                <a:gd name="T7" fmla="*/ 13607 h 119"/>
                <a:gd name="T8" fmla="*/ 35125 w 175"/>
                <a:gd name="T9" fmla="*/ 13607 h 119"/>
                <a:gd name="T10" fmla="*/ 31931 w 175"/>
                <a:gd name="T11" fmla="*/ 17609 h 119"/>
                <a:gd name="T12" fmla="*/ 31931 w 175"/>
                <a:gd name="T13" fmla="*/ 20811 h 119"/>
                <a:gd name="T14" fmla="*/ 24747 w 175"/>
                <a:gd name="T15" fmla="*/ 24013 h 119"/>
                <a:gd name="T16" fmla="*/ 21554 w 175"/>
                <a:gd name="T17" fmla="*/ 24013 h 119"/>
                <a:gd name="T18" fmla="*/ 18361 w 175"/>
                <a:gd name="T19" fmla="*/ 24013 h 119"/>
                <a:gd name="T20" fmla="*/ 18361 w 175"/>
                <a:gd name="T21" fmla="*/ 20811 h 119"/>
                <a:gd name="T22" fmla="*/ 11176 w 175"/>
                <a:gd name="T23" fmla="*/ 17609 h 119"/>
                <a:gd name="T24" fmla="*/ 7185 w 175"/>
                <a:gd name="T25" fmla="*/ 13607 h 119"/>
                <a:gd name="T26" fmla="*/ 0 w 175"/>
                <a:gd name="T27" fmla="*/ 13607 h 119"/>
                <a:gd name="T28" fmla="*/ 0 w 175"/>
                <a:gd name="T29" fmla="*/ 10405 h 119"/>
                <a:gd name="T30" fmla="*/ 0 w 175"/>
                <a:gd name="T31" fmla="*/ 7204 h 119"/>
                <a:gd name="T32" fmla="*/ 3991 w 175"/>
                <a:gd name="T33" fmla="*/ 10405 h 119"/>
                <a:gd name="T34" fmla="*/ 7185 w 175"/>
                <a:gd name="T35" fmla="*/ 10405 h 119"/>
                <a:gd name="T36" fmla="*/ 11176 w 175"/>
                <a:gd name="T37" fmla="*/ 10405 h 119"/>
                <a:gd name="T38" fmla="*/ 11176 w 175"/>
                <a:gd name="T39" fmla="*/ 7204 h 119"/>
                <a:gd name="T40" fmla="*/ 11176 w 175"/>
                <a:gd name="T41" fmla="*/ 3202 h 119"/>
                <a:gd name="T42" fmla="*/ 7185 w 175"/>
                <a:gd name="T43" fmla="*/ 3202 h 119"/>
                <a:gd name="T44" fmla="*/ 7185 w 175"/>
                <a:gd name="T45" fmla="*/ 0 h 119"/>
                <a:gd name="T46" fmla="*/ 11176 w 175"/>
                <a:gd name="T47" fmla="*/ 0 h 119"/>
                <a:gd name="T48" fmla="*/ 14369 w 175"/>
                <a:gd name="T49" fmla="*/ 0 h 119"/>
                <a:gd name="T50" fmla="*/ 21554 w 175"/>
                <a:gd name="T51" fmla="*/ 0 h 119"/>
                <a:gd name="T52" fmla="*/ 24747 w 175"/>
                <a:gd name="T53" fmla="*/ 0 h 119"/>
                <a:gd name="T54" fmla="*/ 28738 w 175"/>
                <a:gd name="T55" fmla="*/ 0 h 119"/>
                <a:gd name="T56" fmla="*/ 28738 w 175"/>
                <a:gd name="T57" fmla="*/ 3202 h 119"/>
                <a:gd name="T58" fmla="*/ 24747 w 175"/>
                <a:gd name="T59" fmla="*/ 7204 h 119"/>
                <a:gd name="T60" fmla="*/ 21554 w 175"/>
                <a:gd name="T61" fmla="*/ 7204 h 119"/>
                <a:gd name="T62" fmla="*/ 24747 w 175"/>
                <a:gd name="T63" fmla="*/ 7204 h 119"/>
                <a:gd name="T64" fmla="*/ 28738 w 175"/>
                <a:gd name="T65" fmla="*/ 7204 h 11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75"/>
                <a:gd name="T100" fmla="*/ 0 h 119"/>
                <a:gd name="T101" fmla="*/ 175 w 175"/>
                <a:gd name="T102" fmla="*/ 119 h 11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75" h="119">
                  <a:moveTo>
                    <a:pt x="141" y="33"/>
                  </a:moveTo>
                  <a:lnTo>
                    <a:pt x="141" y="50"/>
                  </a:lnTo>
                  <a:lnTo>
                    <a:pt x="141" y="67"/>
                  </a:lnTo>
                  <a:lnTo>
                    <a:pt x="158" y="67"/>
                  </a:lnTo>
                  <a:lnTo>
                    <a:pt x="175" y="67"/>
                  </a:lnTo>
                  <a:lnTo>
                    <a:pt x="158" y="85"/>
                  </a:lnTo>
                  <a:lnTo>
                    <a:pt x="158" y="102"/>
                  </a:lnTo>
                  <a:lnTo>
                    <a:pt x="123" y="119"/>
                  </a:lnTo>
                  <a:lnTo>
                    <a:pt x="106" y="119"/>
                  </a:lnTo>
                  <a:lnTo>
                    <a:pt x="89" y="119"/>
                  </a:lnTo>
                  <a:lnTo>
                    <a:pt x="89" y="102"/>
                  </a:lnTo>
                  <a:lnTo>
                    <a:pt x="54" y="85"/>
                  </a:lnTo>
                  <a:lnTo>
                    <a:pt x="35" y="67"/>
                  </a:lnTo>
                  <a:lnTo>
                    <a:pt x="0" y="67"/>
                  </a:lnTo>
                  <a:lnTo>
                    <a:pt x="0" y="50"/>
                  </a:lnTo>
                  <a:lnTo>
                    <a:pt x="0" y="33"/>
                  </a:lnTo>
                  <a:lnTo>
                    <a:pt x="18" y="50"/>
                  </a:lnTo>
                  <a:lnTo>
                    <a:pt x="35" y="50"/>
                  </a:lnTo>
                  <a:lnTo>
                    <a:pt x="54" y="50"/>
                  </a:lnTo>
                  <a:lnTo>
                    <a:pt x="54" y="33"/>
                  </a:lnTo>
                  <a:lnTo>
                    <a:pt x="54" y="15"/>
                  </a:lnTo>
                  <a:lnTo>
                    <a:pt x="35" y="15"/>
                  </a:lnTo>
                  <a:lnTo>
                    <a:pt x="35" y="0"/>
                  </a:lnTo>
                  <a:lnTo>
                    <a:pt x="54" y="0"/>
                  </a:lnTo>
                  <a:lnTo>
                    <a:pt x="71" y="0"/>
                  </a:lnTo>
                  <a:lnTo>
                    <a:pt x="106" y="0"/>
                  </a:lnTo>
                  <a:lnTo>
                    <a:pt x="123" y="0"/>
                  </a:lnTo>
                  <a:lnTo>
                    <a:pt x="141" y="0"/>
                  </a:lnTo>
                  <a:lnTo>
                    <a:pt x="141" y="15"/>
                  </a:lnTo>
                  <a:lnTo>
                    <a:pt x="123" y="33"/>
                  </a:lnTo>
                  <a:lnTo>
                    <a:pt x="106" y="33"/>
                  </a:lnTo>
                  <a:lnTo>
                    <a:pt x="123" y="33"/>
                  </a:lnTo>
                  <a:lnTo>
                    <a:pt x="141" y="33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49" name="Freeform 23">
              <a:extLst>
                <a:ext uri="{FF2B5EF4-FFF2-40B4-BE49-F238E27FC236}">
                  <a16:creationId xmlns:a16="http://schemas.microsoft.com/office/drawing/2014/main" id="{7EBD99F8-CAD0-4B60-BDF4-17F19E4777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9509" y="1983467"/>
              <a:ext cx="99046" cy="73190"/>
            </a:xfrm>
            <a:custGeom>
              <a:avLst/>
              <a:gdLst>
                <a:gd name="T0" fmla="*/ 17632 w 103"/>
                <a:gd name="T1" fmla="*/ 15288 h 73"/>
                <a:gd name="T2" fmla="*/ 10419 w 103"/>
                <a:gd name="T3" fmla="*/ 11265 h 73"/>
                <a:gd name="T4" fmla="*/ 4007 w 103"/>
                <a:gd name="T5" fmla="*/ 8046 h 73"/>
                <a:gd name="T6" fmla="*/ 0 w 103"/>
                <a:gd name="T7" fmla="*/ 8046 h 73"/>
                <a:gd name="T8" fmla="*/ 4007 w 103"/>
                <a:gd name="T9" fmla="*/ 8046 h 73"/>
                <a:gd name="T10" fmla="*/ 4007 w 103"/>
                <a:gd name="T11" fmla="*/ 4023 h 73"/>
                <a:gd name="T12" fmla="*/ 7213 w 103"/>
                <a:gd name="T13" fmla="*/ 0 h 73"/>
                <a:gd name="T14" fmla="*/ 14426 w 103"/>
                <a:gd name="T15" fmla="*/ 4023 h 73"/>
                <a:gd name="T16" fmla="*/ 17632 w 103"/>
                <a:gd name="T17" fmla="*/ 8046 h 73"/>
                <a:gd name="T18" fmla="*/ 20838 w 103"/>
                <a:gd name="T19" fmla="*/ 11265 h 73"/>
                <a:gd name="T20" fmla="*/ 17632 w 103"/>
                <a:gd name="T21" fmla="*/ 11265 h 73"/>
                <a:gd name="T22" fmla="*/ 17632 w 103"/>
                <a:gd name="T23" fmla="*/ 15288 h 7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3"/>
                <a:gd name="T37" fmla="*/ 0 h 73"/>
                <a:gd name="T38" fmla="*/ 103 w 103"/>
                <a:gd name="T39" fmla="*/ 73 h 7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3" h="73">
                  <a:moveTo>
                    <a:pt x="86" y="73"/>
                  </a:moveTo>
                  <a:lnTo>
                    <a:pt x="52" y="56"/>
                  </a:lnTo>
                  <a:lnTo>
                    <a:pt x="17" y="37"/>
                  </a:lnTo>
                  <a:lnTo>
                    <a:pt x="0" y="37"/>
                  </a:lnTo>
                  <a:lnTo>
                    <a:pt x="17" y="37"/>
                  </a:lnTo>
                  <a:lnTo>
                    <a:pt x="17" y="19"/>
                  </a:lnTo>
                  <a:lnTo>
                    <a:pt x="34" y="0"/>
                  </a:lnTo>
                  <a:lnTo>
                    <a:pt x="69" y="19"/>
                  </a:lnTo>
                  <a:lnTo>
                    <a:pt x="86" y="37"/>
                  </a:lnTo>
                  <a:lnTo>
                    <a:pt x="103" y="56"/>
                  </a:lnTo>
                  <a:lnTo>
                    <a:pt x="86" y="56"/>
                  </a:lnTo>
                  <a:lnTo>
                    <a:pt x="86" y="73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0" name="Freeform 24">
              <a:extLst>
                <a:ext uri="{FF2B5EF4-FFF2-40B4-BE49-F238E27FC236}">
                  <a16:creationId xmlns:a16="http://schemas.microsoft.com/office/drawing/2014/main" id="{FEEE5846-8725-4E87-8AC7-B6D3947D4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3317" y="1763901"/>
              <a:ext cx="150476" cy="118685"/>
            </a:xfrm>
            <a:custGeom>
              <a:avLst/>
              <a:gdLst>
                <a:gd name="T0" fmla="*/ 30762 w 159"/>
                <a:gd name="T1" fmla="*/ 6298 h 121"/>
                <a:gd name="T2" fmla="*/ 27607 w 159"/>
                <a:gd name="T3" fmla="*/ 6298 h 121"/>
                <a:gd name="T4" fmla="*/ 24452 w 159"/>
                <a:gd name="T5" fmla="*/ 6298 h 121"/>
                <a:gd name="T6" fmla="*/ 21297 w 159"/>
                <a:gd name="T7" fmla="*/ 13382 h 121"/>
                <a:gd name="T8" fmla="*/ 21297 w 159"/>
                <a:gd name="T9" fmla="*/ 16531 h 121"/>
                <a:gd name="T10" fmla="*/ 13409 w 159"/>
                <a:gd name="T11" fmla="*/ 16531 h 121"/>
                <a:gd name="T12" fmla="*/ 10254 w 159"/>
                <a:gd name="T13" fmla="*/ 16531 h 121"/>
                <a:gd name="T14" fmla="*/ 10254 w 159"/>
                <a:gd name="T15" fmla="*/ 19680 h 121"/>
                <a:gd name="T16" fmla="*/ 10254 w 159"/>
                <a:gd name="T17" fmla="*/ 23616 h 121"/>
                <a:gd name="T18" fmla="*/ 6310 w 159"/>
                <a:gd name="T19" fmla="*/ 23616 h 121"/>
                <a:gd name="T20" fmla="*/ 3155 w 159"/>
                <a:gd name="T21" fmla="*/ 23616 h 121"/>
                <a:gd name="T22" fmla="*/ 3155 w 159"/>
                <a:gd name="T23" fmla="*/ 19680 h 121"/>
                <a:gd name="T24" fmla="*/ 3155 w 159"/>
                <a:gd name="T25" fmla="*/ 16531 h 121"/>
                <a:gd name="T26" fmla="*/ 3155 w 159"/>
                <a:gd name="T27" fmla="*/ 13382 h 121"/>
                <a:gd name="T28" fmla="*/ 0 w 159"/>
                <a:gd name="T29" fmla="*/ 6298 h 121"/>
                <a:gd name="T30" fmla="*/ 3155 w 159"/>
                <a:gd name="T31" fmla="*/ 6298 h 121"/>
                <a:gd name="T32" fmla="*/ 6310 w 159"/>
                <a:gd name="T33" fmla="*/ 6298 h 121"/>
                <a:gd name="T34" fmla="*/ 6310 w 159"/>
                <a:gd name="T35" fmla="*/ 3149 h 121"/>
                <a:gd name="T36" fmla="*/ 10254 w 159"/>
                <a:gd name="T37" fmla="*/ 3149 h 121"/>
                <a:gd name="T38" fmla="*/ 10254 w 159"/>
                <a:gd name="T39" fmla="*/ 0 h 121"/>
                <a:gd name="T40" fmla="*/ 17353 w 159"/>
                <a:gd name="T41" fmla="*/ 3149 h 121"/>
                <a:gd name="T42" fmla="*/ 21297 w 159"/>
                <a:gd name="T43" fmla="*/ 3149 h 121"/>
                <a:gd name="T44" fmla="*/ 30762 w 159"/>
                <a:gd name="T45" fmla="*/ 3149 h 121"/>
                <a:gd name="T46" fmla="*/ 30762 w 159"/>
                <a:gd name="T47" fmla="*/ 6298 h 12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59"/>
                <a:gd name="T73" fmla="*/ 0 h 121"/>
                <a:gd name="T74" fmla="*/ 159 w 159"/>
                <a:gd name="T75" fmla="*/ 121 h 12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59" h="121">
                  <a:moveTo>
                    <a:pt x="159" y="34"/>
                  </a:moveTo>
                  <a:lnTo>
                    <a:pt x="142" y="34"/>
                  </a:lnTo>
                  <a:lnTo>
                    <a:pt x="125" y="34"/>
                  </a:lnTo>
                  <a:lnTo>
                    <a:pt x="108" y="69"/>
                  </a:lnTo>
                  <a:lnTo>
                    <a:pt x="108" y="86"/>
                  </a:lnTo>
                  <a:lnTo>
                    <a:pt x="71" y="86"/>
                  </a:lnTo>
                  <a:lnTo>
                    <a:pt x="54" y="86"/>
                  </a:lnTo>
                  <a:lnTo>
                    <a:pt x="54" y="103"/>
                  </a:lnTo>
                  <a:lnTo>
                    <a:pt x="54" y="121"/>
                  </a:lnTo>
                  <a:lnTo>
                    <a:pt x="35" y="121"/>
                  </a:lnTo>
                  <a:lnTo>
                    <a:pt x="17" y="121"/>
                  </a:lnTo>
                  <a:lnTo>
                    <a:pt x="17" y="103"/>
                  </a:lnTo>
                  <a:lnTo>
                    <a:pt x="17" y="86"/>
                  </a:lnTo>
                  <a:lnTo>
                    <a:pt x="17" y="69"/>
                  </a:lnTo>
                  <a:lnTo>
                    <a:pt x="0" y="34"/>
                  </a:lnTo>
                  <a:lnTo>
                    <a:pt x="17" y="34"/>
                  </a:lnTo>
                  <a:lnTo>
                    <a:pt x="35" y="34"/>
                  </a:lnTo>
                  <a:lnTo>
                    <a:pt x="35" y="17"/>
                  </a:lnTo>
                  <a:lnTo>
                    <a:pt x="54" y="17"/>
                  </a:lnTo>
                  <a:lnTo>
                    <a:pt x="54" y="0"/>
                  </a:lnTo>
                  <a:lnTo>
                    <a:pt x="88" y="17"/>
                  </a:lnTo>
                  <a:lnTo>
                    <a:pt x="108" y="17"/>
                  </a:lnTo>
                  <a:lnTo>
                    <a:pt x="159" y="17"/>
                  </a:lnTo>
                  <a:lnTo>
                    <a:pt x="159" y="34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1" name="Freeform 25">
              <a:extLst>
                <a:ext uri="{FF2B5EF4-FFF2-40B4-BE49-F238E27FC236}">
                  <a16:creationId xmlns:a16="http://schemas.microsoft.com/office/drawing/2014/main" id="{EFC810FF-32D3-4024-B8A3-89EDFD2D3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6171" y="2070502"/>
              <a:ext cx="49524" cy="35606"/>
            </a:xfrm>
            <a:custGeom>
              <a:avLst/>
              <a:gdLst>
                <a:gd name="T0" fmla="*/ 10319 w 52"/>
                <a:gd name="T1" fmla="*/ 3969 h 36"/>
                <a:gd name="T2" fmla="*/ 3969 w 52"/>
                <a:gd name="T3" fmla="*/ 7144 h 36"/>
                <a:gd name="T4" fmla="*/ 0 w 52"/>
                <a:gd name="T5" fmla="*/ 7144 h 36"/>
                <a:gd name="T6" fmla="*/ 0 w 52"/>
                <a:gd name="T7" fmla="*/ 3969 h 36"/>
                <a:gd name="T8" fmla="*/ 0 w 52"/>
                <a:gd name="T9" fmla="*/ 0 h 36"/>
                <a:gd name="T10" fmla="*/ 7144 w 52"/>
                <a:gd name="T11" fmla="*/ 0 h 36"/>
                <a:gd name="T12" fmla="*/ 10319 w 52"/>
                <a:gd name="T13" fmla="*/ 3969 h 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36"/>
                <a:gd name="T23" fmla="*/ 52 w 52"/>
                <a:gd name="T24" fmla="*/ 36 h 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36">
                  <a:moveTo>
                    <a:pt x="52" y="19"/>
                  </a:moveTo>
                  <a:lnTo>
                    <a:pt x="17" y="36"/>
                  </a:lnTo>
                  <a:lnTo>
                    <a:pt x="0" y="36"/>
                  </a:lnTo>
                  <a:lnTo>
                    <a:pt x="0" y="19"/>
                  </a:lnTo>
                  <a:lnTo>
                    <a:pt x="0" y="0"/>
                  </a:lnTo>
                  <a:lnTo>
                    <a:pt x="35" y="0"/>
                  </a:lnTo>
                  <a:lnTo>
                    <a:pt x="52" y="19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2" name="Freeform 26">
              <a:extLst>
                <a:ext uri="{FF2B5EF4-FFF2-40B4-BE49-F238E27FC236}">
                  <a16:creationId xmlns:a16="http://schemas.microsoft.com/office/drawing/2014/main" id="{EA870211-76AE-47B6-ACA7-D6A2A3553E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8077" y="1799508"/>
              <a:ext cx="135237" cy="49452"/>
            </a:xfrm>
            <a:custGeom>
              <a:avLst/>
              <a:gdLst>
                <a:gd name="T0" fmla="*/ 10319 w 142"/>
                <a:gd name="T1" fmla="*/ 10319 h 50"/>
                <a:gd name="T2" fmla="*/ 7144 w 142"/>
                <a:gd name="T3" fmla="*/ 10319 h 50"/>
                <a:gd name="T4" fmla="*/ 7144 w 142"/>
                <a:gd name="T5" fmla="*/ 7144 h 50"/>
                <a:gd name="T6" fmla="*/ 3175 w 142"/>
                <a:gd name="T7" fmla="*/ 2381 h 50"/>
                <a:gd name="T8" fmla="*/ 0 w 142"/>
                <a:gd name="T9" fmla="*/ 2381 h 50"/>
                <a:gd name="T10" fmla="*/ 0 w 142"/>
                <a:gd name="T11" fmla="*/ 0 h 50"/>
                <a:gd name="T12" fmla="*/ 3175 w 142"/>
                <a:gd name="T13" fmla="*/ 0 h 50"/>
                <a:gd name="T14" fmla="*/ 10319 w 142"/>
                <a:gd name="T15" fmla="*/ 0 h 50"/>
                <a:gd name="T16" fmla="*/ 14288 w 142"/>
                <a:gd name="T17" fmla="*/ 0 h 50"/>
                <a:gd name="T18" fmla="*/ 21431 w 142"/>
                <a:gd name="T19" fmla="*/ 0 h 50"/>
                <a:gd name="T20" fmla="*/ 24606 w 142"/>
                <a:gd name="T21" fmla="*/ 2381 h 50"/>
                <a:gd name="T22" fmla="*/ 28575 w 142"/>
                <a:gd name="T23" fmla="*/ 7144 h 50"/>
                <a:gd name="T24" fmla="*/ 24606 w 142"/>
                <a:gd name="T25" fmla="*/ 7144 h 50"/>
                <a:gd name="T26" fmla="*/ 24606 w 142"/>
                <a:gd name="T27" fmla="*/ 10319 h 50"/>
                <a:gd name="T28" fmla="*/ 21431 w 142"/>
                <a:gd name="T29" fmla="*/ 10319 h 50"/>
                <a:gd name="T30" fmla="*/ 17463 w 142"/>
                <a:gd name="T31" fmla="*/ 7144 h 50"/>
                <a:gd name="T32" fmla="*/ 17463 w 142"/>
                <a:gd name="T33" fmla="*/ 10319 h 50"/>
                <a:gd name="T34" fmla="*/ 14288 w 142"/>
                <a:gd name="T35" fmla="*/ 10319 h 50"/>
                <a:gd name="T36" fmla="*/ 10319 w 142"/>
                <a:gd name="T37" fmla="*/ 10319 h 5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2"/>
                <a:gd name="T58" fmla="*/ 0 h 50"/>
                <a:gd name="T59" fmla="*/ 142 w 142"/>
                <a:gd name="T60" fmla="*/ 50 h 5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2" h="50">
                  <a:moveTo>
                    <a:pt x="54" y="50"/>
                  </a:moveTo>
                  <a:lnTo>
                    <a:pt x="37" y="50"/>
                  </a:lnTo>
                  <a:lnTo>
                    <a:pt x="37" y="33"/>
                  </a:lnTo>
                  <a:lnTo>
                    <a:pt x="19" y="1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9" y="0"/>
                  </a:lnTo>
                  <a:lnTo>
                    <a:pt x="54" y="0"/>
                  </a:lnTo>
                  <a:lnTo>
                    <a:pt x="71" y="0"/>
                  </a:lnTo>
                  <a:lnTo>
                    <a:pt x="108" y="0"/>
                  </a:lnTo>
                  <a:lnTo>
                    <a:pt x="125" y="15"/>
                  </a:lnTo>
                  <a:lnTo>
                    <a:pt x="142" y="33"/>
                  </a:lnTo>
                  <a:lnTo>
                    <a:pt x="125" y="33"/>
                  </a:lnTo>
                  <a:lnTo>
                    <a:pt x="125" y="50"/>
                  </a:lnTo>
                  <a:lnTo>
                    <a:pt x="108" y="50"/>
                  </a:lnTo>
                  <a:lnTo>
                    <a:pt x="90" y="33"/>
                  </a:lnTo>
                  <a:lnTo>
                    <a:pt x="90" y="50"/>
                  </a:lnTo>
                  <a:lnTo>
                    <a:pt x="71" y="50"/>
                  </a:lnTo>
                  <a:lnTo>
                    <a:pt x="54" y="50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3" name="Freeform 27">
              <a:extLst>
                <a:ext uri="{FF2B5EF4-FFF2-40B4-BE49-F238E27FC236}">
                  <a16:creationId xmlns:a16="http://schemas.microsoft.com/office/drawing/2014/main" id="{242A770B-FCEB-4F74-82D2-2F6CE8CE81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1410" y="2019072"/>
              <a:ext cx="13334" cy="0"/>
            </a:xfrm>
            <a:custGeom>
              <a:avLst/>
              <a:gdLst>
                <a:gd name="T0" fmla="*/ 0 w 13"/>
                <a:gd name="T1" fmla="*/ 3419 w 13"/>
                <a:gd name="T2" fmla="*/ 0 w 13"/>
                <a:gd name="T3" fmla="*/ 0 60000 65536"/>
                <a:gd name="T4" fmla="*/ 0 60000 65536"/>
                <a:gd name="T5" fmla="*/ 0 60000 65536"/>
                <a:gd name="T6" fmla="*/ 0 w 13"/>
                <a:gd name="T7" fmla="*/ 13 w 13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T6" t="0" r="T7" b="0"/>
              <a:pathLst>
                <a:path w="13">
                  <a:moveTo>
                    <a:pt x="0" y="0"/>
                  </a:moveTo>
                  <a:lnTo>
                    <a:pt x="13" y="0"/>
                  </a:lnTo>
                  <a:lnTo>
                    <a:pt x="0" y="0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4" name="Freeform 28">
              <a:extLst>
                <a:ext uri="{FF2B5EF4-FFF2-40B4-BE49-F238E27FC236}">
                  <a16:creationId xmlns:a16="http://schemas.microsoft.com/office/drawing/2014/main" id="{D410A847-1F06-44E4-A652-E3F279B13E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3793" y="1799508"/>
              <a:ext cx="758090" cy="530124"/>
            </a:xfrm>
            <a:custGeom>
              <a:avLst/>
              <a:gdLst>
                <a:gd name="T0" fmla="*/ 143849 w 795"/>
                <a:gd name="T1" fmla="*/ 78728 h 535"/>
                <a:gd name="T2" fmla="*/ 127160 w 795"/>
                <a:gd name="T3" fmla="*/ 69185 h 535"/>
                <a:gd name="T4" fmla="*/ 127160 w 795"/>
                <a:gd name="T5" fmla="*/ 72366 h 535"/>
                <a:gd name="T6" fmla="*/ 127160 w 795"/>
                <a:gd name="T7" fmla="*/ 75547 h 535"/>
                <a:gd name="T8" fmla="*/ 133518 w 795"/>
                <a:gd name="T9" fmla="*/ 78728 h 535"/>
                <a:gd name="T10" fmla="*/ 140670 w 795"/>
                <a:gd name="T11" fmla="*/ 82704 h 535"/>
                <a:gd name="T12" fmla="*/ 140670 w 795"/>
                <a:gd name="T13" fmla="*/ 93042 h 535"/>
                <a:gd name="T14" fmla="*/ 133518 w 795"/>
                <a:gd name="T15" fmla="*/ 96223 h 535"/>
                <a:gd name="T16" fmla="*/ 123186 w 795"/>
                <a:gd name="T17" fmla="*/ 96223 h 535"/>
                <a:gd name="T18" fmla="*/ 130339 w 795"/>
                <a:gd name="T19" fmla="*/ 106561 h 535"/>
                <a:gd name="T20" fmla="*/ 120007 w 795"/>
                <a:gd name="T21" fmla="*/ 100199 h 535"/>
                <a:gd name="T22" fmla="*/ 102523 w 795"/>
                <a:gd name="T23" fmla="*/ 96223 h 535"/>
                <a:gd name="T24" fmla="*/ 92191 w 795"/>
                <a:gd name="T25" fmla="*/ 85885 h 535"/>
                <a:gd name="T26" fmla="*/ 81064 w 795"/>
                <a:gd name="T27" fmla="*/ 82704 h 535"/>
                <a:gd name="T28" fmla="*/ 66759 w 795"/>
                <a:gd name="T29" fmla="*/ 82704 h 535"/>
                <a:gd name="T30" fmla="*/ 73912 w 795"/>
                <a:gd name="T31" fmla="*/ 78728 h 535"/>
                <a:gd name="T32" fmla="*/ 85038 w 795"/>
                <a:gd name="T33" fmla="*/ 78728 h 535"/>
                <a:gd name="T34" fmla="*/ 88217 w 795"/>
                <a:gd name="T35" fmla="*/ 75547 h 535"/>
                <a:gd name="T36" fmla="*/ 88217 w 795"/>
                <a:gd name="T37" fmla="*/ 69185 h 535"/>
                <a:gd name="T38" fmla="*/ 95370 w 795"/>
                <a:gd name="T39" fmla="*/ 65209 h 535"/>
                <a:gd name="T40" fmla="*/ 88217 w 795"/>
                <a:gd name="T41" fmla="*/ 48509 h 535"/>
                <a:gd name="T42" fmla="*/ 77885 w 795"/>
                <a:gd name="T43" fmla="*/ 48509 h 535"/>
                <a:gd name="T44" fmla="*/ 77885 w 795"/>
                <a:gd name="T45" fmla="*/ 45328 h 535"/>
                <a:gd name="T46" fmla="*/ 63580 w 795"/>
                <a:gd name="T47" fmla="*/ 34195 h 535"/>
                <a:gd name="T48" fmla="*/ 57222 w 795"/>
                <a:gd name="T49" fmla="*/ 41352 h 535"/>
                <a:gd name="T50" fmla="*/ 46095 w 795"/>
                <a:gd name="T51" fmla="*/ 34195 h 535"/>
                <a:gd name="T52" fmla="*/ 25432 w 795"/>
                <a:gd name="T53" fmla="*/ 34195 h 535"/>
                <a:gd name="T54" fmla="*/ 15100 w 795"/>
                <a:gd name="T55" fmla="*/ 34195 h 535"/>
                <a:gd name="T56" fmla="*/ 3974 w 795"/>
                <a:gd name="T57" fmla="*/ 27038 h 535"/>
                <a:gd name="T58" fmla="*/ 15100 w 795"/>
                <a:gd name="T59" fmla="*/ 27038 h 535"/>
                <a:gd name="T60" fmla="*/ 3974 w 795"/>
                <a:gd name="T61" fmla="*/ 23857 h 535"/>
                <a:gd name="T62" fmla="*/ 3974 w 795"/>
                <a:gd name="T63" fmla="*/ 13519 h 535"/>
                <a:gd name="T64" fmla="*/ 11126 w 795"/>
                <a:gd name="T65" fmla="*/ 0 h 535"/>
                <a:gd name="T66" fmla="*/ 25432 w 795"/>
                <a:gd name="T67" fmla="*/ 0 h 535"/>
                <a:gd name="T68" fmla="*/ 18279 w 795"/>
                <a:gd name="T69" fmla="*/ 10338 h 535"/>
                <a:gd name="T70" fmla="*/ 21458 w 795"/>
                <a:gd name="T71" fmla="*/ 17495 h 535"/>
                <a:gd name="T72" fmla="*/ 25432 w 795"/>
                <a:gd name="T73" fmla="*/ 10338 h 535"/>
                <a:gd name="T74" fmla="*/ 46095 w 795"/>
                <a:gd name="T75" fmla="*/ 0 h 535"/>
                <a:gd name="T76" fmla="*/ 53248 w 795"/>
                <a:gd name="T77" fmla="*/ 13519 h 535"/>
                <a:gd name="T78" fmla="*/ 63580 w 795"/>
                <a:gd name="T79" fmla="*/ 13519 h 535"/>
                <a:gd name="T80" fmla="*/ 73912 w 795"/>
                <a:gd name="T81" fmla="*/ 10338 h 535"/>
                <a:gd name="T82" fmla="*/ 85038 w 795"/>
                <a:gd name="T83" fmla="*/ 17495 h 535"/>
                <a:gd name="T84" fmla="*/ 98549 w 795"/>
                <a:gd name="T85" fmla="*/ 23857 h 535"/>
                <a:gd name="T86" fmla="*/ 109675 w 795"/>
                <a:gd name="T87" fmla="*/ 27038 h 535"/>
                <a:gd name="T88" fmla="*/ 120007 w 795"/>
                <a:gd name="T89" fmla="*/ 34195 h 535"/>
                <a:gd name="T90" fmla="*/ 130339 w 795"/>
                <a:gd name="T91" fmla="*/ 37376 h 535"/>
                <a:gd name="T92" fmla="*/ 120007 w 795"/>
                <a:gd name="T93" fmla="*/ 41352 h 535"/>
                <a:gd name="T94" fmla="*/ 130339 w 795"/>
                <a:gd name="T95" fmla="*/ 41352 h 535"/>
                <a:gd name="T96" fmla="*/ 123186 w 795"/>
                <a:gd name="T97" fmla="*/ 48509 h 535"/>
                <a:gd name="T98" fmla="*/ 130339 w 795"/>
                <a:gd name="T99" fmla="*/ 51690 h 535"/>
                <a:gd name="T100" fmla="*/ 140670 w 795"/>
                <a:gd name="T101" fmla="*/ 58847 h 535"/>
                <a:gd name="T102" fmla="*/ 147823 w 795"/>
                <a:gd name="T103" fmla="*/ 62028 h 535"/>
                <a:gd name="T104" fmla="*/ 154976 w 795"/>
                <a:gd name="T105" fmla="*/ 69185 h 535"/>
                <a:gd name="T106" fmla="*/ 154976 w 795"/>
                <a:gd name="T107" fmla="*/ 72366 h 535"/>
                <a:gd name="T108" fmla="*/ 147823 w 795"/>
                <a:gd name="T109" fmla="*/ 75547 h 53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95"/>
                <a:gd name="T166" fmla="*/ 0 h 535"/>
                <a:gd name="T167" fmla="*/ 795 w 795"/>
                <a:gd name="T168" fmla="*/ 535 h 53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95" h="535">
                  <a:moveTo>
                    <a:pt x="741" y="378"/>
                  </a:moveTo>
                  <a:lnTo>
                    <a:pt x="741" y="395"/>
                  </a:lnTo>
                  <a:lnTo>
                    <a:pt x="724" y="395"/>
                  </a:lnTo>
                  <a:lnTo>
                    <a:pt x="690" y="395"/>
                  </a:lnTo>
                  <a:lnTo>
                    <a:pt x="672" y="361"/>
                  </a:lnTo>
                  <a:lnTo>
                    <a:pt x="638" y="346"/>
                  </a:lnTo>
                  <a:lnTo>
                    <a:pt x="619" y="346"/>
                  </a:lnTo>
                  <a:lnTo>
                    <a:pt x="619" y="361"/>
                  </a:lnTo>
                  <a:lnTo>
                    <a:pt x="638" y="361"/>
                  </a:lnTo>
                  <a:lnTo>
                    <a:pt x="619" y="361"/>
                  </a:lnTo>
                  <a:lnTo>
                    <a:pt x="619" y="378"/>
                  </a:lnTo>
                  <a:lnTo>
                    <a:pt x="638" y="378"/>
                  </a:lnTo>
                  <a:lnTo>
                    <a:pt x="638" y="395"/>
                  </a:lnTo>
                  <a:lnTo>
                    <a:pt x="655" y="395"/>
                  </a:lnTo>
                  <a:lnTo>
                    <a:pt x="672" y="395"/>
                  </a:lnTo>
                  <a:lnTo>
                    <a:pt x="672" y="413"/>
                  </a:lnTo>
                  <a:lnTo>
                    <a:pt x="690" y="413"/>
                  </a:lnTo>
                  <a:lnTo>
                    <a:pt x="707" y="413"/>
                  </a:lnTo>
                  <a:lnTo>
                    <a:pt x="707" y="430"/>
                  </a:lnTo>
                  <a:lnTo>
                    <a:pt x="707" y="447"/>
                  </a:lnTo>
                  <a:lnTo>
                    <a:pt x="707" y="466"/>
                  </a:lnTo>
                  <a:lnTo>
                    <a:pt x="707" y="484"/>
                  </a:lnTo>
                  <a:lnTo>
                    <a:pt x="707" y="501"/>
                  </a:lnTo>
                  <a:lnTo>
                    <a:pt x="672" y="484"/>
                  </a:lnTo>
                  <a:lnTo>
                    <a:pt x="638" y="466"/>
                  </a:lnTo>
                  <a:lnTo>
                    <a:pt x="601" y="447"/>
                  </a:lnTo>
                  <a:lnTo>
                    <a:pt x="619" y="484"/>
                  </a:lnTo>
                  <a:lnTo>
                    <a:pt x="655" y="501"/>
                  </a:lnTo>
                  <a:lnTo>
                    <a:pt x="655" y="518"/>
                  </a:lnTo>
                  <a:lnTo>
                    <a:pt x="655" y="535"/>
                  </a:lnTo>
                  <a:lnTo>
                    <a:pt x="655" y="518"/>
                  </a:lnTo>
                  <a:lnTo>
                    <a:pt x="619" y="501"/>
                  </a:lnTo>
                  <a:lnTo>
                    <a:pt x="601" y="501"/>
                  </a:lnTo>
                  <a:lnTo>
                    <a:pt x="584" y="501"/>
                  </a:lnTo>
                  <a:lnTo>
                    <a:pt x="532" y="501"/>
                  </a:lnTo>
                  <a:lnTo>
                    <a:pt x="515" y="484"/>
                  </a:lnTo>
                  <a:lnTo>
                    <a:pt x="515" y="447"/>
                  </a:lnTo>
                  <a:lnTo>
                    <a:pt x="478" y="447"/>
                  </a:lnTo>
                  <a:lnTo>
                    <a:pt x="461" y="430"/>
                  </a:lnTo>
                  <a:lnTo>
                    <a:pt x="425" y="413"/>
                  </a:lnTo>
                  <a:lnTo>
                    <a:pt x="425" y="430"/>
                  </a:lnTo>
                  <a:lnTo>
                    <a:pt x="407" y="413"/>
                  </a:lnTo>
                  <a:lnTo>
                    <a:pt x="390" y="413"/>
                  </a:lnTo>
                  <a:lnTo>
                    <a:pt x="371" y="430"/>
                  </a:lnTo>
                  <a:lnTo>
                    <a:pt x="336" y="413"/>
                  </a:lnTo>
                  <a:lnTo>
                    <a:pt x="336" y="395"/>
                  </a:lnTo>
                  <a:lnTo>
                    <a:pt x="354" y="395"/>
                  </a:lnTo>
                  <a:lnTo>
                    <a:pt x="371" y="395"/>
                  </a:lnTo>
                  <a:lnTo>
                    <a:pt x="390" y="395"/>
                  </a:lnTo>
                  <a:lnTo>
                    <a:pt x="407" y="395"/>
                  </a:lnTo>
                  <a:lnTo>
                    <a:pt x="425" y="395"/>
                  </a:lnTo>
                  <a:lnTo>
                    <a:pt x="442" y="395"/>
                  </a:lnTo>
                  <a:lnTo>
                    <a:pt x="461" y="378"/>
                  </a:lnTo>
                  <a:lnTo>
                    <a:pt x="442" y="378"/>
                  </a:lnTo>
                  <a:lnTo>
                    <a:pt x="442" y="361"/>
                  </a:lnTo>
                  <a:lnTo>
                    <a:pt x="425" y="361"/>
                  </a:lnTo>
                  <a:lnTo>
                    <a:pt x="442" y="346"/>
                  </a:lnTo>
                  <a:lnTo>
                    <a:pt x="461" y="346"/>
                  </a:lnTo>
                  <a:lnTo>
                    <a:pt x="478" y="346"/>
                  </a:lnTo>
                  <a:lnTo>
                    <a:pt x="478" y="328"/>
                  </a:lnTo>
                  <a:lnTo>
                    <a:pt x="478" y="311"/>
                  </a:lnTo>
                  <a:lnTo>
                    <a:pt x="478" y="276"/>
                  </a:lnTo>
                  <a:lnTo>
                    <a:pt x="442" y="242"/>
                  </a:lnTo>
                  <a:lnTo>
                    <a:pt x="407" y="225"/>
                  </a:lnTo>
                  <a:lnTo>
                    <a:pt x="407" y="242"/>
                  </a:lnTo>
                  <a:lnTo>
                    <a:pt x="390" y="242"/>
                  </a:lnTo>
                  <a:lnTo>
                    <a:pt x="371" y="242"/>
                  </a:lnTo>
                  <a:lnTo>
                    <a:pt x="371" y="225"/>
                  </a:lnTo>
                  <a:lnTo>
                    <a:pt x="390" y="225"/>
                  </a:lnTo>
                  <a:lnTo>
                    <a:pt x="371" y="205"/>
                  </a:lnTo>
                  <a:lnTo>
                    <a:pt x="354" y="171"/>
                  </a:lnTo>
                  <a:lnTo>
                    <a:pt x="319" y="171"/>
                  </a:lnTo>
                  <a:lnTo>
                    <a:pt x="302" y="171"/>
                  </a:lnTo>
                  <a:lnTo>
                    <a:pt x="302" y="188"/>
                  </a:lnTo>
                  <a:lnTo>
                    <a:pt x="285" y="205"/>
                  </a:lnTo>
                  <a:lnTo>
                    <a:pt x="267" y="205"/>
                  </a:lnTo>
                  <a:lnTo>
                    <a:pt x="267" y="188"/>
                  </a:lnTo>
                  <a:lnTo>
                    <a:pt x="231" y="171"/>
                  </a:lnTo>
                  <a:lnTo>
                    <a:pt x="179" y="188"/>
                  </a:lnTo>
                  <a:lnTo>
                    <a:pt x="125" y="188"/>
                  </a:lnTo>
                  <a:lnTo>
                    <a:pt x="125" y="171"/>
                  </a:lnTo>
                  <a:lnTo>
                    <a:pt x="108" y="171"/>
                  </a:lnTo>
                  <a:lnTo>
                    <a:pt x="91" y="171"/>
                  </a:lnTo>
                  <a:lnTo>
                    <a:pt x="73" y="171"/>
                  </a:lnTo>
                  <a:lnTo>
                    <a:pt x="56" y="171"/>
                  </a:lnTo>
                  <a:lnTo>
                    <a:pt x="39" y="154"/>
                  </a:lnTo>
                  <a:lnTo>
                    <a:pt x="20" y="136"/>
                  </a:lnTo>
                  <a:lnTo>
                    <a:pt x="39" y="136"/>
                  </a:lnTo>
                  <a:lnTo>
                    <a:pt x="56" y="136"/>
                  </a:lnTo>
                  <a:lnTo>
                    <a:pt x="73" y="136"/>
                  </a:lnTo>
                  <a:lnTo>
                    <a:pt x="73" y="119"/>
                  </a:lnTo>
                  <a:lnTo>
                    <a:pt x="56" y="119"/>
                  </a:lnTo>
                  <a:lnTo>
                    <a:pt x="20" y="119"/>
                  </a:lnTo>
                  <a:lnTo>
                    <a:pt x="20" y="102"/>
                  </a:lnTo>
                  <a:lnTo>
                    <a:pt x="0" y="102"/>
                  </a:lnTo>
                  <a:lnTo>
                    <a:pt x="20" y="67"/>
                  </a:lnTo>
                  <a:lnTo>
                    <a:pt x="20" y="50"/>
                  </a:lnTo>
                  <a:lnTo>
                    <a:pt x="20" y="33"/>
                  </a:lnTo>
                  <a:lnTo>
                    <a:pt x="56" y="0"/>
                  </a:lnTo>
                  <a:lnTo>
                    <a:pt x="73" y="0"/>
                  </a:lnTo>
                  <a:lnTo>
                    <a:pt x="108" y="0"/>
                  </a:lnTo>
                  <a:lnTo>
                    <a:pt x="125" y="0"/>
                  </a:lnTo>
                  <a:lnTo>
                    <a:pt x="125" y="15"/>
                  </a:lnTo>
                  <a:lnTo>
                    <a:pt x="108" y="33"/>
                  </a:lnTo>
                  <a:lnTo>
                    <a:pt x="91" y="50"/>
                  </a:lnTo>
                  <a:lnTo>
                    <a:pt x="91" y="67"/>
                  </a:lnTo>
                  <a:lnTo>
                    <a:pt x="108" y="67"/>
                  </a:lnTo>
                  <a:lnTo>
                    <a:pt x="108" y="85"/>
                  </a:lnTo>
                  <a:lnTo>
                    <a:pt x="125" y="85"/>
                  </a:lnTo>
                  <a:lnTo>
                    <a:pt x="125" y="67"/>
                  </a:lnTo>
                  <a:lnTo>
                    <a:pt x="125" y="50"/>
                  </a:lnTo>
                  <a:lnTo>
                    <a:pt x="143" y="15"/>
                  </a:lnTo>
                  <a:lnTo>
                    <a:pt x="196" y="0"/>
                  </a:lnTo>
                  <a:lnTo>
                    <a:pt x="231" y="0"/>
                  </a:lnTo>
                  <a:lnTo>
                    <a:pt x="248" y="0"/>
                  </a:lnTo>
                  <a:lnTo>
                    <a:pt x="248" y="33"/>
                  </a:lnTo>
                  <a:lnTo>
                    <a:pt x="267" y="67"/>
                  </a:lnTo>
                  <a:lnTo>
                    <a:pt x="285" y="67"/>
                  </a:lnTo>
                  <a:lnTo>
                    <a:pt x="302" y="67"/>
                  </a:lnTo>
                  <a:lnTo>
                    <a:pt x="319" y="67"/>
                  </a:lnTo>
                  <a:lnTo>
                    <a:pt x="336" y="67"/>
                  </a:lnTo>
                  <a:lnTo>
                    <a:pt x="354" y="50"/>
                  </a:lnTo>
                  <a:lnTo>
                    <a:pt x="371" y="50"/>
                  </a:lnTo>
                  <a:lnTo>
                    <a:pt x="390" y="67"/>
                  </a:lnTo>
                  <a:lnTo>
                    <a:pt x="425" y="67"/>
                  </a:lnTo>
                  <a:lnTo>
                    <a:pt x="425" y="85"/>
                  </a:lnTo>
                  <a:lnTo>
                    <a:pt x="442" y="102"/>
                  </a:lnTo>
                  <a:lnTo>
                    <a:pt x="478" y="119"/>
                  </a:lnTo>
                  <a:lnTo>
                    <a:pt x="496" y="119"/>
                  </a:lnTo>
                  <a:lnTo>
                    <a:pt x="515" y="119"/>
                  </a:lnTo>
                  <a:lnTo>
                    <a:pt x="532" y="119"/>
                  </a:lnTo>
                  <a:lnTo>
                    <a:pt x="549" y="136"/>
                  </a:lnTo>
                  <a:lnTo>
                    <a:pt x="584" y="154"/>
                  </a:lnTo>
                  <a:lnTo>
                    <a:pt x="601" y="154"/>
                  </a:lnTo>
                  <a:lnTo>
                    <a:pt x="601" y="171"/>
                  </a:lnTo>
                  <a:lnTo>
                    <a:pt x="619" y="171"/>
                  </a:lnTo>
                  <a:lnTo>
                    <a:pt x="638" y="171"/>
                  </a:lnTo>
                  <a:lnTo>
                    <a:pt x="655" y="188"/>
                  </a:lnTo>
                  <a:lnTo>
                    <a:pt x="638" y="188"/>
                  </a:lnTo>
                  <a:lnTo>
                    <a:pt x="619" y="205"/>
                  </a:lnTo>
                  <a:lnTo>
                    <a:pt x="601" y="205"/>
                  </a:lnTo>
                  <a:lnTo>
                    <a:pt x="619" y="205"/>
                  </a:lnTo>
                  <a:lnTo>
                    <a:pt x="638" y="205"/>
                  </a:lnTo>
                  <a:lnTo>
                    <a:pt x="655" y="205"/>
                  </a:lnTo>
                  <a:lnTo>
                    <a:pt x="655" y="225"/>
                  </a:lnTo>
                  <a:lnTo>
                    <a:pt x="638" y="225"/>
                  </a:lnTo>
                  <a:lnTo>
                    <a:pt x="619" y="242"/>
                  </a:lnTo>
                  <a:lnTo>
                    <a:pt x="638" y="242"/>
                  </a:lnTo>
                  <a:lnTo>
                    <a:pt x="655" y="242"/>
                  </a:lnTo>
                  <a:lnTo>
                    <a:pt x="655" y="259"/>
                  </a:lnTo>
                  <a:lnTo>
                    <a:pt x="672" y="276"/>
                  </a:lnTo>
                  <a:lnTo>
                    <a:pt x="690" y="294"/>
                  </a:lnTo>
                  <a:lnTo>
                    <a:pt x="707" y="294"/>
                  </a:lnTo>
                  <a:lnTo>
                    <a:pt x="707" y="311"/>
                  </a:lnTo>
                  <a:lnTo>
                    <a:pt x="724" y="311"/>
                  </a:lnTo>
                  <a:lnTo>
                    <a:pt x="741" y="311"/>
                  </a:lnTo>
                  <a:lnTo>
                    <a:pt x="761" y="328"/>
                  </a:lnTo>
                  <a:lnTo>
                    <a:pt x="778" y="328"/>
                  </a:lnTo>
                  <a:lnTo>
                    <a:pt x="778" y="346"/>
                  </a:lnTo>
                  <a:lnTo>
                    <a:pt x="795" y="346"/>
                  </a:lnTo>
                  <a:lnTo>
                    <a:pt x="778" y="346"/>
                  </a:lnTo>
                  <a:lnTo>
                    <a:pt x="778" y="361"/>
                  </a:lnTo>
                  <a:lnTo>
                    <a:pt x="778" y="378"/>
                  </a:lnTo>
                  <a:lnTo>
                    <a:pt x="761" y="378"/>
                  </a:lnTo>
                  <a:lnTo>
                    <a:pt x="741" y="378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75E34091-7571-45B4-9394-259144BD66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7122" y="1200150"/>
              <a:ext cx="1540940" cy="1194757"/>
            </a:xfrm>
            <a:custGeom>
              <a:avLst/>
              <a:gdLst>
                <a:gd name="T0" fmla="*/ 119063 w 1618"/>
                <a:gd name="T1" fmla="*/ 153860 h 1209"/>
                <a:gd name="T2" fmla="*/ 104775 w 1618"/>
                <a:gd name="T3" fmla="*/ 150688 h 1209"/>
                <a:gd name="T4" fmla="*/ 104775 w 1618"/>
                <a:gd name="T5" fmla="*/ 140378 h 1209"/>
                <a:gd name="T6" fmla="*/ 90488 w 1618"/>
                <a:gd name="T7" fmla="*/ 140378 h 1209"/>
                <a:gd name="T8" fmla="*/ 90488 w 1618"/>
                <a:gd name="T9" fmla="*/ 126102 h 1209"/>
                <a:gd name="T10" fmla="*/ 69850 w 1618"/>
                <a:gd name="T11" fmla="*/ 99137 h 1209"/>
                <a:gd name="T12" fmla="*/ 41275 w 1618"/>
                <a:gd name="T13" fmla="*/ 95171 h 1209"/>
                <a:gd name="T14" fmla="*/ 31750 w 1618"/>
                <a:gd name="T15" fmla="*/ 95171 h 1209"/>
                <a:gd name="T16" fmla="*/ 23813 w 1618"/>
                <a:gd name="T17" fmla="*/ 88826 h 1209"/>
                <a:gd name="T18" fmla="*/ 10319 w 1618"/>
                <a:gd name="T19" fmla="*/ 85654 h 1209"/>
                <a:gd name="T20" fmla="*/ 23813 w 1618"/>
                <a:gd name="T21" fmla="*/ 81689 h 1209"/>
                <a:gd name="T22" fmla="*/ 31750 w 1618"/>
                <a:gd name="T23" fmla="*/ 75344 h 1209"/>
                <a:gd name="T24" fmla="*/ 7144 w 1618"/>
                <a:gd name="T25" fmla="*/ 75344 h 1209"/>
                <a:gd name="T26" fmla="*/ 14288 w 1618"/>
                <a:gd name="T27" fmla="*/ 65034 h 1209"/>
                <a:gd name="T28" fmla="*/ 34925 w 1618"/>
                <a:gd name="T29" fmla="*/ 57896 h 1209"/>
                <a:gd name="T30" fmla="*/ 27781 w 1618"/>
                <a:gd name="T31" fmla="*/ 44413 h 1209"/>
                <a:gd name="T32" fmla="*/ 52388 w 1618"/>
                <a:gd name="T33" fmla="*/ 30138 h 1209"/>
                <a:gd name="T34" fmla="*/ 69850 w 1618"/>
                <a:gd name="T35" fmla="*/ 23793 h 1209"/>
                <a:gd name="T36" fmla="*/ 94456 w 1618"/>
                <a:gd name="T37" fmla="*/ 16655 h 1209"/>
                <a:gd name="T38" fmla="*/ 104775 w 1618"/>
                <a:gd name="T39" fmla="*/ 19827 h 1209"/>
                <a:gd name="T40" fmla="*/ 129381 w 1618"/>
                <a:gd name="T41" fmla="*/ 16655 h 1209"/>
                <a:gd name="T42" fmla="*/ 132556 w 1618"/>
                <a:gd name="T43" fmla="*/ 16655 h 1209"/>
                <a:gd name="T44" fmla="*/ 139700 w 1618"/>
                <a:gd name="T45" fmla="*/ 6345 h 1209"/>
                <a:gd name="T46" fmla="*/ 163513 w 1618"/>
                <a:gd name="T47" fmla="*/ 6345 h 1209"/>
                <a:gd name="T48" fmla="*/ 191294 w 1618"/>
                <a:gd name="T49" fmla="*/ 0 h 1209"/>
                <a:gd name="T50" fmla="*/ 237331 w 1618"/>
                <a:gd name="T51" fmla="*/ 3172 h 1209"/>
                <a:gd name="T52" fmla="*/ 272256 w 1618"/>
                <a:gd name="T53" fmla="*/ 13483 h 1209"/>
                <a:gd name="T54" fmla="*/ 234156 w 1618"/>
                <a:gd name="T55" fmla="*/ 19827 h 1209"/>
                <a:gd name="T56" fmla="*/ 241300 w 1618"/>
                <a:gd name="T57" fmla="*/ 19827 h 1209"/>
                <a:gd name="T58" fmla="*/ 251619 w 1618"/>
                <a:gd name="T59" fmla="*/ 30138 h 1209"/>
                <a:gd name="T60" fmla="*/ 272256 w 1618"/>
                <a:gd name="T61" fmla="*/ 26965 h 1209"/>
                <a:gd name="T62" fmla="*/ 272256 w 1618"/>
                <a:gd name="T63" fmla="*/ 30138 h 1209"/>
                <a:gd name="T64" fmla="*/ 293688 w 1618"/>
                <a:gd name="T65" fmla="*/ 26965 h 1209"/>
                <a:gd name="T66" fmla="*/ 311150 w 1618"/>
                <a:gd name="T67" fmla="*/ 23793 h 1209"/>
                <a:gd name="T68" fmla="*/ 321469 w 1618"/>
                <a:gd name="T69" fmla="*/ 30138 h 1209"/>
                <a:gd name="T70" fmla="*/ 300038 w 1618"/>
                <a:gd name="T71" fmla="*/ 44413 h 1209"/>
                <a:gd name="T72" fmla="*/ 286544 w 1618"/>
                <a:gd name="T73" fmla="*/ 51551 h 1209"/>
                <a:gd name="T74" fmla="*/ 276225 w 1618"/>
                <a:gd name="T75" fmla="*/ 65034 h 1209"/>
                <a:gd name="T76" fmla="*/ 286544 w 1618"/>
                <a:gd name="T77" fmla="*/ 71378 h 1209"/>
                <a:gd name="T78" fmla="*/ 293688 w 1618"/>
                <a:gd name="T79" fmla="*/ 81689 h 1209"/>
                <a:gd name="T80" fmla="*/ 276225 w 1618"/>
                <a:gd name="T81" fmla="*/ 88826 h 1209"/>
                <a:gd name="T82" fmla="*/ 286544 w 1618"/>
                <a:gd name="T83" fmla="*/ 102309 h 1209"/>
                <a:gd name="T84" fmla="*/ 286544 w 1618"/>
                <a:gd name="T85" fmla="*/ 109447 h 1209"/>
                <a:gd name="T86" fmla="*/ 272256 w 1618"/>
                <a:gd name="T87" fmla="*/ 122929 h 1209"/>
                <a:gd name="T88" fmla="*/ 269081 w 1618"/>
                <a:gd name="T89" fmla="*/ 122929 h 1209"/>
                <a:gd name="T90" fmla="*/ 261938 w 1618"/>
                <a:gd name="T91" fmla="*/ 130067 h 1209"/>
                <a:gd name="T92" fmla="*/ 272256 w 1618"/>
                <a:gd name="T93" fmla="*/ 140378 h 1209"/>
                <a:gd name="T94" fmla="*/ 261938 w 1618"/>
                <a:gd name="T95" fmla="*/ 143550 h 1209"/>
                <a:gd name="T96" fmla="*/ 255588 w 1618"/>
                <a:gd name="T97" fmla="*/ 153860 h 1209"/>
                <a:gd name="T98" fmla="*/ 258763 w 1618"/>
                <a:gd name="T99" fmla="*/ 160205 h 1209"/>
                <a:gd name="T100" fmla="*/ 223838 w 1618"/>
                <a:gd name="T101" fmla="*/ 170515 h 1209"/>
                <a:gd name="T102" fmla="*/ 213519 w 1618"/>
                <a:gd name="T103" fmla="*/ 177653 h 1209"/>
                <a:gd name="T104" fmla="*/ 195263 w 1618"/>
                <a:gd name="T105" fmla="*/ 191135 h 1209"/>
                <a:gd name="T106" fmla="*/ 184944 w 1618"/>
                <a:gd name="T107" fmla="*/ 191135 h 1209"/>
                <a:gd name="T108" fmla="*/ 170656 w 1618"/>
                <a:gd name="T109" fmla="*/ 205411 h 1209"/>
                <a:gd name="T110" fmla="*/ 160338 w 1618"/>
                <a:gd name="T111" fmla="*/ 218894 h 1209"/>
                <a:gd name="T112" fmla="*/ 157163 w 1618"/>
                <a:gd name="T113" fmla="*/ 239514 h 1209"/>
                <a:gd name="T114" fmla="*/ 146844 w 1618"/>
                <a:gd name="T115" fmla="*/ 235549 h 1209"/>
                <a:gd name="T116" fmla="*/ 129381 w 1618"/>
                <a:gd name="T117" fmla="*/ 229204 h 1209"/>
                <a:gd name="T118" fmla="*/ 115094 w 1618"/>
                <a:gd name="T119" fmla="*/ 211756 h 1209"/>
                <a:gd name="T120" fmla="*/ 111919 w 1618"/>
                <a:gd name="T121" fmla="*/ 201446 h 1209"/>
                <a:gd name="T122" fmla="*/ 100806 w 1618"/>
                <a:gd name="T123" fmla="*/ 188756 h 1209"/>
                <a:gd name="T124" fmla="*/ 108744 w 1618"/>
                <a:gd name="T125" fmla="*/ 170515 h 120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618"/>
                <a:gd name="T190" fmla="*/ 0 h 1209"/>
                <a:gd name="T191" fmla="*/ 1618 w 1618"/>
                <a:gd name="T192" fmla="*/ 1209 h 120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618" h="1209">
                  <a:moveTo>
                    <a:pt x="545" y="846"/>
                  </a:moveTo>
                  <a:lnTo>
                    <a:pt x="562" y="846"/>
                  </a:lnTo>
                  <a:lnTo>
                    <a:pt x="562" y="829"/>
                  </a:lnTo>
                  <a:lnTo>
                    <a:pt x="579" y="811"/>
                  </a:lnTo>
                  <a:lnTo>
                    <a:pt x="599" y="777"/>
                  </a:lnTo>
                  <a:lnTo>
                    <a:pt x="562" y="777"/>
                  </a:lnTo>
                  <a:lnTo>
                    <a:pt x="510" y="777"/>
                  </a:lnTo>
                  <a:lnTo>
                    <a:pt x="493" y="742"/>
                  </a:lnTo>
                  <a:lnTo>
                    <a:pt x="510" y="742"/>
                  </a:lnTo>
                  <a:lnTo>
                    <a:pt x="527" y="760"/>
                  </a:lnTo>
                  <a:lnTo>
                    <a:pt x="545" y="760"/>
                  </a:lnTo>
                  <a:lnTo>
                    <a:pt x="562" y="760"/>
                  </a:lnTo>
                  <a:lnTo>
                    <a:pt x="562" y="742"/>
                  </a:lnTo>
                  <a:lnTo>
                    <a:pt x="562" y="725"/>
                  </a:lnTo>
                  <a:lnTo>
                    <a:pt x="527" y="708"/>
                  </a:lnTo>
                  <a:lnTo>
                    <a:pt x="510" y="691"/>
                  </a:lnTo>
                  <a:lnTo>
                    <a:pt x="510" y="708"/>
                  </a:lnTo>
                  <a:lnTo>
                    <a:pt x="493" y="708"/>
                  </a:lnTo>
                  <a:lnTo>
                    <a:pt x="476" y="725"/>
                  </a:lnTo>
                  <a:lnTo>
                    <a:pt x="458" y="708"/>
                  </a:lnTo>
                  <a:lnTo>
                    <a:pt x="458" y="691"/>
                  </a:lnTo>
                  <a:lnTo>
                    <a:pt x="458" y="673"/>
                  </a:lnTo>
                  <a:lnTo>
                    <a:pt x="476" y="673"/>
                  </a:lnTo>
                  <a:lnTo>
                    <a:pt x="476" y="656"/>
                  </a:lnTo>
                  <a:lnTo>
                    <a:pt x="458" y="639"/>
                  </a:lnTo>
                  <a:lnTo>
                    <a:pt x="458" y="621"/>
                  </a:lnTo>
                  <a:lnTo>
                    <a:pt x="458" y="589"/>
                  </a:lnTo>
                  <a:lnTo>
                    <a:pt x="422" y="552"/>
                  </a:lnTo>
                  <a:lnTo>
                    <a:pt x="405" y="518"/>
                  </a:lnTo>
                  <a:lnTo>
                    <a:pt x="351" y="501"/>
                  </a:lnTo>
                  <a:lnTo>
                    <a:pt x="316" y="466"/>
                  </a:lnTo>
                  <a:lnTo>
                    <a:pt x="263" y="466"/>
                  </a:lnTo>
                  <a:lnTo>
                    <a:pt x="245" y="466"/>
                  </a:lnTo>
                  <a:lnTo>
                    <a:pt x="228" y="466"/>
                  </a:lnTo>
                  <a:lnTo>
                    <a:pt x="211" y="483"/>
                  </a:lnTo>
                  <a:lnTo>
                    <a:pt x="193" y="483"/>
                  </a:lnTo>
                  <a:lnTo>
                    <a:pt x="193" y="466"/>
                  </a:lnTo>
                  <a:lnTo>
                    <a:pt x="176" y="466"/>
                  </a:lnTo>
                  <a:lnTo>
                    <a:pt x="176" y="483"/>
                  </a:lnTo>
                  <a:lnTo>
                    <a:pt x="157" y="483"/>
                  </a:lnTo>
                  <a:lnTo>
                    <a:pt x="140" y="483"/>
                  </a:lnTo>
                  <a:lnTo>
                    <a:pt x="122" y="466"/>
                  </a:lnTo>
                  <a:lnTo>
                    <a:pt x="105" y="466"/>
                  </a:lnTo>
                  <a:lnTo>
                    <a:pt x="105" y="449"/>
                  </a:lnTo>
                  <a:lnTo>
                    <a:pt x="122" y="449"/>
                  </a:lnTo>
                  <a:lnTo>
                    <a:pt x="122" y="432"/>
                  </a:lnTo>
                  <a:lnTo>
                    <a:pt x="105" y="432"/>
                  </a:lnTo>
                  <a:lnTo>
                    <a:pt x="88" y="432"/>
                  </a:lnTo>
                  <a:lnTo>
                    <a:pt x="71" y="432"/>
                  </a:lnTo>
                  <a:lnTo>
                    <a:pt x="53" y="432"/>
                  </a:lnTo>
                  <a:lnTo>
                    <a:pt x="53" y="414"/>
                  </a:lnTo>
                  <a:lnTo>
                    <a:pt x="71" y="414"/>
                  </a:lnTo>
                  <a:lnTo>
                    <a:pt x="88" y="414"/>
                  </a:lnTo>
                  <a:lnTo>
                    <a:pt x="105" y="414"/>
                  </a:lnTo>
                  <a:lnTo>
                    <a:pt x="122" y="414"/>
                  </a:lnTo>
                  <a:lnTo>
                    <a:pt x="122" y="397"/>
                  </a:lnTo>
                  <a:lnTo>
                    <a:pt x="157" y="397"/>
                  </a:lnTo>
                  <a:lnTo>
                    <a:pt x="176" y="397"/>
                  </a:lnTo>
                  <a:lnTo>
                    <a:pt x="176" y="380"/>
                  </a:lnTo>
                  <a:lnTo>
                    <a:pt x="157" y="380"/>
                  </a:lnTo>
                  <a:lnTo>
                    <a:pt x="140" y="380"/>
                  </a:lnTo>
                  <a:lnTo>
                    <a:pt x="122" y="380"/>
                  </a:lnTo>
                  <a:lnTo>
                    <a:pt x="105" y="380"/>
                  </a:lnTo>
                  <a:lnTo>
                    <a:pt x="71" y="380"/>
                  </a:lnTo>
                  <a:lnTo>
                    <a:pt x="36" y="380"/>
                  </a:lnTo>
                  <a:lnTo>
                    <a:pt x="0" y="345"/>
                  </a:lnTo>
                  <a:lnTo>
                    <a:pt x="17" y="328"/>
                  </a:lnTo>
                  <a:lnTo>
                    <a:pt x="36" y="328"/>
                  </a:lnTo>
                  <a:lnTo>
                    <a:pt x="53" y="328"/>
                  </a:lnTo>
                  <a:lnTo>
                    <a:pt x="71" y="328"/>
                  </a:lnTo>
                  <a:lnTo>
                    <a:pt x="88" y="311"/>
                  </a:lnTo>
                  <a:lnTo>
                    <a:pt x="105" y="311"/>
                  </a:lnTo>
                  <a:lnTo>
                    <a:pt x="122" y="311"/>
                  </a:lnTo>
                  <a:lnTo>
                    <a:pt x="157" y="311"/>
                  </a:lnTo>
                  <a:lnTo>
                    <a:pt x="176" y="293"/>
                  </a:lnTo>
                  <a:lnTo>
                    <a:pt x="193" y="278"/>
                  </a:lnTo>
                  <a:lnTo>
                    <a:pt x="211" y="261"/>
                  </a:lnTo>
                  <a:lnTo>
                    <a:pt x="176" y="243"/>
                  </a:lnTo>
                  <a:lnTo>
                    <a:pt x="157" y="243"/>
                  </a:lnTo>
                  <a:lnTo>
                    <a:pt x="140" y="226"/>
                  </a:lnTo>
                  <a:lnTo>
                    <a:pt x="157" y="209"/>
                  </a:lnTo>
                  <a:lnTo>
                    <a:pt x="193" y="209"/>
                  </a:lnTo>
                  <a:lnTo>
                    <a:pt x="228" y="192"/>
                  </a:lnTo>
                  <a:lnTo>
                    <a:pt x="245" y="155"/>
                  </a:lnTo>
                  <a:lnTo>
                    <a:pt x="263" y="155"/>
                  </a:lnTo>
                  <a:lnTo>
                    <a:pt x="280" y="172"/>
                  </a:lnTo>
                  <a:lnTo>
                    <a:pt x="297" y="155"/>
                  </a:lnTo>
                  <a:lnTo>
                    <a:pt x="297" y="138"/>
                  </a:lnTo>
                  <a:lnTo>
                    <a:pt x="316" y="121"/>
                  </a:lnTo>
                  <a:lnTo>
                    <a:pt x="351" y="121"/>
                  </a:lnTo>
                  <a:lnTo>
                    <a:pt x="368" y="103"/>
                  </a:lnTo>
                  <a:lnTo>
                    <a:pt x="405" y="103"/>
                  </a:lnTo>
                  <a:lnTo>
                    <a:pt x="422" y="86"/>
                  </a:lnTo>
                  <a:lnTo>
                    <a:pt x="458" y="86"/>
                  </a:lnTo>
                  <a:lnTo>
                    <a:pt x="476" y="86"/>
                  </a:lnTo>
                  <a:lnTo>
                    <a:pt x="493" y="103"/>
                  </a:lnTo>
                  <a:lnTo>
                    <a:pt x="510" y="121"/>
                  </a:lnTo>
                  <a:lnTo>
                    <a:pt x="510" y="103"/>
                  </a:lnTo>
                  <a:lnTo>
                    <a:pt x="510" y="86"/>
                  </a:lnTo>
                  <a:lnTo>
                    <a:pt x="527" y="103"/>
                  </a:lnTo>
                  <a:lnTo>
                    <a:pt x="562" y="103"/>
                  </a:lnTo>
                  <a:lnTo>
                    <a:pt x="562" y="86"/>
                  </a:lnTo>
                  <a:lnTo>
                    <a:pt x="579" y="86"/>
                  </a:lnTo>
                  <a:lnTo>
                    <a:pt x="616" y="86"/>
                  </a:lnTo>
                  <a:lnTo>
                    <a:pt x="650" y="86"/>
                  </a:lnTo>
                  <a:lnTo>
                    <a:pt x="668" y="103"/>
                  </a:lnTo>
                  <a:lnTo>
                    <a:pt x="685" y="103"/>
                  </a:lnTo>
                  <a:lnTo>
                    <a:pt x="702" y="103"/>
                  </a:lnTo>
                  <a:lnTo>
                    <a:pt x="685" y="103"/>
                  </a:lnTo>
                  <a:lnTo>
                    <a:pt x="668" y="86"/>
                  </a:lnTo>
                  <a:lnTo>
                    <a:pt x="650" y="69"/>
                  </a:lnTo>
                  <a:lnTo>
                    <a:pt x="668" y="69"/>
                  </a:lnTo>
                  <a:lnTo>
                    <a:pt x="685" y="69"/>
                  </a:lnTo>
                  <a:lnTo>
                    <a:pt x="685" y="52"/>
                  </a:lnTo>
                  <a:lnTo>
                    <a:pt x="702" y="34"/>
                  </a:lnTo>
                  <a:lnTo>
                    <a:pt x="739" y="34"/>
                  </a:lnTo>
                  <a:lnTo>
                    <a:pt x="756" y="34"/>
                  </a:lnTo>
                  <a:lnTo>
                    <a:pt x="773" y="34"/>
                  </a:lnTo>
                  <a:lnTo>
                    <a:pt x="808" y="34"/>
                  </a:lnTo>
                  <a:lnTo>
                    <a:pt x="827" y="34"/>
                  </a:lnTo>
                  <a:lnTo>
                    <a:pt x="844" y="34"/>
                  </a:lnTo>
                  <a:lnTo>
                    <a:pt x="862" y="34"/>
                  </a:lnTo>
                  <a:lnTo>
                    <a:pt x="881" y="34"/>
                  </a:lnTo>
                  <a:lnTo>
                    <a:pt x="915" y="17"/>
                  </a:lnTo>
                  <a:lnTo>
                    <a:pt x="967" y="0"/>
                  </a:lnTo>
                  <a:lnTo>
                    <a:pt x="1004" y="0"/>
                  </a:lnTo>
                  <a:lnTo>
                    <a:pt x="1055" y="0"/>
                  </a:lnTo>
                  <a:lnTo>
                    <a:pt x="1090" y="0"/>
                  </a:lnTo>
                  <a:lnTo>
                    <a:pt x="1161" y="0"/>
                  </a:lnTo>
                  <a:lnTo>
                    <a:pt x="1196" y="17"/>
                  </a:lnTo>
                  <a:lnTo>
                    <a:pt x="1249" y="34"/>
                  </a:lnTo>
                  <a:lnTo>
                    <a:pt x="1286" y="52"/>
                  </a:lnTo>
                  <a:lnTo>
                    <a:pt x="1320" y="52"/>
                  </a:lnTo>
                  <a:lnTo>
                    <a:pt x="1338" y="52"/>
                  </a:lnTo>
                  <a:lnTo>
                    <a:pt x="1372" y="69"/>
                  </a:lnTo>
                  <a:lnTo>
                    <a:pt x="1355" y="86"/>
                  </a:lnTo>
                  <a:lnTo>
                    <a:pt x="1320" y="86"/>
                  </a:lnTo>
                  <a:lnTo>
                    <a:pt x="1267" y="86"/>
                  </a:lnTo>
                  <a:lnTo>
                    <a:pt x="1249" y="103"/>
                  </a:lnTo>
                  <a:lnTo>
                    <a:pt x="1178" y="103"/>
                  </a:lnTo>
                  <a:lnTo>
                    <a:pt x="1090" y="103"/>
                  </a:lnTo>
                  <a:lnTo>
                    <a:pt x="1073" y="103"/>
                  </a:lnTo>
                  <a:lnTo>
                    <a:pt x="1090" y="121"/>
                  </a:lnTo>
                  <a:lnTo>
                    <a:pt x="1161" y="103"/>
                  </a:lnTo>
                  <a:lnTo>
                    <a:pt x="1213" y="103"/>
                  </a:lnTo>
                  <a:lnTo>
                    <a:pt x="1267" y="103"/>
                  </a:lnTo>
                  <a:lnTo>
                    <a:pt x="1249" y="121"/>
                  </a:lnTo>
                  <a:lnTo>
                    <a:pt x="1230" y="155"/>
                  </a:lnTo>
                  <a:lnTo>
                    <a:pt x="1213" y="155"/>
                  </a:lnTo>
                  <a:lnTo>
                    <a:pt x="1267" y="155"/>
                  </a:lnTo>
                  <a:lnTo>
                    <a:pt x="1303" y="121"/>
                  </a:lnTo>
                  <a:lnTo>
                    <a:pt x="1338" y="103"/>
                  </a:lnTo>
                  <a:lnTo>
                    <a:pt x="1355" y="103"/>
                  </a:lnTo>
                  <a:lnTo>
                    <a:pt x="1355" y="121"/>
                  </a:lnTo>
                  <a:lnTo>
                    <a:pt x="1372" y="138"/>
                  </a:lnTo>
                  <a:lnTo>
                    <a:pt x="1338" y="155"/>
                  </a:lnTo>
                  <a:lnTo>
                    <a:pt x="1320" y="192"/>
                  </a:lnTo>
                  <a:lnTo>
                    <a:pt x="1303" y="209"/>
                  </a:lnTo>
                  <a:lnTo>
                    <a:pt x="1338" y="192"/>
                  </a:lnTo>
                  <a:lnTo>
                    <a:pt x="1372" y="155"/>
                  </a:lnTo>
                  <a:lnTo>
                    <a:pt x="1389" y="138"/>
                  </a:lnTo>
                  <a:lnTo>
                    <a:pt x="1407" y="138"/>
                  </a:lnTo>
                  <a:lnTo>
                    <a:pt x="1443" y="138"/>
                  </a:lnTo>
                  <a:lnTo>
                    <a:pt x="1460" y="138"/>
                  </a:lnTo>
                  <a:lnTo>
                    <a:pt x="1478" y="138"/>
                  </a:lnTo>
                  <a:lnTo>
                    <a:pt x="1495" y="138"/>
                  </a:lnTo>
                  <a:lnTo>
                    <a:pt x="1495" y="121"/>
                  </a:lnTo>
                  <a:lnTo>
                    <a:pt x="1512" y="121"/>
                  </a:lnTo>
                  <a:lnTo>
                    <a:pt x="1547" y="121"/>
                  </a:lnTo>
                  <a:lnTo>
                    <a:pt x="1566" y="121"/>
                  </a:lnTo>
                  <a:lnTo>
                    <a:pt x="1566" y="103"/>
                  </a:lnTo>
                  <a:lnTo>
                    <a:pt x="1601" y="103"/>
                  </a:lnTo>
                  <a:lnTo>
                    <a:pt x="1618" y="121"/>
                  </a:lnTo>
                  <a:lnTo>
                    <a:pt x="1618" y="138"/>
                  </a:lnTo>
                  <a:lnTo>
                    <a:pt x="1618" y="155"/>
                  </a:lnTo>
                  <a:lnTo>
                    <a:pt x="1566" y="172"/>
                  </a:lnTo>
                  <a:lnTo>
                    <a:pt x="1547" y="192"/>
                  </a:lnTo>
                  <a:lnTo>
                    <a:pt x="1512" y="209"/>
                  </a:lnTo>
                  <a:lnTo>
                    <a:pt x="1530" y="209"/>
                  </a:lnTo>
                  <a:lnTo>
                    <a:pt x="1512" y="226"/>
                  </a:lnTo>
                  <a:lnTo>
                    <a:pt x="1495" y="226"/>
                  </a:lnTo>
                  <a:lnTo>
                    <a:pt x="1495" y="243"/>
                  </a:lnTo>
                  <a:lnTo>
                    <a:pt x="1478" y="261"/>
                  </a:lnTo>
                  <a:lnTo>
                    <a:pt x="1460" y="261"/>
                  </a:lnTo>
                  <a:lnTo>
                    <a:pt x="1443" y="261"/>
                  </a:lnTo>
                  <a:lnTo>
                    <a:pt x="1443" y="278"/>
                  </a:lnTo>
                  <a:lnTo>
                    <a:pt x="1443" y="293"/>
                  </a:lnTo>
                  <a:lnTo>
                    <a:pt x="1426" y="311"/>
                  </a:lnTo>
                  <a:lnTo>
                    <a:pt x="1407" y="328"/>
                  </a:lnTo>
                  <a:lnTo>
                    <a:pt x="1389" y="328"/>
                  </a:lnTo>
                  <a:lnTo>
                    <a:pt x="1389" y="345"/>
                  </a:lnTo>
                  <a:lnTo>
                    <a:pt x="1389" y="362"/>
                  </a:lnTo>
                  <a:lnTo>
                    <a:pt x="1407" y="362"/>
                  </a:lnTo>
                  <a:lnTo>
                    <a:pt x="1426" y="362"/>
                  </a:lnTo>
                  <a:lnTo>
                    <a:pt x="1443" y="362"/>
                  </a:lnTo>
                  <a:lnTo>
                    <a:pt x="1443" y="380"/>
                  </a:lnTo>
                  <a:lnTo>
                    <a:pt x="1460" y="380"/>
                  </a:lnTo>
                  <a:lnTo>
                    <a:pt x="1443" y="380"/>
                  </a:lnTo>
                  <a:lnTo>
                    <a:pt x="1478" y="397"/>
                  </a:lnTo>
                  <a:lnTo>
                    <a:pt x="1478" y="414"/>
                  </a:lnTo>
                  <a:lnTo>
                    <a:pt x="1460" y="432"/>
                  </a:lnTo>
                  <a:lnTo>
                    <a:pt x="1443" y="432"/>
                  </a:lnTo>
                  <a:lnTo>
                    <a:pt x="1407" y="432"/>
                  </a:lnTo>
                  <a:lnTo>
                    <a:pt x="1389" y="432"/>
                  </a:lnTo>
                  <a:lnTo>
                    <a:pt x="1389" y="449"/>
                  </a:lnTo>
                  <a:lnTo>
                    <a:pt x="1407" y="449"/>
                  </a:lnTo>
                  <a:lnTo>
                    <a:pt x="1426" y="449"/>
                  </a:lnTo>
                  <a:lnTo>
                    <a:pt x="1443" y="483"/>
                  </a:lnTo>
                  <a:lnTo>
                    <a:pt x="1443" y="501"/>
                  </a:lnTo>
                  <a:lnTo>
                    <a:pt x="1443" y="518"/>
                  </a:lnTo>
                  <a:lnTo>
                    <a:pt x="1426" y="518"/>
                  </a:lnTo>
                  <a:lnTo>
                    <a:pt x="1407" y="518"/>
                  </a:lnTo>
                  <a:lnTo>
                    <a:pt x="1407" y="535"/>
                  </a:lnTo>
                  <a:lnTo>
                    <a:pt x="1426" y="552"/>
                  </a:lnTo>
                  <a:lnTo>
                    <a:pt x="1443" y="552"/>
                  </a:lnTo>
                  <a:lnTo>
                    <a:pt x="1426" y="572"/>
                  </a:lnTo>
                  <a:lnTo>
                    <a:pt x="1407" y="572"/>
                  </a:lnTo>
                  <a:lnTo>
                    <a:pt x="1407" y="589"/>
                  </a:lnTo>
                  <a:lnTo>
                    <a:pt x="1389" y="606"/>
                  </a:lnTo>
                  <a:lnTo>
                    <a:pt x="1372" y="621"/>
                  </a:lnTo>
                  <a:lnTo>
                    <a:pt x="1355" y="621"/>
                  </a:lnTo>
                  <a:lnTo>
                    <a:pt x="1338" y="606"/>
                  </a:lnTo>
                  <a:lnTo>
                    <a:pt x="1320" y="606"/>
                  </a:lnTo>
                  <a:lnTo>
                    <a:pt x="1338" y="621"/>
                  </a:lnTo>
                  <a:lnTo>
                    <a:pt x="1355" y="621"/>
                  </a:lnTo>
                  <a:lnTo>
                    <a:pt x="1372" y="656"/>
                  </a:lnTo>
                  <a:lnTo>
                    <a:pt x="1372" y="673"/>
                  </a:lnTo>
                  <a:lnTo>
                    <a:pt x="1355" y="673"/>
                  </a:lnTo>
                  <a:lnTo>
                    <a:pt x="1338" y="673"/>
                  </a:lnTo>
                  <a:lnTo>
                    <a:pt x="1320" y="656"/>
                  </a:lnTo>
                  <a:lnTo>
                    <a:pt x="1303" y="621"/>
                  </a:lnTo>
                  <a:lnTo>
                    <a:pt x="1286" y="621"/>
                  </a:lnTo>
                  <a:lnTo>
                    <a:pt x="1286" y="639"/>
                  </a:lnTo>
                  <a:lnTo>
                    <a:pt x="1338" y="673"/>
                  </a:lnTo>
                  <a:lnTo>
                    <a:pt x="1372" y="708"/>
                  </a:lnTo>
                  <a:lnTo>
                    <a:pt x="1389" y="742"/>
                  </a:lnTo>
                  <a:lnTo>
                    <a:pt x="1389" y="760"/>
                  </a:lnTo>
                  <a:lnTo>
                    <a:pt x="1372" y="760"/>
                  </a:lnTo>
                  <a:lnTo>
                    <a:pt x="1338" y="742"/>
                  </a:lnTo>
                  <a:lnTo>
                    <a:pt x="1320" y="725"/>
                  </a:lnTo>
                  <a:lnTo>
                    <a:pt x="1286" y="725"/>
                  </a:lnTo>
                  <a:lnTo>
                    <a:pt x="1267" y="725"/>
                  </a:lnTo>
                  <a:lnTo>
                    <a:pt x="1286" y="725"/>
                  </a:lnTo>
                  <a:lnTo>
                    <a:pt x="1267" y="742"/>
                  </a:lnTo>
                  <a:lnTo>
                    <a:pt x="1286" y="777"/>
                  </a:lnTo>
                  <a:lnTo>
                    <a:pt x="1338" y="777"/>
                  </a:lnTo>
                  <a:lnTo>
                    <a:pt x="1372" y="777"/>
                  </a:lnTo>
                  <a:lnTo>
                    <a:pt x="1355" y="777"/>
                  </a:lnTo>
                  <a:lnTo>
                    <a:pt x="1338" y="794"/>
                  </a:lnTo>
                  <a:lnTo>
                    <a:pt x="1303" y="811"/>
                  </a:lnTo>
                  <a:lnTo>
                    <a:pt x="1267" y="829"/>
                  </a:lnTo>
                  <a:lnTo>
                    <a:pt x="1213" y="846"/>
                  </a:lnTo>
                  <a:lnTo>
                    <a:pt x="1196" y="846"/>
                  </a:lnTo>
                  <a:lnTo>
                    <a:pt x="1161" y="863"/>
                  </a:lnTo>
                  <a:lnTo>
                    <a:pt x="1125" y="863"/>
                  </a:lnTo>
                  <a:lnTo>
                    <a:pt x="1107" y="863"/>
                  </a:lnTo>
                  <a:lnTo>
                    <a:pt x="1090" y="863"/>
                  </a:lnTo>
                  <a:lnTo>
                    <a:pt x="1090" y="881"/>
                  </a:lnTo>
                  <a:lnTo>
                    <a:pt x="1090" y="898"/>
                  </a:lnTo>
                  <a:lnTo>
                    <a:pt x="1073" y="898"/>
                  </a:lnTo>
                  <a:lnTo>
                    <a:pt x="1055" y="915"/>
                  </a:lnTo>
                  <a:lnTo>
                    <a:pt x="1038" y="932"/>
                  </a:lnTo>
                  <a:lnTo>
                    <a:pt x="1038" y="952"/>
                  </a:lnTo>
                  <a:lnTo>
                    <a:pt x="1021" y="952"/>
                  </a:lnTo>
                  <a:lnTo>
                    <a:pt x="984" y="967"/>
                  </a:lnTo>
                  <a:lnTo>
                    <a:pt x="967" y="967"/>
                  </a:lnTo>
                  <a:lnTo>
                    <a:pt x="950" y="967"/>
                  </a:lnTo>
                  <a:lnTo>
                    <a:pt x="950" y="952"/>
                  </a:lnTo>
                  <a:lnTo>
                    <a:pt x="933" y="952"/>
                  </a:lnTo>
                  <a:lnTo>
                    <a:pt x="933" y="967"/>
                  </a:lnTo>
                  <a:lnTo>
                    <a:pt x="933" y="984"/>
                  </a:lnTo>
                  <a:lnTo>
                    <a:pt x="915" y="1001"/>
                  </a:lnTo>
                  <a:lnTo>
                    <a:pt x="862" y="1001"/>
                  </a:lnTo>
                  <a:lnTo>
                    <a:pt x="862" y="1019"/>
                  </a:lnTo>
                  <a:lnTo>
                    <a:pt x="862" y="1036"/>
                  </a:lnTo>
                  <a:lnTo>
                    <a:pt x="862" y="1053"/>
                  </a:lnTo>
                  <a:lnTo>
                    <a:pt x="862" y="1070"/>
                  </a:lnTo>
                  <a:lnTo>
                    <a:pt x="827" y="1070"/>
                  </a:lnTo>
                  <a:lnTo>
                    <a:pt x="827" y="1105"/>
                  </a:lnTo>
                  <a:lnTo>
                    <a:pt x="808" y="1105"/>
                  </a:lnTo>
                  <a:lnTo>
                    <a:pt x="808" y="1122"/>
                  </a:lnTo>
                  <a:lnTo>
                    <a:pt x="827" y="1157"/>
                  </a:lnTo>
                  <a:lnTo>
                    <a:pt x="808" y="1157"/>
                  </a:lnTo>
                  <a:lnTo>
                    <a:pt x="808" y="1191"/>
                  </a:lnTo>
                  <a:lnTo>
                    <a:pt x="790" y="1209"/>
                  </a:lnTo>
                  <a:lnTo>
                    <a:pt x="773" y="1209"/>
                  </a:lnTo>
                  <a:lnTo>
                    <a:pt x="773" y="1191"/>
                  </a:lnTo>
                  <a:lnTo>
                    <a:pt x="756" y="1191"/>
                  </a:lnTo>
                  <a:lnTo>
                    <a:pt x="756" y="1209"/>
                  </a:lnTo>
                  <a:lnTo>
                    <a:pt x="739" y="1191"/>
                  </a:lnTo>
                  <a:lnTo>
                    <a:pt x="721" y="1157"/>
                  </a:lnTo>
                  <a:lnTo>
                    <a:pt x="702" y="1157"/>
                  </a:lnTo>
                  <a:lnTo>
                    <a:pt x="685" y="1157"/>
                  </a:lnTo>
                  <a:lnTo>
                    <a:pt x="668" y="1157"/>
                  </a:lnTo>
                  <a:lnTo>
                    <a:pt x="650" y="1157"/>
                  </a:lnTo>
                  <a:lnTo>
                    <a:pt x="633" y="1157"/>
                  </a:lnTo>
                  <a:lnTo>
                    <a:pt x="633" y="1140"/>
                  </a:lnTo>
                  <a:lnTo>
                    <a:pt x="633" y="1122"/>
                  </a:lnTo>
                  <a:lnTo>
                    <a:pt x="616" y="1105"/>
                  </a:lnTo>
                  <a:lnTo>
                    <a:pt x="579" y="1070"/>
                  </a:lnTo>
                  <a:lnTo>
                    <a:pt x="562" y="1053"/>
                  </a:lnTo>
                  <a:lnTo>
                    <a:pt x="562" y="1036"/>
                  </a:lnTo>
                  <a:lnTo>
                    <a:pt x="579" y="1036"/>
                  </a:lnTo>
                  <a:lnTo>
                    <a:pt x="579" y="1019"/>
                  </a:lnTo>
                  <a:lnTo>
                    <a:pt x="562" y="1019"/>
                  </a:lnTo>
                  <a:lnTo>
                    <a:pt x="545" y="1019"/>
                  </a:lnTo>
                  <a:lnTo>
                    <a:pt x="545" y="1001"/>
                  </a:lnTo>
                  <a:lnTo>
                    <a:pt x="527" y="1001"/>
                  </a:lnTo>
                  <a:lnTo>
                    <a:pt x="510" y="967"/>
                  </a:lnTo>
                  <a:lnTo>
                    <a:pt x="510" y="952"/>
                  </a:lnTo>
                  <a:lnTo>
                    <a:pt x="510" y="932"/>
                  </a:lnTo>
                  <a:lnTo>
                    <a:pt x="510" y="915"/>
                  </a:lnTo>
                  <a:lnTo>
                    <a:pt x="510" y="898"/>
                  </a:lnTo>
                  <a:lnTo>
                    <a:pt x="527" y="881"/>
                  </a:lnTo>
                  <a:lnTo>
                    <a:pt x="545" y="863"/>
                  </a:lnTo>
                  <a:lnTo>
                    <a:pt x="545" y="846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6" name="Freeform 30">
              <a:extLst>
                <a:ext uri="{FF2B5EF4-FFF2-40B4-BE49-F238E27FC236}">
                  <a16:creationId xmlns:a16="http://schemas.microsoft.com/office/drawing/2014/main" id="{79E22724-10A0-475F-AAD2-EE3E9439950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0452" y="1967643"/>
              <a:ext cx="83808" cy="51431"/>
            </a:xfrm>
            <a:custGeom>
              <a:avLst/>
              <a:gdLst>
                <a:gd name="T0" fmla="*/ 4061 w 86"/>
                <a:gd name="T1" fmla="*/ 10319 h 52"/>
                <a:gd name="T2" fmla="*/ 4061 w 86"/>
                <a:gd name="T3" fmla="*/ 7144 h 52"/>
                <a:gd name="T4" fmla="*/ 0 w 86"/>
                <a:gd name="T5" fmla="*/ 3969 h 52"/>
                <a:gd name="T6" fmla="*/ 0 w 86"/>
                <a:gd name="T7" fmla="*/ 0 h 52"/>
                <a:gd name="T8" fmla="*/ 4061 w 86"/>
                <a:gd name="T9" fmla="*/ 0 h 52"/>
                <a:gd name="T10" fmla="*/ 7310 w 86"/>
                <a:gd name="T11" fmla="*/ 0 h 52"/>
                <a:gd name="T12" fmla="*/ 10559 w 86"/>
                <a:gd name="T13" fmla="*/ 0 h 52"/>
                <a:gd name="T14" fmla="*/ 18681 w 86"/>
                <a:gd name="T15" fmla="*/ 3969 h 52"/>
                <a:gd name="T16" fmla="*/ 14620 w 86"/>
                <a:gd name="T17" fmla="*/ 7144 h 52"/>
                <a:gd name="T18" fmla="*/ 10559 w 86"/>
                <a:gd name="T19" fmla="*/ 10319 h 52"/>
                <a:gd name="T20" fmla="*/ 7310 w 86"/>
                <a:gd name="T21" fmla="*/ 10319 h 52"/>
                <a:gd name="T22" fmla="*/ 4061 w 86"/>
                <a:gd name="T23" fmla="*/ 10319 h 5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6"/>
                <a:gd name="T37" fmla="*/ 0 h 52"/>
                <a:gd name="T38" fmla="*/ 86 w 86"/>
                <a:gd name="T39" fmla="*/ 52 h 5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6" h="52">
                  <a:moveTo>
                    <a:pt x="17" y="52"/>
                  </a:moveTo>
                  <a:lnTo>
                    <a:pt x="17" y="34"/>
                  </a:ln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34" y="0"/>
                  </a:lnTo>
                  <a:lnTo>
                    <a:pt x="51" y="0"/>
                  </a:lnTo>
                  <a:lnTo>
                    <a:pt x="86" y="17"/>
                  </a:lnTo>
                  <a:lnTo>
                    <a:pt x="69" y="34"/>
                  </a:lnTo>
                  <a:lnTo>
                    <a:pt x="51" y="52"/>
                  </a:lnTo>
                  <a:lnTo>
                    <a:pt x="34" y="52"/>
                  </a:lnTo>
                  <a:lnTo>
                    <a:pt x="17" y="52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7" name="Freeform 31">
              <a:extLst>
                <a:ext uri="{FF2B5EF4-FFF2-40B4-BE49-F238E27FC236}">
                  <a16:creationId xmlns:a16="http://schemas.microsoft.com/office/drawing/2014/main" id="{F18D079D-1046-4315-8D59-E88EE8DA2C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1410" y="2019072"/>
              <a:ext cx="13334" cy="0"/>
            </a:xfrm>
            <a:custGeom>
              <a:avLst/>
              <a:gdLst>
                <a:gd name="T0" fmla="*/ 0 w 13"/>
                <a:gd name="T1" fmla="*/ 3419 w 13"/>
                <a:gd name="T2" fmla="*/ 0 w 13"/>
                <a:gd name="T3" fmla="*/ 0 60000 65536"/>
                <a:gd name="T4" fmla="*/ 0 60000 65536"/>
                <a:gd name="T5" fmla="*/ 0 60000 65536"/>
                <a:gd name="T6" fmla="*/ 0 w 13"/>
                <a:gd name="T7" fmla="*/ 13 w 13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T6" t="0" r="T7" b="0"/>
              <a:pathLst>
                <a:path w="13">
                  <a:moveTo>
                    <a:pt x="0" y="0"/>
                  </a:moveTo>
                  <a:lnTo>
                    <a:pt x="13" y="0"/>
                  </a:lnTo>
                  <a:lnTo>
                    <a:pt x="0" y="0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8" name="Freeform 33">
              <a:extLst>
                <a:ext uri="{FF2B5EF4-FFF2-40B4-BE49-F238E27FC236}">
                  <a16:creationId xmlns:a16="http://schemas.microsoft.com/office/drawing/2014/main" id="{5F556E9A-9949-4CAF-9D1D-0F923A10A1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5693" y="2070502"/>
              <a:ext cx="36191" cy="17803"/>
            </a:xfrm>
            <a:custGeom>
              <a:avLst/>
              <a:gdLst>
                <a:gd name="T0" fmla="*/ 4189 w 36"/>
                <a:gd name="T1" fmla="*/ 4202 h 17"/>
                <a:gd name="T2" fmla="*/ 0 w 36"/>
                <a:gd name="T3" fmla="*/ 4202 h 17"/>
                <a:gd name="T4" fmla="*/ 0 w 36"/>
                <a:gd name="T5" fmla="*/ 0 h 17"/>
                <a:gd name="T6" fmla="*/ 4189 w 36"/>
                <a:gd name="T7" fmla="*/ 0 h 17"/>
                <a:gd name="T8" fmla="*/ 8379 w 36"/>
                <a:gd name="T9" fmla="*/ 4202 h 17"/>
                <a:gd name="T10" fmla="*/ 4189 w 36"/>
                <a:gd name="T11" fmla="*/ 4202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6"/>
                <a:gd name="T19" fmla="*/ 0 h 17"/>
                <a:gd name="T20" fmla="*/ 36 w 36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6" h="17">
                  <a:moveTo>
                    <a:pt x="17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36" y="17"/>
                  </a:lnTo>
                  <a:lnTo>
                    <a:pt x="17" y="17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9" name="Freeform 34">
              <a:extLst>
                <a:ext uri="{FF2B5EF4-FFF2-40B4-BE49-F238E27FC236}">
                  <a16:creationId xmlns:a16="http://schemas.microsoft.com/office/drawing/2014/main" id="{39BC6A67-AE14-4CCB-AA4A-1CF9E4EC47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2349" y="1694668"/>
              <a:ext cx="66667" cy="37584"/>
            </a:xfrm>
            <a:custGeom>
              <a:avLst/>
              <a:gdLst>
                <a:gd name="T0" fmla="*/ 4026 w 69"/>
                <a:gd name="T1" fmla="*/ 8379 h 36"/>
                <a:gd name="T2" fmla="*/ 4026 w 69"/>
                <a:gd name="T3" fmla="*/ 4189 h 36"/>
                <a:gd name="T4" fmla="*/ 0 w 69"/>
                <a:gd name="T5" fmla="*/ 4189 h 36"/>
                <a:gd name="T6" fmla="*/ 4026 w 69"/>
                <a:gd name="T7" fmla="*/ 4189 h 36"/>
                <a:gd name="T8" fmla="*/ 4026 w 69"/>
                <a:gd name="T9" fmla="*/ 0 h 36"/>
                <a:gd name="T10" fmla="*/ 7247 w 69"/>
                <a:gd name="T11" fmla="*/ 0 h 36"/>
                <a:gd name="T12" fmla="*/ 7247 w 69"/>
                <a:gd name="T13" fmla="*/ 4189 h 36"/>
                <a:gd name="T14" fmla="*/ 10468 w 69"/>
                <a:gd name="T15" fmla="*/ 4189 h 36"/>
                <a:gd name="T16" fmla="*/ 14495 w 69"/>
                <a:gd name="T17" fmla="*/ 4189 h 36"/>
                <a:gd name="T18" fmla="*/ 10468 w 69"/>
                <a:gd name="T19" fmla="*/ 4189 h 36"/>
                <a:gd name="T20" fmla="*/ 7247 w 69"/>
                <a:gd name="T21" fmla="*/ 8379 h 36"/>
                <a:gd name="T22" fmla="*/ 4026 w 69"/>
                <a:gd name="T23" fmla="*/ 8379 h 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9"/>
                <a:gd name="T37" fmla="*/ 0 h 36"/>
                <a:gd name="T38" fmla="*/ 69 w 69"/>
                <a:gd name="T39" fmla="*/ 36 h 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9" h="36">
                  <a:moveTo>
                    <a:pt x="17" y="36"/>
                  </a:moveTo>
                  <a:lnTo>
                    <a:pt x="17" y="19"/>
                  </a:lnTo>
                  <a:lnTo>
                    <a:pt x="0" y="19"/>
                  </a:lnTo>
                  <a:lnTo>
                    <a:pt x="17" y="19"/>
                  </a:lnTo>
                  <a:lnTo>
                    <a:pt x="17" y="0"/>
                  </a:lnTo>
                  <a:lnTo>
                    <a:pt x="35" y="0"/>
                  </a:lnTo>
                  <a:lnTo>
                    <a:pt x="35" y="19"/>
                  </a:lnTo>
                  <a:lnTo>
                    <a:pt x="52" y="19"/>
                  </a:lnTo>
                  <a:lnTo>
                    <a:pt x="69" y="19"/>
                  </a:lnTo>
                  <a:lnTo>
                    <a:pt x="52" y="19"/>
                  </a:lnTo>
                  <a:lnTo>
                    <a:pt x="35" y="36"/>
                  </a:lnTo>
                  <a:lnTo>
                    <a:pt x="17" y="36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60" name="Freeform 36">
              <a:extLst>
                <a:ext uri="{FF2B5EF4-FFF2-40B4-BE49-F238E27FC236}">
                  <a16:creationId xmlns:a16="http://schemas.microsoft.com/office/drawing/2014/main" id="{1C8A8F88-AE92-4B66-874B-D338DBA539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0456" y="2778651"/>
              <a:ext cx="34286" cy="31649"/>
            </a:xfrm>
            <a:custGeom>
              <a:avLst/>
              <a:gdLst>
                <a:gd name="T0" fmla="*/ 0 w 34"/>
                <a:gd name="T1" fmla="*/ 3079 h 33"/>
                <a:gd name="T2" fmla="*/ 0 w 34"/>
                <a:gd name="T3" fmla="*/ 3079 h 33"/>
                <a:gd name="T4" fmla="*/ 8404 w 34"/>
                <a:gd name="T5" fmla="*/ 6158 h 33"/>
                <a:gd name="T6" fmla="*/ 8404 w 34"/>
                <a:gd name="T7" fmla="*/ 0 h 33"/>
                <a:gd name="T8" fmla="*/ 0 w 34"/>
                <a:gd name="T9" fmla="*/ 3079 h 3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4"/>
                <a:gd name="T16" fmla="*/ 0 h 33"/>
                <a:gd name="T17" fmla="*/ 34 w 34"/>
                <a:gd name="T18" fmla="*/ 33 h 3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4" h="33">
                  <a:moveTo>
                    <a:pt x="0" y="18"/>
                  </a:moveTo>
                  <a:lnTo>
                    <a:pt x="0" y="18"/>
                  </a:lnTo>
                  <a:lnTo>
                    <a:pt x="34" y="33"/>
                  </a:lnTo>
                  <a:lnTo>
                    <a:pt x="34" y="0"/>
                  </a:lnTo>
                  <a:lnTo>
                    <a:pt x="0" y="18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61" name="Freeform 37">
              <a:extLst>
                <a:ext uri="{FF2B5EF4-FFF2-40B4-BE49-F238E27FC236}">
                  <a16:creationId xmlns:a16="http://schemas.microsoft.com/office/drawing/2014/main" id="{E7274542-B65F-4D77-9E7C-4C45A5B32C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0934" y="2921073"/>
              <a:ext cx="34286" cy="17803"/>
            </a:xfrm>
            <a:custGeom>
              <a:avLst/>
              <a:gdLst>
                <a:gd name="T0" fmla="*/ 0 w 34"/>
                <a:gd name="T1" fmla="*/ 0 h 17"/>
                <a:gd name="T2" fmla="*/ 0 w 34"/>
                <a:gd name="T3" fmla="*/ 0 h 17"/>
                <a:gd name="T4" fmla="*/ 8404 w 34"/>
                <a:gd name="T5" fmla="*/ 4202 h 17"/>
                <a:gd name="T6" fmla="*/ 8404 w 34"/>
                <a:gd name="T7" fmla="*/ 0 h 17"/>
                <a:gd name="T8" fmla="*/ 0 w 34"/>
                <a:gd name="T9" fmla="*/ 0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4"/>
                <a:gd name="T16" fmla="*/ 0 h 17"/>
                <a:gd name="T17" fmla="*/ 34 w 34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4" h="17">
                  <a:moveTo>
                    <a:pt x="0" y="0"/>
                  </a:moveTo>
                  <a:lnTo>
                    <a:pt x="0" y="0"/>
                  </a:lnTo>
                  <a:lnTo>
                    <a:pt x="34" y="17"/>
                  </a:lnTo>
                  <a:lnTo>
                    <a:pt x="34" y="0"/>
                  </a:lnTo>
                  <a:lnTo>
                    <a:pt x="0" y="0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62" name="Freeform 38">
              <a:extLst>
                <a:ext uri="{FF2B5EF4-FFF2-40B4-BE49-F238E27FC236}">
                  <a16:creationId xmlns:a16="http://schemas.microsoft.com/office/drawing/2014/main" id="{5ADFF6F3-0CA9-4204-97FC-93CDAB02A2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2378" y="2588757"/>
              <a:ext cx="49524" cy="31649"/>
            </a:xfrm>
            <a:custGeom>
              <a:avLst/>
              <a:gdLst>
                <a:gd name="T0" fmla="*/ 0 w 52"/>
                <a:gd name="T1" fmla="*/ 3079 h 33"/>
                <a:gd name="T2" fmla="*/ 0 w 52"/>
                <a:gd name="T3" fmla="*/ 3079 h 33"/>
                <a:gd name="T4" fmla="*/ 7144 w 52"/>
                <a:gd name="T5" fmla="*/ 6158 h 33"/>
                <a:gd name="T6" fmla="*/ 10319 w 52"/>
                <a:gd name="T7" fmla="*/ 3079 h 33"/>
                <a:gd name="T8" fmla="*/ 7144 w 52"/>
                <a:gd name="T9" fmla="*/ 0 h 33"/>
                <a:gd name="T10" fmla="*/ 0 w 52"/>
                <a:gd name="T11" fmla="*/ 3079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"/>
                <a:gd name="T19" fmla="*/ 0 h 33"/>
                <a:gd name="T20" fmla="*/ 52 w 52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" h="33">
                  <a:moveTo>
                    <a:pt x="0" y="18"/>
                  </a:moveTo>
                  <a:lnTo>
                    <a:pt x="0" y="18"/>
                  </a:lnTo>
                  <a:lnTo>
                    <a:pt x="34" y="33"/>
                  </a:lnTo>
                  <a:lnTo>
                    <a:pt x="52" y="18"/>
                  </a:lnTo>
                  <a:lnTo>
                    <a:pt x="34" y="0"/>
                  </a:lnTo>
                  <a:lnTo>
                    <a:pt x="0" y="18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63" name="Freeform 39">
              <a:extLst>
                <a:ext uri="{FF2B5EF4-FFF2-40B4-BE49-F238E27FC236}">
                  <a16:creationId xmlns:a16="http://schemas.microsoft.com/office/drawing/2014/main" id="{06FCE9A0-9493-45DC-98EF-27AC01AA08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3806" y="2683703"/>
              <a:ext cx="81905" cy="79123"/>
            </a:xfrm>
            <a:custGeom>
              <a:avLst/>
              <a:gdLst>
                <a:gd name="T0" fmla="*/ 0 w 87"/>
                <a:gd name="T1" fmla="*/ 12543 h 81"/>
                <a:gd name="T2" fmla="*/ 0 w 87"/>
                <a:gd name="T3" fmla="*/ 12543 h 81"/>
                <a:gd name="T4" fmla="*/ 3139 w 87"/>
                <a:gd name="T5" fmla="*/ 15679 h 81"/>
                <a:gd name="T6" fmla="*/ 10200 w 87"/>
                <a:gd name="T7" fmla="*/ 9407 h 81"/>
                <a:gd name="T8" fmla="*/ 13339 w 87"/>
                <a:gd name="T9" fmla="*/ 9407 h 81"/>
                <a:gd name="T10" fmla="*/ 13339 w 87"/>
                <a:gd name="T11" fmla="*/ 6272 h 81"/>
                <a:gd name="T12" fmla="*/ 10200 w 87"/>
                <a:gd name="T13" fmla="*/ 6272 h 81"/>
                <a:gd name="T14" fmla="*/ 16477 w 87"/>
                <a:gd name="T15" fmla="*/ 3136 h 81"/>
                <a:gd name="T16" fmla="*/ 13339 w 87"/>
                <a:gd name="T17" fmla="*/ 0 h 81"/>
                <a:gd name="T18" fmla="*/ 0 w 87"/>
                <a:gd name="T19" fmla="*/ 12543 h 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7"/>
                <a:gd name="T31" fmla="*/ 0 h 81"/>
                <a:gd name="T32" fmla="*/ 87 w 87"/>
                <a:gd name="T33" fmla="*/ 81 h 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7" h="81">
                  <a:moveTo>
                    <a:pt x="0" y="66"/>
                  </a:moveTo>
                  <a:lnTo>
                    <a:pt x="0" y="66"/>
                  </a:lnTo>
                  <a:lnTo>
                    <a:pt x="17" y="81"/>
                  </a:lnTo>
                  <a:lnTo>
                    <a:pt x="52" y="48"/>
                  </a:lnTo>
                  <a:lnTo>
                    <a:pt x="69" y="48"/>
                  </a:lnTo>
                  <a:lnTo>
                    <a:pt x="69" y="33"/>
                  </a:lnTo>
                  <a:lnTo>
                    <a:pt x="52" y="33"/>
                  </a:lnTo>
                  <a:lnTo>
                    <a:pt x="87" y="18"/>
                  </a:lnTo>
                  <a:lnTo>
                    <a:pt x="69" y="0"/>
                  </a:lnTo>
                  <a:lnTo>
                    <a:pt x="0" y="66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64" name="Freeform 40">
              <a:extLst>
                <a:ext uri="{FF2B5EF4-FFF2-40B4-BE49-F238E27FC236}">
                  <a16:creationId xmlns:a16="http://schemas.microsoft.com/office/drawing/2014/main" id="{C31734E9-CC55-446F-98F2-E5442C2029E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9039" y="2873598"/>
              <a:ext cx="51430" cy="94947"/>
            </a:xfrm>
            <a:custGeom>
              <a:avLst/>
              <a:gdLst>
                <a:gd name="T0" fmla="*/ 0 w 54"/>
                <a:gd name="T1" fmla="*/ 0 h 96"/>
                <a:gd name="T2" fmla="*/ 0 w 54"/>
                <a:gd name="T3" fmla="*/ 0 h 96"/>
                <a:gd name="T4" fmla="*/ 0 w 54"/>
                <a:gd name="T5" fmla="*/ 7144 h 96"/>
                <a:gd name="T6" fmla="*/ 3969 w 54"/>
                <a:gd name="T7" fmla="*/ 16669 h 96"/>
                <a:gd name="T8" fmla="*/ 11113 w 54"/>
                <a:gd name="T9" fmla="*/ 19050 h 96"/>
                <a:gd name="T10" fmla="*/ 3969 w 54"/>
                <a:gd name="T11" fmla="*/ 13494 h 96"/>
                <a:gd name="T12" fmla="*/ 7144 w 54"/>
                <a:gd name="T13" fmla="*/ 9525 h 96"/>
                <a:gd name="T14" fmla="*/ 3969 w 54"/>
                <a:gd name="T15" fmla="*/ 7144 h 96"/>
                <a:gd name="T16" fmla="*/ 7144 w 54"/>
                <a:gd name="T17" fmla="*/ 0 h 96"/>
                <a:gd name="T18" fmla="*/ 0 w 54"/>
                <a:gd name="T19" fmla="*/ 0 h 9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4"/>
                <a:gd name="T31" fmla="*/ 0 h 96"/>
                <a:gd name="T32" fmla="*/ 54 w 54"/>
                <a:gd name="T33" fmla="*/ 96 h 9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4" h="96">
                  <a:moveTo>
                    <a:pt x="0" y="0"/>
                  </a:moveTo>
                  <a:lnTo>
                    <a:pt x="0" y="0"/>
                  </a:lnTo>
                  <a:lnTo>
                    <a:pt x="0" y="33"/>
                  </a:lnTo>
                  <a:lnTo>
                    <a:pt x="19" y="81"/>
                  </a:lnTo>
                  <a:lnTo>
                    <a:pt x="54" y="96"/>
                  </a:lnTo>
                  <a:lnTo>
                    <a:pt x="19" y="65"/>
                  </a:lnTo>
                  <a:lnTo>
                    <a:pt x="36" y="48"/>
                  </a:lnTo>
                  <a:lnTo>
                    <a:pt x="19" y="33"/>
                  </a:lnTo>
                  <a:lnTo>
                    <a:pt x="36" y="0"/>
                  </a:lnTo>
                  <a:lnTo>
                    <a:pt x="0" y="0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65" name="Freeform 41">
              <a:extLst>
                <a:ext uri="{FF2B5EF4-FFF2-40B4-BE49-F238E27FC236}">
                  <a16:creationId xmlns:a16="http://schemas.microsoft.com/office/drawing/2014/main" id="{4FE4CA46-F1E3-453B-A1E0-6A7C2BCA29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7133" y="3016019"/>
              <a:ext cx="133332" cy="94947"/>
            </a:xfrm>
            <a:custGeom>
              <a:avLst/>
              <a:gdLst>
                <a:gd name="T0" fmla="*/ 0 w 140"/>
                <a:gd name="T1" fmla="*/ 0 h 96"/>
                <a:gd name="T2" fmla="*/ 0 w 140"/>
                <a:gd name="T3" fmla="*/ 0 h 96"/>
                <a:gd name="T4" fmla="*/ 3175 w 140"/>
                <a:gd name="T5" fmla="*/ 7144 h 96"/>
                <a:gd name="T6" fmla="*/ 10319 w 140"/>
                <a:gd name="T7" fmla="*/ 9525 h 96"/>
                <a:gd name="T8" fmla="*/ 16669 w 140"/>
                <a:gd name="T9" fmla="*/ 13494 h 96"/>
                <a:gd name="T10" fmla="*/ 16669 w 140"/>
                <a:gd name="T11" fmla="*/ 16669 h 96"/>
                <a:gd name="T12" fmla="*/ 23812 w 140"/>
                <a:gd name="T13" fmla="*/ 19050 h 96"/>
                <a:gd name="T14" fmla="*/ 27781 w 140"/>
                <a:gd name="T15" fmla="*/ 19050 h 96"/>
                <a:gd name="T16" fmla="*/ 14287 w 140"/>
                <a:gd name="T17" fmla="*/ 3969 h 96"/>
                <a:gd name="T18" fmla="*/ 3175 w 140"/>
                <a:gd name="T19" fmla="*/ 0 h 96"/>
                <a:gd name="T20" fmla="*/ 0 w 140"/>
                <a:gd name="T21" fmla="*/ 0 h 9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40"/>
                <a:gd name="T34" fmla="*/ 0 h 96"/>
                <a:gd name="T35" fmla="*/ 140 w 140"/>
                <a:gd name="T36" fmla="*/ 96 h 9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40" h="96">
                  <a:moveTo>
                    <a:pt x="0" y="0"/>
                  </a:moveTo>
                  <a:lnTo>
                    <a:pt x="0" y="0"/>
                  </a:lnTo>
                  <a:lnTo>
                    <a:pt x="17" y="33"/>
                  </a:lnTo>
                  <a:lnTo>
                    <a:pt x="52" y="48"/>
                  </a:lnTo>
                  <a:lnTo>
                    <a:pt x="86" y="65"/>
                  </a:lnTo>
                  <a:lnTo>
                    <a:pt x="86" y="81"/>
                  </a:lnTo>
                  <a:lnTo>
                    <a:pt x="121" y="96"/>
                  </a:lnTo>
                  <a:lnTo>
                    <a:pt x="140" y="96"/>
                  </a:lnTo>
                  <a:lnTo>
                    <a:pt x="69" y="17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66" name="Line 42">
              <a:extLst>
                <a:ext uri="{FF2B5EF4-FFF2-40B4-BE49-F238E27FC236}">
                  <a16:creationId xmlns:a16="http://schemas.microsoft.com/office/drawing/2014/main" id="{D9A14922-6329-4C4F-8EFF-76D6A8F9CF2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209522" y="2913160"/>
              <a:ext cx="17144" cy="63299"/>
            </a:xfrm>
            <a:prstGeom prst="line">
              <a:avLst/>
            </a:pr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67" name="Freeform 43">
              <a:extLst>
                <a:ext uri="{FF2B5EF4-FFF2-40B4-BE49-F238E27FC236}">
                  <a16:creationId xmlns:a16="http://schemas.microsoft.com/office/drawing/2014/main" id="{332A74C1-BC7A-4992-BF21-99BF3EBCFA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2378" y="2891402"/>
              <a:ext cx="34286" cy="13847"/>
            </a:xfrm>
            <a:custGeom>
              <a:avLst/>
              <a:gdLst>
                <a:gd name="T0" fmla="*/ 0 w 34"/>
                <a:gd name="T1" fmla="*/ 2084 h 16"/>
                <a:gd name="T2" fmla="*/ 0 w 34"/>
                <a:gd name="T3" fmla="*/ 2084 h 16"/>
                <a:gd name="T4" fmla="*/ 8404 w 34"/>
                <a:gd name="T5" fmla="*/ 2084 h 16"/>
                <a:gd name="T6" fmla="*/ 8404 w 34"/>
                <a:gd name="T7" fmla="*/ 0 h 16"/>
                <a:gd name="T8" fmla="*/ 4202 w 34"/>
                <a:gd name="T9" fmla="*/ 0 h 16"/>
                <a:gd name="T10" fmla="*/ 4202 w 34"/>
                <a:gd name="T11" fmla="*/ 2084 h 16"/>
                <a:gd name="T12" fmla="*/ 0 w 34"/>
                <a:gd name="T13" fmla="*/ 2084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4"/>
                <a:gd name="T22" fmla="*/ 0 h 16"/>
                <a:gd name="T23" fmla="*/ 34 w 34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4" h="16">
                  <a:moveTo>
                    <a:pt x="0" y="16"/>
                  </a:moveTo>
                  <a:lnTo>
                    <a:pt x="0" y="16"/>
                  </a:lnTo>
                  <a:lnTo>
                    <a:pt x="34" y="16"/>
                  </a:lnTo>
                  <a:lnTo>
                    <a:pt x="34" y="0"/>
                  </a:lnTo>
                  <a:lnTo>
                    <a:pt x="17" y="0"/>
                  </a:lnTo>
                  <a:lnTo>
                    <a:pt x="17" y="16"/>
                  </a:lnTo>
                  <a:lnTo>
                    <a:pt x="0" y="16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68" name="Freeform 45">
              <a:extLst>
                <a:ext uri="{FF2B5EF4-FFF2-40B4-BE49-F238E27FC236}">
                  <a16:creationId xmlns:a16="http://schemas.microsoft.com/office/drawing/2014/main" id="{3DE52982-C93C-48B7-BBBD-A02B72BA03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5693" y="3981318"/>
              <a:ext cx="99046" cy="63299"/>
            </a:xfrm>
            <a:custGeom>
              <a:avLst/>
              <a:gdLst>
                <a:gd name="T0" fmla="*/ 0 w 104"/>
                <a:gd name="T1" fmla="*/ 9676 h 63"/>
                <a:gd name="T2" fmla="*/ 0 w 104"/>
                <a:gd name="T3" fmla="*/ 9676 h 63"/>
                <a:gd name="T4" fmla="*/ 0 w 104"/>
                <a:gd name="T5" fmla="*/ 0 h 63"/>
                <a:gd name="T6" fmla="*/ 10319 w 104"/>
                <a:gd name="T7" fmla="*/ 0 h 63"/>
                <a:gd name="T8" fmla="*/ 10319 w 104"/>
                <a:gd name="T9" fmla="*/ 3225 h 63"/>
                <a:gd name="T10" fmla="*/ 14288 w 104"/>
                <a:gd name="T11" fmla="*/ 3225 h 63"/>
                <a:gd name="T12" fmla="*/ 20638 w 104"/>
                <a:gd name="T13" fmla="*/ 6451 h 63"/>
                <a:gd name="T14" fmla="*/ 17463 w 104"/>
                <a:gd name="T15" fmla="*/ 9676 h 63"/>
                <a:gd name="T16" fmla="*/ 17463 w 104"/>
                <a:gd name="T17" fmla="*/ 6451 h 63"/>
                <a:gd name="T18" fmla="*/ 7144 w 104"/>
                <a:gd name="T19" fmla="*/ 9676 h 63"/>
                <a:gd name="T20" fmla="*/ 7144 w 104"/>
                <a:gd name="T21" fmla="*/ 6451 h 63"/>
                <a:gd name="T22" fmla="*/ 3969 w 104"/>
                <a:gd name="T23" fmla="*/ 9676 h 63"/>
                <a:gd name="T24" fmla="*/ 3969 w 104"/>
                <a:gd name="T25" fmla="*/ 12902 h 63"/>
                <a:gd name="T26" fmla="*/ 0 w 104"/>
                <a:gd name="T27" fmla="*/ 9676 h 6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04"/>
                <a:gd name="T43" fmla="*/ 0 h 63"/>
                <a:gd name="T44" fmla="*/ 104 w 104"/>
                <a:gd name="T45" fmla="*/ 63 h 6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04" h="63">
                  <a:moveTo>
                    <a:pt x="0" y="48"/>
                  </a:moveTo>
                  <a:lnTo>
                    <a:pt x="0" y="48"/>
                  </a:lnTo>
                  <a:lnTo>
                    <a:pt x="0" y="0"/>
                  </a:lnTo>
                  <a:lnTo>
                    <a:pt x="52" y="0"/>
                  </a:lnTo>
                  <a:lnTo>
                    <a:pt x="52" y="15"/>
                  </a:lnTo>
                  <a:lnTo>
                    <a:pt x="69" y="15"/>
                  </a:lnTo>
                  <a:lnTo>
                    <a:pt x="104" y="31"/>
                  </a:lnTo>
                  <a:lnTo>
                    <a:pt x="87" y="48"/>
                  </a:lnTo>
                  <a:lnTo>
                    <a:pt x="87" y="31"/>
                  </a:lnTo>
                  <a:lnTo>
                    <a:pt x="35" y="48"/>
                  </a:lnTo>
                  <a:lnTo>
                    <a:pt x="35" y="31"/>
                  </a:lnTo>
                  <a:lnTo>
                    <a:pt x="18" y="48"/>
                  </a:lnTo>
                  <a:lnTo>
                    <a:pt x="18" y="63"/>
                  </a:lnTo>
                  <a:lnTo>
                    <a:pt x="0" y="48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69" name="Freeform 46">
              <a:extLst>
                <a:ext uri="{FF2B5EF4-FFF2-40B4-BE49-F238E27FC236}">
                  <a16:creationId xmlns:a16="http://schemas.microsoft.com/office/drawing/2014/main" id="{E9B6734E-2D07-4487-8FDE-5CE099E9BD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9026" y="3981318"/>
              <a:ext cx="66667" cy="47475"/>
            </a:xfrm>
            <a:custGeom>
              <a:avLst/>
              <a:gdLst>
                <a:gd name="T0" fmla="*/ 14495 w 69"/>
                <a:gd name="T1" fmla="*/ 9525 h 48"/>
                <a:gd name="T2" fmla="*/ 14495 w 69"/>
                <a:gd name="T3" fmla="*/ 9525 h 48"/>
                <a:gd name="T4" fmla="*/ 14495 w 69"/>
                <a:gd name="T5" fmla="*/ 0 h 48"/>
                <a:gd name="T6" fmla="*/ 7247 w 69"/>
                <a:gd name="T7" fmla="*/ 0 h 48"/>
                <a:gd name="T8" fmla="*/ 10468 w 69"/>
                <a:gd name="T9" fmla="*/ 5556 h 48"/>
                <a:gd name="T10" fmla="*/ 0 w 69"/>
                <a:gd name="T11" fmla="*/ 9525 h 48"/>
                <a:gd name="T12" fmla="*/ 4026 w 69"/>
                <a:gd name="T13" fmla="*/ 9525 h 48"/>
                <a:gd name="T14" fmla="*/ 14495 w 69"/>
                <a:gd name="T15" fmla="*/ 9525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9"/>
                <a:gd name="T25" fmla="*/ 0 h 48"/>
                <a:gd name="T26" fmla="*/ 69 w 69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9" h="48">
                  <a:moveTo>
                    <a:pt x="69" y="48"/>
                  </a:moveTo>
                  <a:lnTo>
                    <a:pt x="69" y="48"/>
                  </a:lnTo>
                  <a:lnTo>
                    <a:pt x="69" y="0"/>
                  </a:lnTo>
                  <a:lnTo>
                    <a:pt x="35" y="0"/>
                  </a:lnTo>
                  <a:lnTo>
                    <a:pt x="52" y="31"/>
                  </a:lnTo>
                  <a:lnTo>
                    <a:pt x="0" y="48"/>
                  </a:lnTo>
                  <a:lnTo>
                    <a:pt x="18" y="48"/>
                  </a:lnTo>
                  <a:lnTo>
                    <a:pt x="69" y="48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0" name="Freeform 47">
              <a:extLst>
                <a:ext uri="{FF2B5EF4-FFF2-40B4-BE49-F238E27FC236}">
                  <a16:creationId xmlns:a16="http://schemas.microsoft.com/office/drawing/2014/main" id="{10C9E946-DB7B-4F53-8FAE-89DCEFA01E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0452" y="4218687"/>
              <a:ext cx="15238" cy="15825"/>
            </a:xfrm>
            <a:custGeom>
              <a:avLst/>
              <a:gdLst>
                <a:gd name="T0" fmla="*/ 0 w 17"/>
                <a:gd name="T1" fmla="*/ 3387 h 15"/>
                <a:gd name="T2" fmla="*/ 0 w 17"/>
                <a:gd name="T3" fmla="*/ 3387 h 15"/>
                <a:gd name="T4" fmla="*/ 2988 w 17"/>
                <a:gd name="T5" fmla="*/ 3387 h 15"/>
                <a:gd name="T6" fmla="*/ 2988 w 17"/>
                <a:gd name="T7" fmla="*/ 0 h 15"/>
                <a:gd name="T8" fmla="*/ 0 w 17"/>
                <a:gd name="T9" fmla="*/ 0 h 15"/>
                <a:gd name="T10" fmla="*/ 0 w 17"/>
                <a:gd name="T11" fmla="*/ 3387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15"/>
                <a:gd name="T20" fmla="*/ 17 w 17"/>
                <a:gd name="T21" fmla="*/ 15 h 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15">
                  <a:moveTo>
                    <a:pt x="0" y="15"/>
                  </a:moveTo>
                  <a:lnTo>
                    <a:pt x="0" y="15"/>
                  </a:lnTo>
                  <a:lnTo>
                    <a:pt x="17" y="15"/>
                  </a:lnTo>
                  <a:lnTo>
                    <a:pt x="17" y="0"/>
                  </a:lnTo>
                  <a:lnTo>
                    <a:pt x="0" y="0"/>
                  </a:lnTo>
                  <a:lnTo>
                    <a:pt x="0" y="15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1" name="Freeform 48">
              <a:extLst>
                <a:ext uri="{FF2B5EF4-FFF2-40B4-BE49-F238E27FC236}">
                  <a16:creationId xmlns:a16="http://schemas.microsoft.com/office/drawing/2014/main" id="{FBED4D7F-3CA3-4293-A2D0-7777E67FBD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9980" y="4012967"/>
              <a:ext cx="49524" cy="31649"/>
            </a:xfrm>
            <a:custGeom>
              <a:avLst/>
              <a:gdLst>
                <a:gd name="T0" fmla="*/ 0 w 51"/>
                <a:gd name="T1" fmla="*/ 3175 h 32"/>
                <a:gd name="T2" fmla="*/ 0 w 51"/>
                <a:gd name="T3" fmla="*/ 3175 h 32"/>
                <a:gd name="T4" fmla="*/ 7284 w 51"/>
                <a:gd name="T5" fmla="*/ 6350 h 32"/>
                <a:gd name="T6" fmla="*/ 10521 w 51"/>
                <a:gd name="T7" fmla="*/ 3175 h 32"/>
                <a:gd name="T8" fmla="*/ 4047 w 51"/>
                <a:gd name="T9" fmla="*/ 0 h 32"/>
                <a:gd name="T10" fmla="*/ 0 w 51"/>
                <a:gd name="T11" fmla="*/ 3175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1"/>
                <a:gd name="T19" fmla="*/ 0 h 32"/>
                <a:gd name="T20" fmla="*/ 51 w 51"/>
                <a:gd name="T21" fmla="*/ 32 h 3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1" h="32">
                  <a:moveTo>
                    <a:pt x="0" y="17"/>
                  </a:moveTo>
                  <a:lnTo>
                    <a:pt x="0" y="17"/>
                  </a:lnTo>
                  <a:lnTo>
                    <a:pt x="34" y="32"/>
                  </a:lnTo>
                  <a:lnTo>
                    <a:pt x="51" y="17"/>
                  </a:ln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2" name="Freeform 49">
              <a:extLst>
                <a:ext uri="{FF2B5EF4-FFF2-40B4-BE49-F238E27FC236}">
                  <a16:creationId xmlns:a16="http://schemas.microsoft.com/office/drawing/2014/main" id="{49CEBF9B-6F9D-4ACA-B5D6-7F4B159579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6172" y="3886371"/>
              <a:ext cx="262855" cy="94947"/>
            </a:xfrm>
            <a:custGeom>
              <a:avLst/>
              <a:gdLst>
                <a:gd name="T0" fmla="*/ 0 w 276"/>
                <a:gd name="T1" fmla="*/ 9525 h 96"/>
                <a:gd name="T2" fmla="*/ 0 w 276"/>
                <a:gd name="T3" fmla="*/ 9525 h 96"/>
                <a:gd name="T4" fmla="*/ 3175 w 276"/>
                <a:gd name="T5" fmla="*/ 9525 h 96"/>
                <a:gd name="T6" fmla="*/ 10319 w 276"/>
                <a:gd name="T7" fmla="*/ 2381 h 96"/>
                <a:gd name="T8" fmla="*/ 16669 w 276"/>
                <a:gd name="T9" fmla="*/ 5556 h 96"/>
                <a:gd name="T10" fmla="*/ 13494 w 276"/>
                <a:gd name="T11" fmla="*/ 5556 h 96"/>
                <a:gd name="T12" fmla="*/ 16669 w 276"/>
                <a:gd name="T13" fmla="*/ 5556 h 96"/>
                <a:gd name="T14" fmla="*/ 30162 w 276"/>
                <a:gd name="T15" fmla="*/ 9525 h 96"/>
                <a:gd name="T16" fmla="*/ 34131 w 276"/>
                <a:gd name="T17" fmla="*/ 15875 h 96"/>
                <a:gd name="T18" fmla="*/ 40481 w 276"/>
                <a:gd name="T19" fmla="*/ 15875 h 96"/>
                <a:gd name="T20" fmla="*/ 37306 w 276"/>
                <a:gd name="T21" fmla="*/ 19050 h 96"/>
                <a:gd name="T22" fmla="*/ 54769 w 276"/>
                <a:gd name="T23" fmla="*/ 19050 h 96"/>
                <a:gd name="T24" fmla="*/ 51594 w 276"/>
                <a:gd name="T25" fmla="*/ 15875 h 96"/>
                <a:gd name="T26" fmla="*/ 47625 w 276"/>
                <a:gd name="T27" fmla="*/ 15875 h 96"/>
                <a:gd name="T28" fmla="*/ 47625 w 276"/>
                <a:gd name="T29" fmla="*/ 11906 h 96"/>
                <a:gd name="T30" fmla="*/ 34131 w 276"/>
                <a:gd name="T31" fmla="*/ 5556 h 96"/>
                <a:gd name="T32" fmla="*/ 16669 w 276"/>
                <a:gd name="T33" fmla="*/ 0 h 96"/>
                <a:gd name="T34" fmla="*/ 7144 w 276"/>
                <a:gd name="T35" fmla="*/ 2381 h 96"/>
                <a:gd name="T36" fmla="*/ 0 w 276"/>
                <a:gd name="T37" fmla="*/ 9525 h 9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76"/>
                <a:gd name="T58" fmla="*/ 0 h 96"/>
                <a:gd name="T59" fmla="*/ 276 w 276"/>
                <a:gd name="T60" fmla="*/ 96 h 9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76" h="96">
                  <a:moveTo>
                    <a:pt x="0" y="48"/>
                  </a:moveTo>
                  <a:lnTo>
                    <a:pt x="0" y="48"/>
                  </a:lnTo>
                  <a:lnTo>
                    <a:pt x="17" y="48"/>
                  </a:lnTo>
                  <a:lnTo>
                    <a:pt x="52" y="15"/>
                  </a:lnTo>
                  <a:lnTo>
                    <a:pt x="86" y="31"/>
                  </a:lnTo>
                  <a:lnTo>
                    <a:pt x="69" y="31"/>
                  </a:lnTo>
                  <a:lnTo>
                    <a:pt x="86" y="31"/>
                  </a:lnTo>
                  <a:lnTo>
                    <a:pt x="155" y="48"/>
                  </a:lnTo>
                  <a:lnTo>
                    <a:pt x="173" y="79"/>
                  </a:lnTo>
                  <a:lnTo>
                    <a:pt x="207" y="79"/>
                  </a:lnTo>
                  <a:lnTo>
                    <a:pt x="190" y="96"/>
                  </a:lnTo>
                  <a:lnTo>
                    <a:pt x="276" y="96"/>
                  </a:lnTo>
                  <a:lnTo>
                    <a:pt x="259" y="79"/>
                  </a:lnTo>
                  <a:lnTo>
                    <a:pt x="242" y="79"/>
                  </a:lnTo>
                  <a:lnTo>
                    <a:pt x="242" y="63"/>
                  </a:lnTo>
                  <a:lnTo>
                    <a:pt x="173" y="31"/>
                  </a:lnTo>
                  <a:lnTo>
                    <a:pt x="86" y="0"/>
                  </a:lnTo>
                  <a:lnTo>
                    <a:pt x="34" y="15"/>
                  </a:lnTo>
                  <a:lnTo>
                    <a:pt x="0" y="48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3" name="Freeform 50">
              <a:extLst>
                <a:ext uri="{FF2B5EF4-FFF2-40B4-BE49-F238E27FC236}">
                  <a16:creationId xmlns:a16="http://schemas.microsoft.com/office/drawing/2014/main" id="{FF4EB8DB-255F-47F7-87E5-3CF29D8174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9027" y="4012967"/>
              <a:ext cx="30476" cy="15825"/>
            </a:xfrm>
            <a:custGeom>
              <a:avLst/>
              <a:gdLst>
                <a:gd name="T0" fmla="*/ 0 w 33"/>
                <a:gd name="T1" fmla="*/ 2988 h 17"/>
                <a:gd name="T2" fmla="*/ 0 w 33"/>
                <a:gd name="T3" fmla="*/ 2988 h 17"/>
                <a:gd name="T4" fmla="*/ 6158 w 33"/>
                <a:gd name="T5" fmla="*/ 2988 h 17"/>
                <a:gd name="T6" fmla="*/ 0 w 33"/>
                <a:gd name="T7" fmla="*/ 0 h 17"/>
                <a:gd name="T8" fmla="*/ 0 w 33"/>
                <a:gd name="T9" fmla="*/ 2988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"/>
                <a:gd name="T16" fmla="*/ 0 h 17"/>
                <a:gd name="T17" fmla="*/ 33 w 33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" h="17">
                  <a:moveTo>
                    <a:pt x="0" y="17"/>
                  </a:moveTo>
                  <a:lnTo>
                    <a:pt x="0" y="17"/>
                  </a:lnTo>
                  <a:lnTo>
                    <a:pt x="33" y="17"/>
                  </a:lnTo>
                  <a:lnTo>
                    <a:pt x="0" y="0"/>
                  </a:lnTo>
                  <a:lnTo>
                    <a:pt x="0" y="17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4" name="Freeform 51">
              <a:extLst>
                <a:ext uri="{FF2B5EF4-FFF2-40B4-BE49-F238E27FC236}">
                  <a16:creationId xmlns:a16="http://schemas.microsoft.com/office/drawing/2014/main" id="{E0B7DC98-124B-44D9-B5E8-2F4C5F0C87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0452" y="4076267"/>
              <a:ext cx="15238" cy="15825"/>
            </a:xfrm>
            <a:custGeom>
              <a:avLst/>
              <a:gdLst>
                <a:gd name="T0" fmla="*/ 0 w 17"/>
                <a:gd name="T1" fmla="*/ 0 h 15"/>
                <a:gd name="T2" fmla="*/ 0 w 17"/>
                <a:gd name="T3" fmla="*/ 0 h 15"/>
                <a:gd name="T4" fmla="*/ 0 w 17"/>
                <a:gd name="T5" fmla="*/ 3387 h 15"/>
                <a:gd name="T6" fmla="*/ 2988 w 17"/>
                <a:gd name="T7" fmla="*/ 0 h 15"/>
                <a:gd name="T8" fmla="*/ 0 w 17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5"/>
                <a:gd name="T17" fmla="*/ 17 w 17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5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5" name="Freeform 52">
              <a:extLst>
                <a:ext uri="{FF2B5EF4-FFF2-40B4-BE49-F238E27FC236}">
                  <a16:creationId xmlns:a16="http://schemas.microsoft.com/office/drawing/2014/main" id="{95D5A4A5-3A72-4A01-90ED-02D63162F0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9980" y="3838897"/>
              <a:ext cx="17144" cy="47475"/>
            </a:xfrm>
            <a:custGeom>
              <a:avLst/>
              <a:gdLst>
                <a:gd name="T0" fmla="*/ 0 w 17"/>
                <a:gd name="T1" fmla="*/ 0 h 48"/>
                <a:gd name="T2" fmla="*/ 0 w 17"/>
                <a:gd name="T3" fmla="*/ 0 h 48"/>
                <a:gd name="T4" fmla="*/ 0 w 17"/>
                <a:gd name="T5" fmla="*/ 2381 h 48"/>
                <a:gd name="T6" fmla="*/ 4202 w 17"/>
                <a:gd name="T7" fmla="*/ 9525 h 48"/>
                <a:gd name="T8" fmla="*/ 4202 w 17"/>
                <a:gd name="T9" fmla="*/ 2381 h 48"/>
                <a:gd name="T10" fmla="*/ 0 w 17"/>
                <a:gd name="T11" fmla="*/ 0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48"/>
                <a:gd name="T20" fmla="*/ 17 w 17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48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7" y="48"/>
                  </a:lnTo>
                  <a:lnTo>
                    <a:pt x="17" y="15"/>
                  </a:lnTo>
                  <a:lnTo>
                    <a:pt x="0" y="0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6" name="Freeform 54">
              <a:extLst>
                <a:ext uri="{FF2B5EF4-FFF2-40B4-BE49-F238E27FC236}">
                  <a16:creationId xmlns:a16="http://schemas.microsoft.com/office/drawing/2014/main" id="{8DB53224-08AA-420D-B301-93B105172A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1882" y="3047668"/>
              <a:ext cx="68570" cy="33627"/>
            </a:xfrm>
            <a:custGeom>
              <a:avLst/>
              <a:gdLst>
                <a:gd name="T0" fmla="*/ 0 w 71"/>
                <a:gd name="T1" fmla="*/ 0 h 32"/>
                <a:gd name="T2" fmla="*/ 0 w 71"/>
                <a:gd name="T3" fmla="*/ 0 h 32"/>
                <a:gd name="T4" fmla="*/ 7244 w 71"/>
                <a:gd name="T5" fmla="*/ 7590 h 32"/>
                <a:gd name="T6" fmla="*/ 14489 w 71"/>
                <a:gd name="T7" fmla="*/ 7590 h 32"/>
                <a:gd name="T8" fmla="*/ 7244 w 71"/>
                <a:gd name="T9" fmla="*/ 3374 h 32"/>
                <a:gd name="T10" fmla="*/ 0 w 71"/>
                <a:gd name="T11" fmla="*/ 0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1"/>
                <a:gd name="T19" fmla="*/ 0 h 32"/>
                <a:gd name="T20" fmla="*/ 71 w 71"/>
                <a:gd name="T21" fmla="*/ 32 h 3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1" h="32">
                  <a:moveTo>
                    <a:pt x="0" y="0"/>
                  </a:moveTo>
                  <a:lnTo>
                    <a:pt x="0" y="0"/>
                  </a:lnTo>
                  <a:lnTo>
                    <a:pt x="34" y="32"/>
                  </a:lnTo>
                  <a:lnTo>
                    <a:pt x="71" y="32"/>
                  </a:lnTo>
                  <a:lnTo>
                    <a:pt x="34" y="15"/>
                  </a:lnTo>
                  <a:lnTo>
                    <a:pt x="0" y="0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7" name="Freeform 55">
              <a:extLst>
                <a:ext uri="{FF2B5EF4-FFF2-40B4-BE49-F238E27FC236}">
                  <a16:creationId xmlns:a16="http://schemas.microsoft.com/office/drawing/2014/main" id="{AEAC7EF3-243F-48B7-97A5-C0BDC736C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1882" y="3158440"/>
              <a:ext cx="68570" cy="47475"/>
            </a:xfrm>
            <a:custGeom>
              <a:avLst/>
              <a:gdLst>
                <a:gd name="T0" fmla="*/ 0 w 71"/>
                <a:gd name="T1" fmla="*/ 3969 h 48"/>
                <a:gd name="T2" fmla="*/ 0 w 71"/>
                <a:gd name="T3" fmla="*/ 3969 h 48"/>
                <a:gd name="T4" fmla="*/ 10464 w 71"/>
                <a:gd name="T5" fmla="*/ 9525 h 48"/>
                <a:gd name="T6" fmla="*/ 10464 w 71"/>
                <a:gd name="T7" fmla="*/ 7144 h 48"/>
                <a:gd name="T8" fmla="*/ 14489 w 71"/>
                <a:gd name="T9" fmla="*/ 3969 h 48"/>
                <a:gd name="T10" fmla="*/ 7244 w 71"/>
                <a:gd name="T11" fmla="*/ 3969 h 48"/>
                <a:gd name="T12" fmla="*/ 4025 w 71"/>
                <a:gd name="T13" fmla="*/ 3969 h 48"/>
                <a:gd name="T14" fmla="*/ 4025 w 71"/>
                <a:gd name="T15" fmla="*/ 0 h 48"/>
                <a:gd name="T16" fmla="*/ 0 w 71"/>
                <a:gd name="T17" fmla="*/ 3969 h 4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1"/>
                <a:gd name="T28" fmla="*/ 0 h 48"/>
                <a:gd name="T29" fmla="*/ 71 w 71"/>
                <a:gd name="T30" fmla="*/ 48 h 4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1" h="48">
                  <a:moveTo>
                    <a:pt x="0" y="17"/>
                  </a:moveTo>
                  <a:lnTo>
                    <a:pt x="0" y="17"/>
                  </a:lnTo>
                  <a:lnTo>
                    <a:pt x="52" y="48"/>
                  </a:lnTo>
                  <a:lnTo>
                    <a:pt x="52" y="33"/>
                  </a:lnTo>
                  <a:lnTo>
                    <a:pt x="71" y="17"/>
                  </a:lnTo>
                  <a:lnTo>
                    <a:pt x="34" y="17"/>
                  </a:lnTo>
                  <a:lnTo>
                    <a:pt x="17" y="17"/>
                  </a:ln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8" name="Freeform 56">
              <a:extLst>
                <a:ext uri="{FF2B5EF4-FFF2-40B4-BE49-F238E27FC236}">
                  <a16:creationId xmlns:a16="http://schemas.microsoft.com/office/drawing/2014/main" id="{A5ED9D01-DAFF-490C-8463-0C082285EB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3310" y="2986349"/>
              <a:ext cx="167617" cy="189895"/>
            </a:xfrm>
            <a:custGeom>
              <a:avLst/>
              <a:gdLst>
                <a:gd name="T0" fmla="*/ 0 w 175"/>
                <a:gd name="T1" fmla="*/ 28575 h 192"/>
                <a:gd name="T2" fmla="*/ 0 w 175"/>
                <a:gd name="T3" fmla="*/ 28575 h 192"/>
                <a:gd name="T4" fmla="*/ 0 w 175"/>
                <a:gd name="T5" fmla="*/ 31750 h 192"/>
                <a:gd name="T6" fmla="*/ 3991 w 175"/>
                <a:gd name="T7" fmla="*/ 31750 h 192"/>
                <a:gd name="T8" fmla="*/ 20755 w 175"/>
                <a:gd name="T9" fmla="*/ 31750 h 192"/>
                <a:gd name="T10" fmla="*/ 20755 w 175"/>
                <a:gd name="T11" fmla="*/ 34925 h 192"/>
                <a:gd name="T12" fmla="*/ 17562 w 175"/>
                <a:gd name="T13" fmla="*/ 34925 h 192"/>
                <a:gd name="T14" fmla="*/ 20755 w 175"/>
                <a:gd name="T15" fmla="*/ 34925 h 192"/>
                <a:gd name="T16" fmla="*/ 24747 w 175"/>
                <a:gd name="T17" fmla="*/ 31750 h 192"/>
                <a:gd name="T18" fmla="*/ 27940 w 175"/>
                <a:gd name="T19" fmla="*/ 31750 h 192"/>
                <a:gd name="T20" fmla="*/ 27940 w 175"/>
                <a:gd name="T21" fmla="*/ 34925 h 192"/>
                <a:gd name="T22" fmla="*/ 31931 w 175"/>
                <a:gd name="T23" fmla="*/ 34925 h 192"/>
                <a:gd name="T24" fmla="*/ 31931 w 175"/>
                <a:gd name="T25" fmla="*/ 38100 h 192"/>
                <a:gd name="T26" fmla="*/ 35125 w 175"/>
                <a:gd name="T27" fmla="*/ 38100 h 192"/>
                <a:gd name="T28" fmla="*/ 35125 w 175"/>
                <a:gd name="T29" fmla="*/ 31750 h 192"/>
                <a:gd name="T30" fmla="*/ 31931 w 175"/>
                <a:gd name="T31" fmla="*/ 31750 h 192"/>
                <a:gd name="T32" fmla="*/ 35125 w 175"/>
                <a:gd name="T33" fmla="*/ 28575 h 192"/>
                <a:gd name="T34" fmla="*/ 31931 w 175"/>
                <a:gd name="T35" fmla="*/ 31750 h 192"/>
                <a:gd name="T36" fmla="*/ 27940 w 175"/>
                <a:gd name="T37" fmla="*/ 28575 h 192"/>
                <a:gd name="T38" fmla="*/ 35125 w 175"/>
                <a:gd name="T39" fmla="*/ 22225 h 192"/>
                <a:gd name="T40" fmla="*/ 31931 w 175"/>
                <a:gd name="T41" fmla="*/ 24606 h 192"/>
                <a:gd name="T42" fmla="*/ 27940 w 175"/>
                <a:gd name="T43" fmla="*/ 22225 h 192"/>
                <a:gd name="T44" fmla="*/ 31931 w 175"/>
                <a:gd name="T45" fmla="*/ 19050 h 192"/>
                <a:gd name="T46" fmla="*/ 20755 w 175"/>
                <a:gd name="T47" fmla="*/ 19050 h 192"/>
                <a:gd name="T48" fmla="*/ 17562 w 175"/>
                <a:gd name="T49" fmla="*/ 15875 h 192"/>
                <a:gd name="T50" fmla="*/ 20755 w 175"/>
                <a:gd name="T51" fmla="*/ 12700 h 192"/>
                <a:gd name="T52" fmla="*/ 17562 w 175"/>
                <a:gd name="T53" fmla="*/ 12700 h 192"/>
                <a:gd name="T54" fmla="*/ 14369 w 175"/>
                <a:gd name="T55" fmla="*/ 15875 h 192"/>
                <a:gd name="T56" fmla="*/ 20755 w 175"/>
                <a:gd name="T57" fmla="*/ 0 h 192"/>
                <a:gd name="T58" fmla="*/ 14369 w 175"/>
                <a:gd name="T59" fmla="*/ 3175 h 192"/>
                <a:gd name="T60" fmla="*/ 3991 w 175"/>
                <a:gd name="T61" fmla="*/ 22225 h 192"/>
                <a:gd name="T62" fmla="*/ 3991 w 175"/>
                <a:gd name="T63" fmla="*/ 24606 h 192"/>
                <a:gd name="T64" fmla="*/ 0 w 175"/>
                <a:gd name="T65" fmla="*/ 28575 h 19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75"/>
                <a:gd name="T100" fmla="*/ 0 h 192"/>
                <a:gd name="T101" fmla="*/ 175 w 175"/>
                <a:gd name="T102" fmla="*/ 192 h 19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75" h="192">
                  <a:moveTo>
                    <a:pt x="0" y="144"/>
                  </a:moveTo>
                  <a:lnTo>
                    <a:pt x="0" y="144"/>
                  </a:lnTo>
                  <a:lnTo>
                    <a:pt x="0" y="160"/>
                  </a:lnTo>
                  <a:lnTo>
                    <a:pt x="17" y="160"/>
                  </a:lnTo>
                  <a:lnTo>
                    <a:pt x="104" y="160"/>
                  </a:lnTo>
                  <a:lnTo>
                    <a:pt x="104" y="175"/>
                  </a:lnTo>
                  <a:lnTo>
                    <a:pt x="86" y="175"/>
                  </a:lnTo>
                  <a:lnTo>
                    <a:pt x="104" y="175"/>
                  </a:lnTo>
                  <a:lnTo>
                    <a:pt x="121" y="160"/>
                  </a:lnTo>
                  <a:lnTo>
                    <a:pt x="140" y="160"/>
                  </a:lnTo>
                  <a:lnTo>
                    <a:pt x="140" y="175"/>
                  </a:lnTo>
                  <a:lnTo>
                    <a:pt x="157" y="175"/>
                  </a:lnTo>
                  <a:lnTo>
                    <a:pt x="157" y="192"/>
                  </a:lnTo>
                  <a:lnTo>
                    <a:pt x="175" y="192"/>
                  </a:lnTo>
                  <a:lnTo>
                    <a:pt x="175" y="160"/>
                  </a:lnTo>
                  <a:lnTo>
                    <a:pt x="157" y="160"/>
                  </a:lnTo>
                  <a:lnTo>
                    <a:pt x="175" y="144"/>
                  </a:lnTo>
                  <a:lnTo>
                    <a:pt x="157" y="160"/>
                  </a:lnTo>
                  <a:lnTo>
                    <a:pt x="140" y="144"/>
                  </a:lnTo>
                  <a:lnTo>
                    <a:pt x="175" y="112"/>
                  </a:lnTo>
                  <a:lnTo>
                    <a:pt x="157" y="127"/>
                  </a:lnTo>
                  <a:lnTo>
                    <a:pt x="140" y="112"/>
                  </a:lnTo>
                  <a:lnTo>
                    <a:pt x="157" y="96"/>
                  </a:lnTo>
                  <a:lnTo>
                    <a:pt x="104" y="96"/>
                  </a:lnTo>
                  <a:lnTo>
                    <a:pt x="86" y="79"/>
                  </a:lnTo>
                  <a:lnTo>
                    <a:pt x="104" y="64"/>
                  </a:lnTo>
                  <a:lnTo>
                    <a:pt x="86" y="64"/>
                  </a:lnTo>
                  <a:lnTo>
                    <a:pt x="69" y="79"/>
                  </a:lnTo>
                  <a:lnTo>
                    <a:pt x="104" y="0"/>
                  </a:lnTo>
                  <a:lnTo>
                    <a:pt x="69" y="16"/>
                  </a:lnTo>
                  <a:lnTo>
                    <a:pt x="17" y="112"/>
                  </a:lnTo>
                  <a:lnTo>
                    <a:pt x="17" y="127"/>
                  </a:lnTo>
                  <a:lnTo>
                    <a:pt x="0" y="144"/>
                  </a:lnTo>
                </a:path>
              </a:pathLst>
            </a:custGeom>
            <a:pattFill prst="pct50">
              <a:fgClr>
                <a:schemeClr val="accent2"/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9" name="Line 57">
              <a:extLst>
                <a:ext uri="{FF2B5EF4-FFF2-40B4-BE49-F238E27FC236}">
                  <a16:creationId xmlns:a16="http://schemas.microsoft.com/office/drawing/2014/main" id="{63A76507-834E-4FBC-B3C7-74442213A9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13310" y="4131652"/>
              <a:ext cx="17144" cy="15825"/>
            </a:xfrm>
            <a:prstGeom prst="line">
              <a:avLst/>
            </a:pr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0" name="Line 58">
              <a:extLst>
                <a:ext uri="{FF2B5EF4-FFF2-40B4-BE49-F238E27FC236}">
                  <a16:creationId xmlns:a16="http://schemas.microsoft.com/office/drawing/2014/main" id="{D166D221-68BF-4A6B-B10F-492DFAA0E54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50457" y="3815161"/>
              <a:ext cx="36191" cy="15825"/>
            </a:xfrm>
            <a:prstGeom prst="line">
              <a:avLst/>
            </a:pr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1" name="Freeform 59">
              <a:extLst>
                <a:ext uri="{FF2B5EF4-FFF2-40B4-BE49-F238E27FC236}">
                  <a16:creationId xmlns:a16="http://schemas.microsoft.com/office/drawing/2014/main" id="{0885F570-16B5-4CC8-BE9F-7D46E7F834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7124" y="3791425"/>
              <a:ext cx="17144" cy="31649"/>
            </a:xfrm>
            <a:custGeom>
              <a:avLst/>
              <a:gdLst>
                <a:gd name="T0" fmla="*/ 0 w 17"/>
                <a:gd name="T1" fmla="*/ 0 h 31"/>
                <a:gd name="T2" fmla="*/ 0 w 17"/>
                <a:gd name="T3" fmla="*/ 0 h 31"/>
                <a:gd name="T4" fmla="*/ 4202 w 17"/>
                <a:gd name="T5" fmla="*/ 3277 h 31"/>
                <a:gd name="T6" fmla="*/ 4202 w 17"/>
                <a:gd name="T7" fmla="*/ 6555 h 3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31"/>
                <a:gd name="T14" fmla="*/ 17 w 17"/>
                <a:gd name="T15" fmla="*/ 31 h 3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31">
                  <a:moveTo>
                    <a:pt x="0" y="0"/>
                  </a:moveTo>
                  <a:lnTo>
                    <a:pt x="0" y="0"/>
                  </a:lnTo>
                  <a:lnTo>
                    <a:pt x="17" y="15"/>
                  </a:lnTo>
                  <a:lnTo>
                    <a:pt x="17" y="31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2" name="Freeform 60">
              <a:extLst>
                <a:ext uri="{FF2B5EF4-FFF2-40B4-BE49-F238E27FC236}">
                  <a16:creationId xmlns:a16="http://schemas.microsoft.com/office/drawing/2014/main" id="{8D638880-662C-4F35-96BD-4866CF5821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265" y="3823073"/>
              <a:ext cx="15238" cy="31649"/>
            </a:xfrm>
            <a:custGeom>
              <a:avLst/>
              <a:gdLst>
                <a:gd name="T0" fmla="*/ 0 w 17"/>
                <a:gd name="T1" fmla="*/ 0 h 32"/>
                <a:gd name="T2" fmla="*/ 0 w 17"/>
                <a:gd name="T3" fmla="*/ 0 h 32"/>
                <a:gd name="T4" fmla="*/ 2988 w 17"/>
                <a:gd name="T5" fmla="*/ 3175 h 32"/>
                <a:gd name="T6" fmla="*/ 2988 w 17"/>
                <a:gd name="T7" fmla="*/ 6350 h 3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32"/>
                <a:gd name="T14" fmla="*/ 17 w 17"/>
                <a:gd name="T15" fmla="*/ 32 h 3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32">
                  <a:moveTo>
                    <a:pt x="0" y="0"/>
                  </a:moveTo>
                  <a:lnTo>
                    <a:pt x="0" y="0"/>
                  </a:lnTo>
                  <a:lnTo>
                    <a:pt x="17" y="17"/>
                  </a:lnTo>
                  <a:lnTo>
                    <a:pt x="17" y="32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3" name="Freeform 61">
              <a:extLst>
                <a:ext uri="{FF2B5EF4-FFF2-40B4-BE49-F238E27FC236}">
                  <a16:creationId xmlns:a16="http://schemas.microsoft.com/office/drawing/2014/main" id="{206285CE-FAC6-4EDD-8DE3-7E3570FDBF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9026" y="3902195"/>
              <a:ext cx="17144" cy="15825"/>
            </a:xfrm>
            <a:custGeom>
              <a:avLst/>
              <a:gdLst>
                <a:gd name="T0" fmla="*/ 0 w 18"/>
                <a:gd name="T1" fmla="*/ 0 h 16"/>
                <a:gd name="T2" fmla="*/ 0 w 18"/>
                <a:gd name="T3" fmla="*/ 0 h 16"/>
                <a:gd name="T4" fmla="*/ 3969 w 18"/>
                <a:gd name="T5" fmla="*/ 3175 h 16"/>
                <a:gd name="T6" fmla="*/ 0 w 18"/>
                <a:gd name="T7" fmla="*/ 3175 h 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"/>
                <a:gd name="T13" fmla="*/ 0 h 16"/>
                <a:gd name="T14" fmla="*/ 18 w 18"/>
                <a:gd name="T15" fmla="*/ 16 h 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" h="16">
                  <a:moveTo>
                    <a:pt x="0" y="0"/>
                  </a:moveTo>
                  <a:lnTo>
                    <a:pt x="0" y="0"/>
                  </a:lnTo>
                  <a:lnTo>
                    <a:pt x="18" y="16"/>
                  </a:lnTo>
                  <a:lnTo>
                    <a:pt x="0" y="16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4" name="Freeform 62">
              <a:extLst>
                <a:ext uri="{FF2B5EF4-FFF2-40B4-BE49-F238E27FC236}">
                  <a16:creationId xmlns:a16="http://schemas.microsoft.com/office/drawing/2014/main" id="{CC01DF35-38DC-4F18-A343-42F8FE4D58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0456" y="3933844"/>
              <a:ext cx="30476" cy="0"/>
            </a:xfrm>
            <a:custGeom>
              <a:avLst/>
              <a:gdLst>
                <a:gd name="T0" fmla="*/ 0 w 33"/>
                <a:gd name="T1" fmla="*/ 0 w 33"/>
                <a:gd name="T2" fmla="*/ 2309 w 33"/>
                <a:gd name="T3" fmla="*/ 6158 w 33"/>
                <a:gd name="T4" fmla="*/ 0 60000 65536"/>
                <a:gd name="T5" fmla="*/ 0 60000 65536"/>
                <a:gd name="T6" fmla="*/ 0 60000 65536"/>
                <a:gd name="T7" fmla="*/ 0 60000 65536"/>
                <a:gd name="T8" fmla="*/ 0 w 33"/>
                <a:gd name="T9" fmla="*/ 33 w 33"/>
              </a:gdLst>
              <a:ahLst/>
              <a:cxnLst>
                <a:cxn ang="T4">
                  <a:pos x="T0" y="0"/>
                </a:cxn>
                <a:cxn ang="T5">
                  <a:pos x="T1" y="0"/>
                </a:cxn>
                <a:cxn ang="T6">
                  <a:pos x="T2" y="0"/>
                </a:cxn>
                <a:cxn ang="T7">
                  <a:pos x="T3" y="0"/>
                </a:cxn>
              </a:cxnLst>
              <a:rect l="T8" t="0" r="T9" b="0"/>
              <a:pathLst>
                <a:path w="33">
                  <a:moveTo>
                    <a:pt x="0" y="0"/>
                  </a:moveTo>
                  <a:lnTo>
                    <a:pt x="0" y="0"/>
                  </a:lnTo>
                  <a:lnTo>
                    <a:pt x="15" y="0"/>
                  </a:lnTo>
                  <a:lnTo>
                    <a:pt x="33" y="0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5" name="Line 63">
              <a:extLst>
                <a:ext uri="{FF2B5EF4-FFF2-40B4-BE49-F238E27FC236}">
                  <a16:creationId xmlns:a16="http://schemas.microsoft.com/office/drawing/2014/main" id="{A5A984F5-F772-4C44-9BCC-2EA3656F5B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36171" y="3878459"/>
              <a:ext cx="13334" cy="15825"/>
            </a:xfrm>
            <a:prstGeom prst="line">
              <a:avLst/>
            </a:pr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6" name="Freeform 68">
              <a:extLst>
                <a:ext uri="{FF2B5EF4-FFF2-40B4-BE49-F238E27FC236}">
                  <a16:creationId xmlns:a16="http://schemas.microsoft.com/office/drawing/2014/main" id="{F7C5FCE5-FE59-45E4-8B1A-9E9EBD2E6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5221" y="4487705"/>
              <a:ext cx="15238" cy="31649"/>
            </a:xfrm>
            <a:custGeom>
              <a:avLst/>
              <a:gdLst>
                <a:gd name="T0" fmla="*/ 0 w 15"/>
                <a:gd name="T1" fmla="*/ 0 h 33"/>
                <a:gd name="T2" fmla="*/ 0 w 15"/>
                <a:gd name="T3" fmla="*/ 0 h 33"/>
                <a:gd name="T4" fmla="*/ 3387 w 15"/>
                <a:gd name="T5" fmla="*/ 3079 h 33"/>
                <a:gd name="T6" fmla="*/ 0 w 15"/>
                <a:gd name="T7" fmla="*/ 3079 h 33"/>
                <a:gd name="T8" fmla="*/ 3387 w 15"/>
                <a:gd name="T9" fmla="*/ 6158 h 33"/>
                <a:gd name="T10" fmla="*/ 3387 w 15"/>
                <a:gd name="T11" fmla="*/ 3079 h 33"/>
                <a:gd name="T12" fmla="*/ 0 w 15"/>
                <a:gd name="T13" fmla="*/ 0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"/>
                <a:gd name="T22" fmla="*/ 0 h 33"/>
                <a:gd name="T23" fmla="*/ 15 w 15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" h="33">
                  <a:moveTo>
                    <a:pt x="0" y="0"/>
                  </a:moveTo>
                  <a:lnTo>
                    <a:pt x="0" y="0"/>
                  </a:lnTo>
                  <a:lnTo>
                    <a:pt x="15" y="18"/>
                  </a:lnTo>
                  <a:lnTo>
                    <a:pt x="0" y="18"/>
                  </a:lnTo>
                  <a:lnTo>
                    <a:pt x="15" y="33"/>
                  </a:lnTo>
                  <a:lnTo>
                    <a:pt x="15" y="18"/>
                  </a:lnTo>
                  <a:lnTo>
                    <a:pt x="0" y="0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7" name="Freeform 69">
              <a:extLst>
                <a:ext uri="{FF2B5EF4-FFF2-40B4-BE49-F238E27FC236}">
                  <a16:creationId xmlns:a16="http://schemas.microsoft.com/office/drawing/2014/main" id="{C7C2B54B-84E5-4EC1-B514-B6786FFAA2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9026" y="5625097"/>
              <a:ext cx="32381" cy="65276"/>
            </a:xfrm>
            <a:custGeom>
              <a:avLst/>
              <a:gdLst>
                <a:gd name="T0" fmla="*/ 3084 w 35"/>
                <a:gd name="T1" fmla="*/ 0 h 65"/>
                <a:gd name="T2" fmla="*/ 3084 w 35"/>
                <a:gd name="T3" fmla="*/ 0 h 65"/>
                <a:gd name="T4" fmla="*/ 0 w 35"/>
                <a:gd name="T5" fmla="*/ 9672 h 65"/>
                <a:gd name="T6" fmla="*/ 3084 w 35"/>
                <a:gd name="T7" fmla="*/ 13701 h 65"/>
                <a:gd name="T8" fmla="*/ 6169 w 35"/>
                <a:gd name="T9" fmla="*/ 4030 h 65"/>
                <a:gd name="T10" fmla="*/ 3084 w 35"/>
                <a:gd name="T11" fmla="*/ 0 h 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"/>
                <a:gd name="T19" fmla="*/ 0 h 65"/>
                <a:gd name="T20" fmla="*/ 35 w 35"/>
                <a:gd name="T21" fmla="*/ 65 h 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" h="65">
                  <a:moveTo>
                    <a:pt x="18" y="0"/>
                  </a:moveTo>
                  <a:lnTo>
                    <a:pt x="18" y="0"/>
                  </a:lnTo>
                  <a:lnTo>
                    <a:pt x="0" y="48"/>
                  </a:lnTo>
                  <a:lnTo>
                    <a:pt x="18" y="65"/>
                  </a:lnTo>
                  <a:lnTo>
                    <a:pt x="35" y="17"/>
                  </a:lnTo>
                  <a:lnTo>
                    <a:pt x="18" y="0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D2378F80-51CB-47A7-92EE-6823E495E640}"/>
                </a:ext>
              </a:extLst>
            </p:cNvPr>
            <p:cNvGrpSpPr/>
            <p:nvPr/>
          </p:nvGrpSpPr>
          <p:grpSpPr>
            <a:xfrm>
              <a:off x="1927612" y="1886542"/>
              <a:ext cx="2293316" cy="4203403"/>
              <a:chOff x="2687139" y="1759584"/>
              <a:chExt cx="1976057" cy="3621901"/>
            </a:xfrm>
            <a:pattFill prst="pct50">
              <a:fgClr>
                <a:srgbClr val="FFC000"/>
              </a:fgClr>
              <a:bgClr>
                <a:schemeClr val="bg1"/>
              </a:bgClr>
            </a:pattFill>
          </p:grpSpPr>
          <p:sp>
            <p:nvSpPr>
              <p:cNvPr id="329" name="Freeform 44">
                <a:extLst>
                  <a:ext uri="{FF2B5EF4-FFF2-40B4-BE49-F238E27FC236}">
                    <a16:creationId xmlns:a16="http://schemas.microsoft.com/office/drawing/2014/main" id="{59C07F41-45CB-42D2-BB77-8705F46F9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7139" y="1759584"/>
                <a:ext cx="1918614" cy="1259569"/>
              </a:xfrm>
              <a:custGeom>
                <a:avLst/>
                <a:gdLst>
                  <a:gd name="T0" fmla="*/ 336550 w 2338"/>
                  <a:gd name="T1" fmla="*/ 284163 h 1478"/>
                  <a:gd name="T2" fmla="*/ 319088 w 2338"/>
                  <a:gd name="T3" fmla="*/ 284163 h 1478"/>
                  <a:gd name="T4" fmla="*/ 329406 w 2338"/>
                  <a:gd name="T5" fmla="*/ 274638 h 1478"/>
                  <a:gd name="T6" fmla="*/ 305594 w 2338"/>
                  <a:gd name="T7" fmla="*/ 258763 h 1478"/>
                  <a:gd name="T8" fmla="*/ 288131 w 2338"/>
                  <a:gd name="T9" fmla="*/ 239713 h 1478"/>
                  <a:gd name="T10" fmla="*/ 254000 w 2338"/>
                  <a:gd name="T11" fmla="*/ 242888 h 1478"/>
                  <a:gd name="T12" fmla="*/ 96044 w 2338"/>
                  <a:gd name="T13" fmla="*/ 239713 h 1478"/>
                  <a:gd name="T14" fmla="*/ 71438 w 2338"/>
                  <a:gd name="T15" fmla="*/ 223838 h 1478"/>
                  <a:gd name="T16" fmla="*/ 57944 w 2338"/>
                  <a:gd name="T17" fmla="*/ 197644 h 1478"/>
                  <a:gd name="T18" fmla="*/ 37306 w 2338"/>
                  <a:gd name="T19" fmla="*/ 156369 h 1478"/>
                  <a:gd name="T20" fmla="*/ 20638 w 2338"/>
                  <a:gd name="T21" fmla="*/ 153988 h 1478"/>
                  <a:gd name="T22" fmla="*/ 0 w 2338"/>
                  <a:gd name="T23" fmla="*/ 141288 h 1478"/>
                  <a:gd name="T24" fmla="*/ 27781 w 2338"/>
                  <a:gd name="T25" fmla="*/ 36513 h 1478"/>
                  <a:gd name="T26" fmla="*/ 61119 w 2338"/>
                  <a:gd name="T27" fmla="*/ 20638 h 1478"/>
                  <a:gd name="T28" fmla="*/ 78581 w 2338"/>
                  <a:gd name="T29" fmla="*/ 23019 h 1478"/>
                  <a:gd name="T30" fmla="*/ 88900 w 2338"/>
                  <a:gd name="T31" fmla="*/ 33338 h 1478"/>
                  <a:gd name="T32" fmla="*/ 113506 w 2338"/>
                  <a:gd name="T33" fmla="*/ 33338 h 1478"/>
                  <a:gd name="T34" fmla="*/ 144463 w 2338"/>
                  <a:gd name="T35" fmla="*/ 42069 h 1478"/>
                  <a:gd name="T36" fmla="*/ 150813 w 2338"/>
                  <a:gd name="T37" fmla="*/ 58738 h 1478"/>
                  <a:gd name="T38" fmla="*/ 174625 w 2338"/>
                  <a:gd name="T39" fmla="*/ 49213 h 1478"/>
                  <a:gd name="T40" fmla="*/ 213519 w 2338"/>
                  <a:gd name="T41" fmla="*/ 55563 h 1478"/>
                  <a:gd name="T42" fmla="*/ 233363 w 2338"/>
                  <a:gd name="T43" fmla="*/ 45244 h 1478"/>
                  <a:gd name="T44" fmla="*/ 240506 w 2338"/>
                  <a:gd name="T45" fmla="*/ 36513 h 1478"/>
                  <a:gd name="T46" fmla="*/ 243681 w 2338"/>
                  <a:gd name="T47" fmla="*/ 58738 h 1478"/>
                  <a:gd name="T48" fmla="*/ 254000 w 2338"/>
                  <a:gd name="T49" fmla="*/ 33338 h 1478"/>
                  <a:gd name="T50" fmla="*/ 254000 w 2338"/>
                  <a:gd name="T51" fmla="*/ 0 h 1478"/>
                  <a:gd name="T52" fmla="*/ 278606 w 2338"/>
                  <a:gd name="T53" fmla="*/ 45244 h 1478"/>
                  <a:gd name="T54" fmla="*/ 292100 w 2338"/>
                  <a:gd name="T55" fmla="*/ 61913 h 1478"/>
                  <a:gd name="T56" fmla="*/ 302419 w 2338"/>
                  <a:gd name="T57" fmla="*/ 26988 h 1478"/>
                  <a:gd name="T58" fmla="*/ 323056 w 2338"/>
                  <a:gd name="T59" fmla="*/ 36513 h 1478"/>
                  <a:gd name="T60" fmla="*/ 323056 w 2338"/>
                  <a:gd name="T61" fmla="*/ 58738 h 1478"/>
                  <a:gd name="T62" fmla="*/ 302419 w 2338"/>
                  <a:gd name="T63" fmla="*/ 71438 h 1478"/>
                  <a:gd name="T64" fmla="*/ 292100 w 2338"/>
                  <a:gd name="T65" fmla="*/ 89694 h 1478"/>
                  <a:gd name="T66" fmla="*/ 274638 w 2338"/>
                  <a:gd name="T67" fmla="*/ 115888 h 1478"/>
                  <a:gd name="T68" fmla="*/ 257969 w 2338"/>
                  <a:gd name="T69" fmla="*/ 128588 h 1478"/>
                  <a:gd name="T70" fmla="*/ 261144 w 2338"/>
                  <a:gd name="T71" fmla="*/ 156369 h 1478"/>
                  <a:gd name="T72" fmla="*/ 288131 w 2338"/>
                  <a:gd name="T73" fmla="*/ 182563 h 1478"/>
                  <a:gd name="T74" fmla="*/ 319088 w 2338"/>
                  <a:gd name="T75" fmla="*/ 211138 h 1478"/>
                  <a:gd name="T76" fmla="*/ 339725 w 2338"/>
                  <a:gd name="T77" fmla="*/ 192088 h 1478"/>
                  <a:gd name="T78" fmla="*/ 339725 w 2338"/>
                  <a:gd name="T79" fmla="*/ 153988 h 1478"/>
                  <a:gd name="T80" fmla="*/ 339725 w 2338"/>
                  <a:gd name="T81" fmla="*/ 138113 h 1478"/>
                  <a:gd name="T82" fmla="*/ 343694 w 2338"/>
                  <a:gd name="T83" fmla="*/ 119063 h 1478"/>
                  <a:gd name="T84" fmla="*/ 374650 w 2338"/>
                  <a:gd name="T85" fmla="*/ 131763 h 1478"/>
                  <a:gd name="T86" fmla="*/ 398463 w 2338"/>
                  <a:gd name="T87" fmla="*/ 163513 h 1478"/>
                  <a:gd name="T88" fmla="*/ 408781 w 2338"/>
                  <a:gd name="T89" fmla="*/ 146844 h 1478"/>
                  <a:gd name="T90" fmla="*/ 430213 w 2338"/>
                  <a:gd name="T91" fmla="*/ 182563 h 1478"/>
                  <a:gd name="T92" fmla="*/ 446881 w 2338"/>
                  <a:gd name="T93" fmla="*/ 192088 h 1478"/>
                  <a:gd name="T94" fmla="*/ 454025 w 2338"/>
                  <a:gd name="T95" fmla="*/ 204788 h 1478"/>
                  <a:gd name="T96" fmla="*/ 464344 w 2338"/>
                  <a:gd name="T97" fmla="*/ 217488 h 1478"/>
                  <a:gd name="T98" fmla="*/ 430213 w 2338"/>
                  <a:gd name="T99" fmla="*/ 233363 h 1478"/>
                  <a:gd name="T100" fmla="*/ 395288 w 2338"/>
                  <a:gd name="T101" fmla="*/ 239713 h 1478"/>
                  <a:gd name="T102" fmla="*/ 392113 w 2338"/>
                  <a:gd name="T103" fmla="*/ 246063 h 1478"/>
                  <a:gd name="T104" fmla="*/ 416719 w 2338"/>
                  <a:gd name="T105" fmla="*/ 246063 h 1478"/>
                  <a:gd name="T106" fmla="*/ 412750 w 2338"/>
                  <a:gd name="T107" fmla="*/ 249238 h 1478"/>
                  <a:gd name="T108" fmla="*/ 430213 w 2338"/>
                  <a:gd name="T109" fmla="*/ 265113 h 1478"/>
                  <a:gd name="T110" fmla="*/ 440531 w 2338"/>
                  <a:gd name="T111" fmla="*/ 261938 h 1478"/>
                  <a:gd name="T112" fmla="*/ 408781 w 2338"/>
                  <a:gd name="T113" fmla="*/ 280988 h 1478"/>
                  <a:gd name="T114" fmla="*/ 412750 w 2338"/>
                  <a:gd name="T115" fmla="*/ 265113 h 1478"/>
                  <a:gd name="T116" fmla="*/ 395288 w 2338"/>
                  <a:gd name="T117" fmla="*/ 255588 h 1478"/>
                  <a:gd name="T118" fmla="*/ 381794 w 2338"/>
                  <a:gd name="T119" fmla="*/ 268288 h 1478"/>
                  <a:gd name="T120" fmla="*/ 346869 w 2338"/>
                  <a:gd name="T121" fmla="*/ 277813 h 147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2338"/>
                  <a:gd name="T184" fmla="*/ 0 h 1478"/>
                  <a:gd name="T185" fmla="*/ 2338 w 2338"/>
                  <a:gd name="T186" fmla="*/ 1478 h 147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2338" h="1478">
                    <a:moveTo>
                      <a:pt x="1682" y="1415"/>
                    </a:moveTo>
                    <a:lnTo>
                      <a:pt x="1682" y="1415"/>
                    </a:lnTo>
                    <a:lnTo>
                      <a:pt x="1697" y="1415"/>
                    </a:lnTo>
                    <a:lnTo>
                      <a:pt x="1697" y="1430"/>
                    </a:lnTo>
                    <a:lnTo>
                      <a:pt x="1628" y="1447"/>
                    </a:lnTo>
                    <a:lnTo>
                      <a:pt x="1611" y="1463"/>
                    </a:lnTo>
                    <a:lnTo>
                      <a:pt x="1576" y="1478"/>
                    </a:lnTo>
                    <a:lnTo>
                      <a:pt x="1611" y="1430"/>
                    </a:lnTo>
                    <a:lnTo>
                      <a:pt x="1594" y="1430"/>
                    </a:lnTo>
                    <a:lnTo>
                      <a:pt x="1628" y="1415"/>
                    </a:lnTo>
                    <a:lnTo>
                      <a:pt x="1628" y="1351"/>
                    </a:lnTo>
                    <a:lnTo>
                      <a:pt x="1663" y="1382"/>
                    </a:lnTo>
                    <a:lnTo>
                      <a:pt x="1682" y="1367"/>
                    </a:lnTo>
                    <a:lnTo>
                      <a:pt x="1645" y="1334"/>
                    </a:lnTo>
                    <a:lnTo>
                      <a:pt x="1559" y="1319"/>
                    </a:lnTo>
                    <a:lnTo>
                      <a:pt x="1542" y="1303"/>
                    </a:lnTo>
                    <a:lnTo>
                      <a:pt x="1525" y="1255"/>
                    </a:lnTo>
                    <a:lnTo>
                      <a:pt x="1507" y="1255"/>
                    </a:lnTo>
                    <a:lnTo>
                      <a:pt x="1490" y="1223"/>
                    </a:lnTo>
                    <a:lnTo>
                      <a:pt x="1455" y="1207"/>
                    </a:lnTo>
                    <a:lnTo>
                      <a:pt x="1404" y="1255"/>
                    </a:lnTo>
                    <a:lnTo>
                      <a:pt x="1352" y="1255"/>
                    </a:lnTo>
                    <a:lnTo>
                      <a:pt x="1317" y="1223"/>
                    </a:lnTo>
                    <a:lnTo>
                      <a:pt x="1281" y="1223"/>
                    </a:lnTo>
                    <a:lnTo>
                      <a:pt x="1265" y="1190"/>
                    </a:lnTo>
                    <a:lnTo>
                      <a:pt x="1248" y="1207"/>
                    </a:lnTo>
                    <a:lnTo>
                      <a:pt x="501" y="1207"/>
                    </a:lnTo>
                    <a:lnTo>
                      <a:pt x="486" y="1207"/>
                    </a:lnTo>
                    <a:lnTo>
                      <a:pt x="486" y="1190"/>
                    </a:lnTo>
                    <a:lnTo>
                      <a:pt x="467" y="1190"/>
                    </a:lnTo>
                    <a:lnTo>
                      <a:pt x="415" y="1159"/>
                    </a:lnTo>
                    <a:lnTo>
                      <a:pt x="363" y="1127"/>
                    </a:lnTo>
                    <a:lnTo>
                      <a:pt x="346" y="1079"/>
                    </a:lnTo>
                    <a:lnTo>
                      <a:pt x="328" y="1063"/>
                    </a:lnTo>
                    <a:lnTo>
                      <a:pt x="277" y="1015"/>
                    </a:lnTo>
                    <a:lnTo>
                      <a:pt x="294" y="998"/>
                    </a:lnTo>
                    <a:lnTo>
                      <a:pt x="294" y="968"/>
                    </a:lnTo>
                    <a:lnTo>
                      <a:pt x="294" y="920"/>
                    </a:lnTo>
                    <a:lnTo>
                      <a:pt x="242" y="887"/>
                    </a:lnTo>
                    <a:lnTo>
                      <a:pt x="188" y="791"/>
                    </a:lnTo>
                    <a:lnTo>
                      <a:pt x="173" y="791"/>
                    </a:lnTo>
                    <a:lnTo>
                      <a:pt x="156" y="743"/>
                    </a:lnTo>
                    <a:lnTo>
                      <a:pt x="121" y="758"/>
                    </a:lnTo>
                    <a:lnTo>
                      <a:pt x="104" y="776"/>
                    </a:lnTo>
                    <a:lnTo>
                      <a:pt x="52" y="728"/>
                    </a:lnTo>
                    <a:lnTo>
                      <a:pt x="52" y="710"/>
                    </a:lnTo>
                    <a:lnTo>
                      <a:pt x="0" y="728"/>
                    </a:lnTo>
                    <a:lnTo>
                      <a:pt x="0" y="710"/>
                    </a:lnTo>
                    <a:lnTo>
                      <a:pt x="0" y="152"/>
                    </a:lnTo>
                    <a:lnTo>
                      <a:pt x="33" y="152"/>
                    </a:lnTo>
                    <a:lnTo>
                      <a:pt x="137" y="215"/>
                    </a:lnTo>
                    <a:lnTo>
                      <a:pt x="137" y="183"/>
                    </a:lnTo>
                    <a:lnTo>
                      <a:pt x="156" y="167"/>
                    </a:lnTo>
                    <a:lnTo>
                      <a:pt x="188" y="152"/>
                    </a:lnTo>
                    <a:lnTo>
                      <a:pt x="208" y="167"/>
                    </a:lnTo>
                    <a:lnTo>
                      <a:pt x="311" y="104"/>
                    </a:lnTo>
                    <a:lnTo>
                      <a:pt x="311" y="135"/>
                    </a:lnTo>
                    <a:lnTo>
                      <a:pt x="346" y="135"/>
                    </a:lnTo>
                    <a:lnTo>
                      <a:pt x="363" y="87"/>
                    </a:lnTo>
                    <a:lnTo>
                      <a:pt x="398" y="119"/>
                    </a:lnTo>
                    <a:lnTo>
                      <a:pt x="398" y="152"/>
                    </a:lnTo>
                    <a:lnTo>
                      <a:pt x="434" y="167"/>
                    </a:lnTo>
                    <a:lnTo>
                      <a:pt x="449" y="135"/>
                    </a:lnTo>
                    <a:lnTo>
                      <a:pt x="449" y="167"/>
                    </a:lnTo>
                    <a:lnTo>
                      <a:pt x="486" y="167"/>
                    </a:lnTo>
                    <a:lnTo>
                      <a:pt x="486" y="135"/>
                    </a:lnTo>
                    <a:lnTo>
                      <a:pt x="538" y="135"/>
                    </a:lnTo>
                    <a:lnTo>
                      <a:pt x="570" y="167"/>
                    </a:lnTo>
                    <a:lnTo>
                      <a:pt x="605" y="183"/>
                    </a:lnTo>
                    <a:lnTo>
                      <a:pt x="641" y="200"/>
                    </a:lnTo>
                    <a:lnTo>
                      <a:pt x="676" y="200"/>
                    </a:lnTo>
                    <a:lnTo>
                      <a:pt x="728" y="215"/>
                    </a:lnTo>
                    <a:lnTo>
                      <a:pt x="728" y="248"/>
                    </a:lnTo>
                    <a:lnTo>
                      <a:pt x="709" y="263"/>
                    </a:lnTo>
                    <a:lnTo>
                      <a:pt x="709" y="279"/>
                    </a:lnTo>
                    <a:lnTo>
                      <a:pt x="760" y="296"/>
                    </a:lnTo>
                    <a:lnTo>
                      <a:pt x="849" y="263"/>
                    </a:lnTo>
                    <a:lnTo>
                      <a:pt x="901" y="296"/>
                    </a:lnTo>
                    <a:lnTo>
                      <a:pt x="901" y="263"/>
                    </a:lnTo>
                    <a:lnTo>
                      <a:pt x="883" y="248"/>
                    </a:lnTo>
                    <a:lnTo>
                      <a:pt x="901" y="231"/>
                    </a:lnTo>
                    <a:lnTo>
                      <a:pt x="970" y="200"/>
                    </a:lnTo>
                    <a:lnTo>
                      <a:pt x="987" y="248"/>
                    </a:lnTo>
                    <a:lnTo>
                      <a:pt x="1073" y="279"/>
                    </a:lnTo>
                    <a:lnTo>
                      <a:pt x="1125" y="296"/>
                    </a:lnTo>
                    <a:lnTo>
                      <a:pt x="1162" y="296"/>
                    </a:lnTo>
                    <a:lnTo>
                      <a:pt x="1162" y="248"/>
                    </a:lnTo>
                    <a:lnTo>
                      <a:pt x="1177" y="231"/>
                    </a:lnTo>
                    <a:lnTo>
                      <a:pt x="1125" y="200"/>
                    </a:lnTo>
                    <a:lnTo>
                      <a:pt x="1162" y="183"/>
                    </a:lnTo>
                    <a:lnTo>
                      <a:pt x="1177" y="135"/>
                    </a:lnTo>
                    <a:lnTo>
                      <a:pt x="1214" y="183"/>
                    </a:lnTo>
                    <a:lnTo>
                      <a:pt x="1248" y="215"/>
                    </a:lnTo>
                    <a:lnTo>
                      <a:pt x="1214" y="248"/>
                    </a:lnTo>
                    <a:lnTo>
                      <a:pt x="1214" y="279"/>
                    </a:lnTo>
                    <a:lnTo>
                      <a:pt x="1229" y="296"/>
                    </a:lnTo>
                    <a:lnTo>
                      <a:pt x="1248" y="263"/>
                    </a:lnTo>
                    <a:lnTo>
                      <a:pt x="1281" y="231"/>
                    </a:lnTo>
                    <a:lnTo>
                      <a:pt x="1265" y="200"/>
                    </a:lnTo>
                    <a:lnTo>
                      <a:pt x="1281" y="167"/>
                    </a:lnTo>
                    <a:lnTo>
                      <a:pt x="1248" y="135"/>
                    </a:lnTo>
                    <a:lnTo>
                      <a:pt x="1214" y="104"/>
                    </a:lnTo>
                    <a:lnTo>
                      <a:pt x="1229" y="8"/>
                    </a:lnTo>
                    <a:lnTo>
                      <a:pt x="1283" y="0"/>
                    </a:lnTo>
                    <a:lnTo>
                      <a:pt x="1352" y="119"/>
                    </a:lnTo>
                    <a:lnTo>
                      <a:pt x="1333" y="152"/>
                    </a:lnTo>
                    <a:lnTo>
                      <a:pt x="1352" y="167"/>
                    </a:lnTo>
                    <a:lnTo>
                      <a:pt x="1404" y="231"/>
                    </a:lnTo>
                    <a:lnTo>
                      <a:pt x="1421" y="183"/>
                    </a:lnTo>
                    <a:lnTo>
                      <a:pt x="1455" y="215"/>
                    </a:lnTo>
                    <a:lnTo>
                      <a:pt x="1436" y="279"/>
                    </a:lnTo>
                    <a:lnTo>
                      <a:pt x="1473" y="311"/>
                    </a:lnTo>
                    <a:lnTo>
                      <a:pt x="1490" y="311"/>
                    </a:lnTo>
                    <a:lnTo>
                      <a:pt x="1490" y="279"/>
                    </a:lnTo>
                    <a:lnTo>
                      <a:pt x="1525" y="263"/>
                    </a:lnTo>
                    <a:lnTo>
                      <a:pt x="1525" y="135"/>
                    </a:lnTo>
                    <a:lnTo>
                      <a:pt x="1559" y="135"/>
                    </a:lnTo>
                    <a:lnTo>
                      <a:pt x="1594" y="152"/>
                    </a:lnTo>
                    <a:lnTo>
                      <a:pt x="1594" y="183"/>
                    </a:lnTo>
                    <a:lnTo>
                      <a:pt x="1628" y="183"/>
                    </a:lnTo>
                    <a:lnTo>
                      <a:pt x="1628" y="231"/>
                    </a:lnTo>
                    <a:lnTo>
                      <a:pt x="1594" y="248"/>
                    </a:lnTo>
                    <a:lnTo>
                      <a:pt x="1594" y="279"/>
                    </a:lnTo>
                    <a:lnTo>
                      <a:pt x="1628" y="296"/>
                    </a:lnTo>
                    <a:lnTo>
                      <a:pt x="1628" y="327"/>
                    </a:lnTo>
                    <a:lnTo>
                      <a:pt x="1559" y="392"/>
                    </a:lnTo>
                    <a:lnTo>
                      <a:pt x="1525" y="375"/>
                    </a:lnTo>
                    <a:lnTo>
                      <a:pt x="1525" y="359"/>
                    </a:lnTo>
                    <a:lnTo>
                      <a:pt x="1490" y="359"/>
                    </a:lnTo>
                    <a:lnTo>
                      <a:pt x="1507" y="392"/>
                    </a:lnTo>
                    <a:lnTo>
                      <a:pt x="1473" y="423"/>
                    </a:lnTo>
                    <a:lnTo>
                      <a:pt x="1473" y="455"/>
                    </a:lnTo>
                    <a:lnTo>
                      <a:pt x="1436" y="518"/>
                    </a:lnTo>
                    <a:lnTo>
                      <a:pt x="1404" y="518"/>
                    </a:lnTo>
                    <a:lnTo>
                      <a:pt x="1369" y="551"/>
                    </a:lnTo>
                    <a:lnTo>
                      <a:pt x="1384" y="584"/>
                    </a:lnTo>
                    <a:lnTo>
                      <a:pt x="1333" y="599"/>
                    </a:lnTo>
                    <a:lnTo>
                      <a:pt x="1333" y="632"/>
                    </a:lnTo>
                    <a:lnTo>
                      <a:pt x="1317" y="632"/>
                    </a:lnTo>
                    <a:lnTo>
                      <a:pt x="1300" y="647"/>
                    </a:lnTo>
                    <a:lnTo>
                      <a:pt x="1265" y="728"/>
                    </a:lnTo>
                    <a:lnTo>
                      <a:pt x="1265" y="776"/>
                    </a:lnTo>
                    <a:lnTo>
                      <a:pt x="1281" y="791"/>
                    </a:lnTo>
                    <a:lnTo>
                      <a:pt x="1317" y="791"/>
                    </a:lnTo>
                    <a:lnTo>
                      <a:pt x="1333" y="887"/>
                    </a:lnTo>
                    <a:lnTo>
                      <a:pt x="1369" y="872"/>
                    </a:lnTo>
                    <a:lnTo>
                      <a:pt x="1421" y="887"/>
                    </a:lnTo>
                    <a:lnTo>
                      <a:pt x="1455" y="920"/>
                    </a:lnTo>
                    <a:lnTo>
                      <a:pt x="1525" y="950"/>
                    </a:lnTo>
                    <a:lnTo>
                      <a:pt x="1594" y="950"/>
                    </a:lnTo>
                    <a:lnTo>
                      <a:pt x="1611" y="968"/>
                    </a:lnTo>
                    <a:lnTo>
                      <a:pt x="1611" y="1063"/>
                    </a:lnTo>
                    <a:lnTo>
                      <a:pt x="1682" y="1127"/>
                    </a:lnTo>
                    <a:lnTo>
                      <a:pt x="1715" y="1094"/>
                    </a:lnTo>
                    <a:lnTo>
                      <a:pt x="1682" y="983"/>
                    </a:lnTo>
                    <a:lnTo>
                      <a:pt x="1715" y="968"/>
                    </a:lnTo>
                    <a:lnTo>
                      <a:pt x="1749" y="920"/>
                    </a:lnTo>
                    <a:lnTo>
                      <a:pt x="1734" y="824"/>
                    </a:lnTo>
                    <a:lnTo>
                      <a:pt x="1697" y="791"/>
                    </a:lnTo>
                    <a:lnTo>
                      <a:pt x="1715" y="776"/>
                    </a:lnTo>
                    <a:lnTo>
                      <a:pt x="1734" y="776"/>
                    </a:lnTo>
                    <a:lnTo>
                      <a:pt x="1734" y="758"/>
                    </a:lnTo>
                    <a:lnTo>
                      <a:pt x="1734" y="710"/>
                    </a:lnTo>
                    <a:lnTo>
                      <a:pt x="1715" y="695"/>
                    </a:lnTo>
                    <a:lnTo>
                      <a:pt x="1734" y="647"/>
                    </a:lnTo>
                    <a:lnTo>
                      <a:pt x="1715" y="632"/>
                    </a:lnTo>
                    <a:lnTo>
                      <a:pt x="1715" y="614"/>
                    </a:lnTo>
                    <a:lnTo>
                      <a:pt x="1734" y="599"/>
                    </a:lnTo>
                    <a:lnTo>
                      <a:pt x="1786" y="614"/>
                    </a:lnTo>
                    <a:lnTo>
                      <a:pt x="1837" y="599"/>
                    </a:lnTo>
                    <a:lnTo>
                      <a:pt x="1905" y="647"/>
                    </a:lnTo>
                    <a:lnTo>
                      <a:pt x="1889" y="662"/>
                    </a:lnTo>
                    <a:lnTo>
                      <a:pt x="1905" y="680"/>
                    </a:lnTo>
                    <a:lnTo>
                      <a:pt x="1956" y="680"/>
                    </a:lnTo>
                    <a:lnTo>
                      <a:pt x="1956" y="776"/>
                    </a:lnTo>
                    <a:lnTo>
                      <a:pt x="2008" y="824"/>
                    </a:lnTo>
                    <a:lnTo>
                      <a:pt x="2027" y="806"/>
                    </a:lnTo>
                    <a:lnTo>
                      <a:pt x="2060" y="776"/>
                    </a:lnTo>
                    <a:lnTo>
                      <a:pt x="2079" y="758"/>
                    </a:lnTo>
                    <a:lnTo>
                      <a:pt x="2060" y="743"/>
                    </a:lnTo>
                    <a:lnTo>
                      <a:pt x="2079" y="710"/>
                    </a:lnTo>
                    <a:lnTo>
                      <a:pt x="2183" y="872"/>
                    </a:lnTo>
                    <a:lnTo>
                      <a:pt x="2166" y="887"/>
                    </a:lnTo>
                    <a:lnTo>
                      <a:pt x="2166" y="920"/>
                    </a:lnTo>
                    <a:lnTo>
                      <a:pt x="2200" y="935"/>
                    </a:lnTo>
                    <a:lnTo>
                      <a:pt x="2200" y="950"/>
                    </a:lnTo>
                    <a:lnTo>
                      <a:pt x="2235" y="968"/>
                    </a:lnTo>
                    <a:lnTo>
                      <a:pt x="2252" y="968"/>
                    </a:lnTo>
                    <a:lnTo>
                      <a:pt x="2287" y="983"/>
                    </a:lnTo>
                    <a:lnTo>
                      <a:pt x="2252" y="998"/>
                    </a:lnTo>
                    <a:lnTo>
                      <a:pt x="2287" y="998"/>
                    </a:lnTo>
                    <a:lnTo>
                      <a:pt x="2287" y="1031"/>
                    </a:lnTo>
                    <a:lnTo>
                      <a:pt x="2306" y="1031"/>
                    </a:lnTo>
                    <a:lnTo>
                      <a:pt x="2321" y="1046"/>
                    </a:lnTo>
                    <a:lnTo>
                      <a:pt x="2321" y="1063"/>
                    </a:lnTo>
                    <a:lnTo>
                      <a:pt x="2338" y="1094"/>
                    </a:lnTo>
                    <a:lnTo>
                      <a:pt x="2306" y="1111"/>
                    </a:lnTo>
                    <a:lnTo>
                      <a:pt x="2252" y="1127"/>
                    </a:lnTo>
                    <a:lnTo>
                      <a:pt x="2218" y="1175"/>
                    </a:lnTo>
                    <a:lnTo>
                      <a:pt x="2166" y="1175"/>
                    </a:lnTo>
                    <a:lnTo>
                      <a:pt x="2114" y="1159"/>
                    </a:lnTo>
                    <a:lnTo>
                      <a:pt x="2027" y="1175"/>
                    </a:lnTo>
                    <a:lnTo>
                      <a:pt x="2008" y="1207"/>
                    </a:lnTo>
                    <a:lnTo>
                      <a:pt x="1993" y="1207"/>
                    </a:lnTo>
                    <a:lnTo>
                      <a:pt x="1956" y="1223"/>
                    </a:lnTo>
                    <a:lnTo>
                      <a:pt x="1905" y="1286"/>
                    </a:lnTo>
                    <a:lnTo>
                      <a:pt x="1924" y="1286"/>
                    </a:lnTo>
                    <a:lnTo>
                      <a:pt x="1976" y="1238"/>
                    </a:lnTo>
                    <a:lnTo>
                      <a:pt x="2027" y="1207"/>
                    </a:lnTo>
                    <a:lnTo>
                      <a:pt x="2079" y="1207"/>
                    </a:lnTo>
                    <a:lnTo>
                      <a:pt x="2097" y="1207"/>
                    </a:lnTo>
                    <a:lnTo>
                      <a:pt x="2097" y="1238"/>
                    </a:lnTo>
                    <a:lnTo>
                      <a:pt x="2060" y="1255"/>
                    </a:lnTo>
                    <a:lnTo>
                      <a:pt x="2045" y="1255"/>
                    </a:lnTo>
                    <a:lnTo>
                      <a:pt x="2060" y="1271"/>
                    </a:lnTo>
                    <a:lnTo>
                      <a:pt x="2079" y="1255"/>
                    </a:lnTo>
                    <a:lnTo>
                      <a:pt x="2079" y="1303"/>
                    </a:lnTo>
                    <a:lnTo>
                      <a:pt x="2097" y="1319"/>
                    </a:lnTo>
                    <a:lnTo>
                      <a:pt x="2131" y="1334"/>
                    </a:lnTo>
                    <a:lnTo>
                      <a:pt x="2166" y="1334"/>
                    </a:lnTo>
                    <a:lnTo>
                      <a:pt x="2166" y="1319"/>
                    </a:lnTo>
                    <a:lnTo>
                      <a:pt x="2200" y="1286"/>
                    </a:lnTo>
                    <a:lnTo>
                      <a:pt x="2200" y="1319"/>
                    </a:lnTo>
                    <a:lnTo>
                      <a:pt x="2218" y="1319"/>
                    </a:lnTo>
                    <a:lnTo>
                      <a:pt x="2183" y="1334"/>
                    </a:lnTo>
                    <a:lnTo>
                      <a:pt x="2183" y="1351"/>
                    </a:lnTo>
                    <a:lnTo>
                      <a:pt x="2097" y="1382"/>
                    </a:lnTo>
                    <a:lnTo>
                      <a:pt x="2060" y="1415"/>
                    </a:lnTo>
                    <a:lnTo>
                      <a:pt x="2045" y="1382"/>
                    </a:lnTo>
                    <a:lnTo>
                      <a:pt x="2097" y="1351"/>
                    </a:lnTo>
                    <a:lnTo>
                      <a:pt x="2079" y="1351"/>
                    </a:lnTo>
                    <a:lnTo>
                      <a:pt x="2079" y="1334"/>
                    </a:lnTo>
                    <a:lnTo>
                      <a:pt x="2045" y="1351"/>
                    </a:lnTo>
                    <a:lnTo>
                      <a:pt x="2027" y="1351"/>
                    </a:lnTo>
                    <a:lnTo>
                      <a:pt x="2008" y="1334"/>
                    </a:lnTo>
                    <a:lnTo>
                      <a:pt x="1993" y="1286"/>
                    </a:lnTo>
                    <a:lnTo>
                      <a:pt x="1993" y="1271"/>
                    </a:lnTo>
                    <a:lnTo>
                      <a:pt x="1976" y="1286"/>
                    </a:lnTo>
                    <a:lnTo>
                      <a:pt x="1956" y="1271"/>
                    </a:lnTo>
                    <a:lnTo>
                      <a:pt x="1924" y="1351"/>
                    </a:lnTo>
                    <a:lnTo>
                      <a:pt x="1889" y="1367"/>
                    </a:lnTo>
                    <a:lnTo>
                      <a:pt x="1801" y="1367"/>
                    </a:lnTo>
                    <a:lnTo>
                      <a:pt x="1766" y="1382"/>
                    </a:lnTo>
                    <a:lnTo>
                      <a:pt x="1749" y="1399"/>
                    </a:lnTo>
                    <a:lnTo>
                      <a:pt x="1682" y="1415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30" name="Freeform 65">
                <a:extLst>
                  <a:ext uri="{FF2B5EF4-FFF2-40B4-BE49-F238E27FC236}">
                    <a16:creationId xmlns:a16="http://schemas.microsoft.com/office/drawing/2014/main" id="{8B9E9B5F-ED0E-44A2-BB55-7A0CD71C20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6419" y="2773715"/>
                <a:ext cx="1294942" cy="668133"/>
              </a:xfrm>
              <a:custGeom>
                <a:avLst/>
                <a:gdLst>
                  <a:gd name="T0" fmla="*/ 157956 w 1578"/>
                  <a:gd name="T1" fmla="*/ 3171 h 785"/>
                  <a:gd name="T2" fmla="*/ 171450 w 1578"/>
                  <a:gd name="T3" fmla="*/ 6342 h 785"/>
                  <a:gd name="T4" fmla="*/ 175419 w 1578"/>
                  <a:gd name="T5" fmla="*/ 22197 h 785"/>
                  <a:gd name="T6" fmla="*/ 196056 w 1578"/>
                  <a:gd name="T7" fmla="*/ 19026 h 785"/>
                  <a:gd name="T8" fmla="*/ 203200 w 1578"/>
                  <a:gd name="T9" fmla="*/ 22197 h 785"/>
                  <a:gd name="T10" fmla="*/ 220663 w 1578"/>
                  <a:gd name="T11" fmla="*/ 25368 h 785"/>
                  <a:gd name="T12" fmla="*/ 199231 w 1578"/>
                  <a:gd name="T13" fmla="*/ 38051 h 785"/>
                  <a:gd name="T14" fmla="*/ 199231 w 1578"/>
                  <a:gd name="T15" fmla="*/ 53906 h 785"/>
                  <a:gd name="T16" fmla="*/ 207169 w 1578"/>
                  <a:gd name="T17" fmla="*/ 53906 h 785"/>
                  <a:gd name="T18" fmla="*/ 213519 w 1578"/>
                  <a:gd name="T19" fmla="*/ 31710 h 785"/>
                  <a:gd name="T20" fmla="*/ 223838 w 1578"/>
                  <a:gd name="T21" fmla="*/ 38051 h 785"/>
                  <a:gd name="T22" fmla="*/ 227806 w 1578"/>
                  <a:gd name="T23" fmla="*/ 47564 h 785"/>
                  <a:gd name="T24" fmla="*/ 227806 w 1578"/>
                  <a:gd name="T25" fmla="*/ 57077 h 785"/>
                  <a:gd name="T26" fmla="*/ 247650 w 1578"/>
                  <a:gd name="T27" fmla="*/ 44393 h 785"/>
                  <a:gd name="T28" fmla="*/ 268288 w 1578"/>
                  <a:gd name="T29" fmla="*/ 34881 h 785"/>
                  <a:gd name="T30" fmla="*/ 300038 w 1578"/>
                  <a:gd name="T31" fmla="*/ 15855 h 785"/>
                  <a:gd name="T32" fmla="*/ 306388 w 1578"/>
                  <a:gd name="T33" fmla="*/ 19026 h 785"/>
                  <a:gd name="T34" fmla="*/ 313531 w 1578"/>
                  <a:gd name="T35" fmla="*/ 34881 h 785"/>
                  <a:gd name="T36" fmla="*/ 300038 w 1578"/>
                  <a:gd name="T37" fmla="*/ 41222 h 785"/>
                  <a:gd name="T38" fmla="*/ 292894 w 1578"/>
                  <a:gd name="T39" fmla="*/ 57077 h 785"/>
                  <a:gd name="T40" fmla="*/ 296069 w 1578"/>
                  <a:gd name="T41" fmla="*/ 57077 h 785"/>
                  <a:gd name="T42" fmla="*/ 275431 w 1578"/>
                  <a:gd name="T43" fmla="*/ 63419 h 785"/>
                  <a:gd name="T44" fmla="*/ 265113 w 1578"/>
                  <a:gd name="T45" fmla="*/ 69761 h 785"/>
                  <a:gd name="T46" fmla="*/ 265113 w 1578"/>
                  <a:gd name="T47" fmla="*/ 79274 h 785"/>
                  <a:gd name="T48" fmla="*/ 261938 w 1578"/>
                  <a:gd name="T49" fmla="*/ 72932 h 785"/>
                  <a:gd name="T50" fmla="*/ 261938 w 1578"/>
                  <a:gd name="T51" fmla="*/ 79274 h 785"/>
                  <a:gd name="T52" fmla="*/ 261938 w 1578"/>
                  <a:gd name="T53" fmla="*/ 101471 h 785"/>
                  <a:gd name="T54" fmla="*/ 234156 w 1578"/>
                  <a:gd name="T55" fmla="*/ 123667 h 785"/>
                  <a:gd name="T56" fmla="*/ 237331 w 1578"/>
                  <a:gd name="T57" fmla="*/ 155377 h 785"/>
                  <a:gd name="T58" fmla="*/ 227806 w 1578"/>
                  <a:gd name="T59" fmla="*/ 133180 h 785"/>
                  <a:gd name="T60" fmla="*/ 213519 w 1578"/>
                  <a:gd name="T61" fmla="*/ 126838 h 785"/>
                  <a:gd name="T62" fmla="*/ 199231 w 1578"/>
                  <a:gd name="T63" fmla="*/ 123667 h 785"/>
                  <a:gd name="T64" fmla="*/ 192881 w 1578"/>
                  <a:gd name="T65" fmla="*/ 126838 h 785"/>
                  <a:gd name="T66" fmla="*/ 188913 w 1578"/>
                  <a:gd name="T67" fmla="*/ 133180 h 785"/>
                  <a:gd name="T68" fmla="*/ 175419 w 1578"/>
                  <a:gd name="T69" fmla="*/ 130009 h 785"/>
                  <a:gd name="T70" fmla="*/ 161131 w 1578"/>
                  <a:gd name="T71" fmla="*/ 130009 h 785"/>
                  <a:gd name="T72" fmla="*/ 148431 w 1578"/>
                  <a:gd name="T73" fmla="*/ 142693 h 785"/>
                  <a:gd name="T74" fmla="*/ 123825 w 1578"/>
                  <a:gd name="T75" fmla="*/ 130009 h 785"/>
                  <a:gd name="T76" fmla="*/ 114300 w 1578"/>
                  <a:gd name="T77" fmla="*/ 133180 h 785"/>
                  <a:gd name="T78" fmla="*/ 99219 w 1578"/>
                  <a:gd name="T79" fmla="*/ 117325 h 785"/>
                  <a:gd name="T80" fmla="*/ 41275 w 1578"/>
                  <a:gd name="T81" fmla="*/ 114154 h 785"/>
                  <a:gd name="T82" fmla="*/ 34925 w 1578"/>
                  <a:gd name="T83" fmla="*/ 104642 h 785"/>
                  <a:gd name="T84" fmla="*/ 14288 w 1578"/>
                  <a:gd name="T85" fmla="*/ 91958 h 785"/>
                  <a:gd name="T86" fmla="*/ 10319 w 1578"/>
                  <a:gd name="T87" fmla="*/ 82445 h 785"/>
                  <a:gd name="T88" fmla="*/ 7144 w 1578"/>
                  <a:gd name="T89" fmla="*/ 79274 h 785"/>
                  <a:gd name="T90" fmla="*/ 3969 w 1578"/>
                  <a:gd name="T91" fmla="*/ 69761 h 785"/>
                  <a:gd name="T92" fmla="*/ 0 w 1578"/>
                  <a:gd name="T93" fmla="*/ 47564 h 785"/>
                  <a:gd name="T94" fmla="*/ 3969 w 1578"/>
                  <a:gd name="T95" fmla="*/ 25368 h 785"/>
                  <a:gd name="T96" fmla="*/ 10319 w 1578"/>
                  <a:gd name="T97" fmla="*/ 12684 h 785"/>
                  <a:gd name="T98" fmla="*/ 10319 w 1578"/>
                  <a:gd name="T99" fmla="*/ 6342 h 785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578"/>
                  <a:gd name="T151" fmla="*/ 0 h 785"/>
                  <a:gd name="T152" fmla="*/ 1578 w 1578"/>
                  <a:gd name="T153" fmla="*/ 785 h 785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578" h="785">
                    <a:moveTo>
                      <a:pt x="52" y="17"/>
                    </a:moveTo>
                    <a:lnTo>
                      <a:pt x="52" y="17"/>
                    </a:lnTo>
                    <a:lnTo>
                      <a:pt x="797" y="17"/>
                    </a:lnTo>
                    <a:lnTo>
                      <a:pt x="814" y="0"/>
                    </a:lnTo>
                    <a:lnTo>
                      <a:pt x="832" y="33"/>
                    </a:lnTo>
                    <a:lnTo>
                      <a:pt x="866" y="33"/>
                    </a:lnTo>
                    <a:lnTo>
                      <a:pt x="903" y="65"/>
                    </a:lnTo>
                    <a:lnTo>
                      <a:pt x="955" y="65"/>
                    </a:lnTo>
                    <a:lnTo>
                      <a:pt x="884" y="113"/>
                    </a:lnTo>
                    <a:lnTo>
                      <a:pt x="920" y="96"/>
                    </a:lnTo>
                    <a:lnTo>
                      <a:pt x="937" y="113"/>
                    </a:lnTo>
                    <a:lnTo>
                      <a:pt x="989" y="96"/>
                    </a:lnTo>
                    <a:lnTo>
                      <a:pt x="989" y="113"/>
                    </a:lnTo>
                    <a:lnTo>
                      <a:pt x="1006" y="96"/>
                    </a:lnTo>
                    <a:lnTo>
                      <a:pt x="1024" y="113"/>
                    </a:lnTo>
                    <a:lnTo>
                      <a:pt x="1076" y="113"/>
                    </a:lnTo>
                    <a:lnTo>
                      <a:pt x="1093" y="113"/>
                    </a:lnTo>
                    <a:lnTo>
                      <a:pt x="1110" y="129"/>
                    </a:lnTo>
                    <a:lnTo>
                      <a:pt x="1110" y="144"/>
                    </a:lnTo>
                    <a:lnTo>
                      <a:pt x="1024" y="144"/>
                    </a:lnTo>
                    <a:lnTo>
                      <a:pt x="1006" y="192"/>
                    </a:lnTo>
                    <a:lnTo>
                      <a:pt x="1024" y="177"/>
                    </a:lnTo>
                    <a:lnTo>
                      <a:pt x="1006" y="240"/>
                    </a:lnTo>
                    <a:lnTo>
                      <a:pt x="1006" y="273"/>
                    </a:lnTo>
                    <a:lnTo>
                      <a:pt x="1006" y="288"/>
                    </a:lnTo>
                    <a:lnTo>
                      <a:pt x="1024" y="288"/>
                    </a:lnTo>
                    <a:lnTo>
                      <a:pt x="1041" y="273"/>
                    </a:lnTo>
                    <a:lnTo>
                      <a:pt x="1041" y="209"/>
                    </a:lnTo>
                    <a:lnTo>
                      <a:pt x="1058" y="177"/>
                    </a:lnTo>
                    <a:lnTo>
                      <a:pt x="1076" y="161"/>
                    </a:lnTo>
                    <a:lnTo>
                      <a:pt x="1076" y="144"/>
                    </a:lnTo>
                    <a:lnTo>
                      <a:pt x="1127" y="161"/>
                    </a:lnTo>
                    <a:lnTo>
                      <a:pt x="1127" y="192"/>
                    </a:lnTo>
                    <a:lnTo>
                      <a:pt x="1110" y="225"/>
                    </a:lnTo>
                    <a:lnTo>
                      <a:pt x="1145" y="209"/>
                    </a:lnTo>
                    <a:lnTo>
                      <a:pt x="1145" y="240"/>
                    </a:lnTo>
                    <a:lnTo>
                      <a:pt x="1162" y="240"/>
                    </a:lnTo>
                    <a:lnTo>
                      <a:pt x="1127" y="288"/>
                    </a:lnTo>
                    <a:lnTo>
                      <a:pt x="1145" y="288"/>
                    </a:lnTo>
                    <a:lnTo>
                      <a:pt x="1179" y="288"/>
                    </a:lnTo>
                    <a:lnTo>
                      <a:pt x="1248" y="240"/>
                    </a:lnTo>
                    <a:lnTo>
                      <a:pt x="1248" y="225"/>
                    </a:lnTo>
                    <a:lnTo>
                      <a:pt x="1317" y="225"/>
                    </a:lnTo>
                    <a:lnTo>
                      <a:pt x="1317" y="192"/>
                    </a:lnTo>
                    <a:lnTo>
                      <a:pt x="1352" y="177"/>
                    </a:lnTo>
                    <a:lnTo>
                      <a:pt x="1438" y="177"/>
                    </a:lnTo>
                    <a:lnTo>
                      <a:pt x="1475" y="161"/>
                    </a:lnTo>
                    <a:lnTo>
                      <a:pt x="1509" y="81"/>
                    </a:lnTo>
                    <a:lnTo>
                      <a:pt x="1527" y="96"/>
                    </a:lnTo>
                    <a:lnTo>
                      <a:pt x="1544" y="81"/>
                    </a:lnTo>
                    <a:lnTo>
                      <a:pt x="1544" y="96"/>
                    </a:lnTo>
                    <a:lnTo>
                      <a:pt x="1561" y="144"/>
                    </a:lnTo>
                    <a:lnTo>
                      <a:pt x="1578" y="161"/>
                    </a:lnTo>
                    <a:lnTo>
                      <a:pt x="1578" y="177"/>
                    </a:lnTo>
                    <a:lnTo>
                      <a:pt x="1561" y="192"/>
                    </a:lnTo>
                    <a:lnTo>
                      <a:pt x="1527" y="192"/>
                    </a:lnTo>
                    <a:lnTo>
                      <a:pt x="1509" y="209"/>
                    </a:lnTo>
                    <a:lnTo>
                      <a:pt x="1492" y="225"/>
                    </a:lnTo>
                    <a:lnTo>
                      <a:pt x="1456" y="257"/>
                    </a:lnTo>
                    <a:lnTo>
                      <a:pt x="1475" y="288"/>
                    </a:lnTo>
                    <a:lnTo>
                      <a:pt x="1492" y="288"/>
                    </a:lnTo>
                    <a:lnTo>
                      <a:pt x="1492" y="273"/>
                    </a:lnTo>
                    <a:lnTo>
                      <a:pt x="1492" y="288"/>
                    </a:lnTo>
                    <a:lnTo>
                      <a:pt x="1456" y="288"/>
                    </a:lnTo>
                    <a:lnTo>
                      <a:pt x="1404" y="305"/>
                    </a:lnTo>
                    <a:lnTo>
                      <a:pt x="1387" y="321"/>
                    </a:lnTo>
                    <a:lnTo>
                      <a:pt x="1369" y="369"/>
                    </a:lnTo>
                    <a:lnTo>
                      <a:pt x="1352" y="369"/>
                    </a:lnTo>
                    <a:lnTo>
                      <a:pt x="1335" y="353"/>
                    </a:lnTo>
                    <a:lnTo>
                      <a:pt x="1352" y="384"/>
                    </a:lnTo>
                    <a:lnTo>
                      <a:pt x="1335" y="432"/>
                    </a:lnTo>
                    <a:lnTo>
                      <a:pt x="1335" y="401"/>
                    </a:lnTo>
                    <a:lnTo>
                      <a:pt x="1317" y="384"/>
                    </a:lnTo>
                    <a:lnTo>
                      <a:pt x="1335" y="353"/>
                    </a:lnTo>
                    <a:lnTo>
                      <a:pt x="1317" y="369"/>
                    </a:lnTo>
                    <a:lnTo>
                      <a:pt x="1317" y="401"/>
                    </a:lnTo>
                    <a:lnTo>
                      <a:pt x="1300" y="401"/>
                    </a:lnTo>
                    <a:lnTo>
                      <a:pt x="1317" y="401"/>
                    </a:lnTo>
                    <a:lnTo>
                      <a:pt x="1317" y="432"/>
                    </a:lnTo>
                    <a:lnTo>
                      <a:pt x="1335" y="480"/>
                    </a:lnTo>
                    <a:lnTo>
                      <a:pt x="1317" y="512"/>
                    </a:lnTo>
                    <a:lnTo>
                      <a:pt x="1248" y="545"/>
                    </a:lnTo>
                    <a:lnTo>
                      <a:pt x="1196" y="593"/>
                    </a:lnTo>
                    <a:lnTo>
                      <a:pt x="1179" y="624"/>
                    </a:lnTo>
                    <a:lnTo>
                      <a:pt x="1214" y="737"/>
                    </a:lnTo>
                    <a:lnTo>
                      <a:pt x="1214" y="785"/>
                    </a:lnTo>
                    <a:lnTo>
                      <a:pt x="1196" y="785"/>
                    </a:lnTo>
                    <a:lnTo>
                      <a:pt x="1179" y="768"/>
                    </a:lnTo>
                    <a:lnTo>
                      <a:pt x="1145" y="737"/>
                    </a:lnTo>
                    <a:lnTo>
                      <a:pt x="1145" y="672"/>
                    </a:lnTo>
                    <a:lnTo>
                      <a:pt x="1110" y="641"/>
                    </a:lnTo>
                    <a:lnTo>
                      <a:pt x="1076" y="656"/>
                    </a:lnTo>
                    <a:lnTo>
                      <a:pt x="1076" y="641"/>
                    </a:lnTo>
                    <a:lnTo>
                      <a:pt x="1041" y="641"/>
                    </a:lnTo>
                    <a:lnTo>
                      <a:pt x="1006" y="641"/>
                    </a:lnTo>
                    <a:lnTo>
                      <a:pt x="1006" y="624"/>
                    </a:lnTo>
                    <a:lnTo>
                      <a:pt x="955" y="641"/>
                    </a:lnTo>
                    <a:lnTo>
                      <a:pt x="937" y="641"/>
                    </a:lnTo>
                    <a:lnTo>
                      <a:pt x="972" y="641"/>
                    </a:lnTo>
                    <a:lnTo>
                      <a:pt x="955" y="656"/>
                    </a:lnTo>
                    <a:lnTo>
                      <a:pt x="972" y="672"/>
                    </a:lnTo>
                    <a:lnTo>
                      <a:pt x="955" y="672"/>
                    </a:lnTo>
                    <a:lnTo>
                      <a:pt x="920" y="672"/>
                    </a:lnTo>
                    <a:lnTo>
                      <a:pt x="903" y="656"/>
                    </a:lnTo>
                    <a:lnTo>
                      <a:pt x="884" y="656"/>
                    </a:lnTo>
                    <a:lnTo>
                      <a:pt x="849" y="656"/>
                    </a:lnTo>
                    <a:lnTo>
                      <a:pt x="814" y="672"/>
                    </a:lnTo>
                    <a:lnTo>
                      <a:pt x="814" y="656"/>
                    </a:lnTo>
                    <a:lnTo>
                      <a:pt x="797" y="656"/>
                    </a:lnTo>
                    <a:lnTo>
                      <a:pt x="814" y="672"/>
                    </a:lnTo>
                    <a:lnTo>
                      <a:pt x="745" y="720"/>
                    </a:lnTo>
                    <a:lnTo>
                      <a:pt x="745" y="768"/>
                    </a:lnTo>
                    <a:lnTo>
                      <a:pt x="693" y="752"/>
                    </a:lnTo>
                    <a:lnTo>
                      <a:pt x="624" y="656"/>
                    </a:lnTo>
                    <a:lnTo>
                      <a:pt x="607" y="656"/>
                    </a:lnTo>
                    <a:lnTo>
                      <a:pt x="590" y="672"/>
                    </a:lnTo>
                    <a:lnTo>
                      <a:pt x="573" y="672"/>
                    </a:lnTo>
                    <a:lnTo>
                      <a:pt x="538" y="656"/>
                    </a:lnTo>
                    <a:lnTo>
                      <a:pt x="538" y="624"/>
                    </a:lnTo>
                    <a:lnTo>
                      <a:pt x="503" y="593"/>
                    </a:lnTo>
                    <a:lnTo>
                      <a:pt x="365" y="608"/>
                    </a:lnTo>
                    <a:lnTo>
                      <a:pt x="260" y="576"/>
                    </a:lnTo>
                    <a:lnTo>
                      <a:pt x="208" y="576"/>
                    </a:lnTo>
                    <a:lnTo>
                      <a:pt x="190" y="545"/>
                    </a:lnTo>
                    <a:lnTo>
                      <a:pt x="173" y="545"/>
                    </a:lnTo>
                    <a:lnTo>
                      <a:pt x="173" y="528"/>
                    </a:lnTo>
                    <a:lnTo>
                      <a:pt x="104" y="512"/>
                    </a:lnTo>
                    <a:lnTo>
                      <a:pt x="104" y="497"/>
                    </a:lnTo>
                    <a:lnTo>
                      <a:pt x="70" y="464"/>
                    </a:lnTo>
                    <a:lnTo>
                      <a:pt x="70" y="432"/>
                    </a:lnTo>
                    <a:lnTo>
                      <a:pt x="52" y="432"/>
                    </a:lnTo>
                    <a:lnTo>
                      <a:pt x="52" y="416"/>
                    </a:lnTo>
                    <a:lnTo>
                      <a:pt x="70" y="416"/>
                    </a:lnTo>
                    <a:lnTo>
                      <a:pt x="70" y="401"/>
                    </a:lnTo>
                    <a:lnTo>
                      <a:pt x="35" y="401"/>
                    </a:lnTo>
                    <a:lnTo>
                      <a:pt x="52" y="401"/>
                    </a:lnTo>
                    <a:lnTo>
                      <a:pt x="18" y="369"/>
                    </a:lnTo>
                    <a:lnTo>
                      <a:pt x="18" y="353"/>
                    </a:lnTo>
                    <a:lnTo>
                      <a:pt x="0" y="336"/>
                    </a:lnTo>
                    <a:lnTo>
                      <a:pt x="18" y="288"/>
                    </a:lnTo>
                    <a:lnTo>
                      <a:pt x="0" y="240"/>
                    </a:lnTo>
                    <a:lnTo>
                      <a:pt x="18" y="129"/>
                    </a:lnTo>
                    <a:lnTo>
                      <a:pt x="35" y="129"/>
                    </a:lnTo>
                    <a:lnTo>
                      <a:pt x="18" y="129"/>
                    </a:lnTo>
                    <a:lnTo>
                      <a:pt x="0" y="48"/>
                    </a:lnTo>
                    <a:lnTo>
                      <a:pt x="35" y="48"/>
                    </a:lnTo>
                    <a:lnTo>
                      <a:pt x="52" y="65"/>
                    </a:lnTo>
                    <a:lnTo>
                      <a:pt x="35" y="81"/>
                    </a:lnTo>
                    <a:lnTo>
                      <a:pt x="52" y="81"/>
                    </a:lnTo>
                    <a:lnTo>
                      <a:pt x="52" y="33"/>
                    </a:lnTo>
                    <a:lnTo>
                      <a:pt x="52" y="1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31" name="Freeform 71">
                <a:extLst>
                  <a:ext uri="{FF2B5EF4-FFF2-40B4-BE49-F238E27FC236}">
                    <a16:creationId xmlns:a16="http://schemas.microsoft.com/office/drawing/2014/main" id="{9EC51CE0-A917-44FB-9C55-506237E6A0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51128" y="4387805"/>
                <a:ext cx="183819" cy="993680"/>
              </a:xfrm>
              <a:custGeom>
                <a:avLst/>
                <a:gdLst>
                  <a:gd name="T0" fmla="*/ 27781 w 224"/>
                  <a:gd name="T1" fmla="*/ 3172 h 1167"/>
                  <a:gd name="T2" fmla="*/ 38100 w 224"/>
                  <a:gd name="T3" fmla="*/ 9517 h 1167"/>
                  <a:gd name="T4" fmla="*/ 41275 w 224"/>
                  <a:gd name="T5" fmla="*/ 28551 h 1167"/>
                  <a:gd name="T6" fmla="*/ 44450 w 224"/>
                  <a:gd name="T7" fmla="*/ 34102 h 1167"/>
                  <a:gd name="T8" fmla="*/ 41275 w 224"/>
                  <a:gd name="T9" fmla="*/ 47584 h 1167"/>
                  <a:gd name="T10" fmla="*/ 27781 w 224"/>
                  <a:gd name="T11" fmla="*/ 76135 h 1167"/>
                  <a:gd name="T12" fmla="*/ 27781 w 224"/>
                  <a:gd name="T13" fmla="*/ 97548 h 1167"/>
                  <a:gd name="T14" fmla="*/ 23812 w 224"/>
                  <a:gd name="T15" fmla="*/ 107064 h 1167"/>
                  <a:gd name="T16" fmla="*/ 20638 w 224"/>
                  <a:gd name="T17" fmla="*/ 126098 h 1167"/>
                  <a:gd name="T18" fmla="*/ 20638 w 224"/>
                  <a:gd name="T19" fmla="*/ 145132 h 1167"/>
                  <a:gd name="T20" fmla="*/ 23812 w 224"/>
                  <a:gd name="T21" fmla="*/ 157821 h 1167"/>
                  <a:gd name="T22" fmla="*/ 20638 w 224"/>
                  <a:gd name="T23" fmla="*/ 161786 h 1167"/>
                  <a:gd name="T24" fmla="*/ 20638 w 224"/>
                  <a:gd name="T25" fmla="*/ 173682 h 1167"/>
                  <a:gd name="T26" fmla="*/ 17463 w 224"/>
                  <a:gd name="T27" fmla="*/ 186371 h 1167"/>
                  <a:gd name="T28" fmla="*/ 14288 w 224"/>
                  <a:gd name="T29" fmla="*/ 202233 h 1167"/>
                  <a:gd name="T30" fmla="*/ 17463 w 224"/>
                  <a:gd name="T31" fmla="*/ 202233 h 1167"/>
                  <a:gd name="T32" fmla="*/ 20638 w 224"/>
                  <a:gd name="T33" fmla="*/ 214922 h 1167"/>
                  <a:gd name="T34" fmla="*/ 38100 w 224"/>
                  <a:gd name="T35" fmla="*/ 214922 h 1167"/>
                  <a:gd name="T36" fmla="*/ 34131 w 224"/>
                  <a:gd name="T37" fmla="*/ 214922 h 1167"/>
                  <a:gd name="T38" fmla="*/ 27781 w 224"/>
                  <a:gd name="T39" fmla="*/ 221267 h 1167"/>
                  <a:gd name="T40" fmla="*/ 23812 w 224"/>
                  <a:gd name="T41" fmla="*/ 230783 h 1167"/>
                  <a:gd name="T42" fmla="*/ 23812 w 224"/>
                  <a:gd name="T43" fmla="*/ 224439 h 1167"/>
                  <a:gd name="T44" fmla="*/ 17463 w 224"/>
                  <a:gd name="T45" fmla="*/ 224439 h 1167"/>
                  <a:gd name="T46" fmla="*/ 14288 w 224"/>
                  <a:gd name="T47" fmla="*/ 218887 h 1167"/>
                  <a:gd name="T48" fmla="*/ 7144 w 224"/>
                  <a:gd name="T49" fmla="*/ 214922 h 1167"/>
                  <a:gd name="T50" fmla="*/ 3969 w 224"/>
                  <a:gd name="T51" fmla="*/ 214922 h 1167"/>
                  <a:gd name="T52" fmla="*/ 7144 w 224"/>
                  <a:gd name="T53" fmla="*/ 211750 h 1167"/>
                  <a:gd name="T54" fmla="*/ 7144 w 224"/>
                  <a:gd name="T55" fmla="*/ 205405 h 1167"/>
                  <a:gd name="T56" fmla="*/ 3969 w 224"/>
                  <a:gd name="T57" fmla="*/ 211750 h 1167"/>
                  <a:gd name="T58" fmla="*/ 7144 w 224"/>
                  <a:gd name="T59" fmla="*/ 205405 h 1167"/>
                  <a:gd name="T60" fmla="*/ 3969 w 224"/>
                  <a:gd name="T61" fmla="*/ 205405 h 1167"/>
                  <a:gd name="T62" fmla="*/ 0 w 224"/>
                  <a:gd name="T63" fmla="*/ 195888 h 1167"/>
                  <a:gd name="T64" fmla="*/ 3969 w 224"/>
                  <a:gd name="T65" fmla="*/ 183199 h 1167"/>
                  <a:gd name="T66" fmla="*/ 7144 w 224"/>
                  <a:gd name="T67" fmla="*/ 186371 h 1167"/>
                  <a:gd name="T68" fmla="*/ 3969 w 224"/>
                  <a:gd name="T69" fmla="*/ 173682 h 1167"/>
                  <a:gd name="T70" fmla="*/ 7144 w 224"/>
                  <a:gd name="T71" fmla="*/ 171303 h 1167"/>
                  <a:gd name="T72" fmla="*/ 7144 w 224"/>
                  <a:gd name="T73" fmla="*/ 167338 h 1167"/>
                  <a:gd name="T74" fmla="*/ 10319 w 224"/>
                  <a:gd name="T75" fmla="*/ 154649 h 1167"/>
                  <a:gd name="T76" fmla="*/ 10319 w 224"/>
                  <a:gd name="T77" fmla="*/ 161786 h 1167"/>
                  <a:gd name="T78" fmla="*/ 17463 w 224"/>
                  <a:gd name="T79" fmla="*/ 142753 h 1167"/>
                  <a:gd name="T80" fmla="*/ 14288 w 224"/>
                  <a:gd name="T81" fmla="*/ 138787 h 1167"/>
                  <a:gd name="T82" fmla="*/ 10319 w 224"/>
                  <a:gd name="T83" fmla="*/ 126098 h 1167"/>
                  <a:gd name="T84" fmla="*/ 10319 w 224"/>
                  <a:gd name="T85" fmla="*/ 114202 h 1167"/>
                  <a:gd name="T86" fmla="*/ 23812 w 224"/>
                  <a:gd name="T87" fmla="*/ 81686 h 1167"/>
                  <a:gd name="T88" fmla="*/ 23812 w 224"/>
                  <a:gd name="T89" fmla="*/ 66618 h 1167"/>
                  <a:gd name="T90" fmla="*/ 27781 w 224"/>
                  <a:gd name="T91" fmla="*/ 47584 h 1167"/>
                  <a:gd name="T92" fmla="*/ 30956 w 224"/>
                  <a:gd name="T93" fmla="*/ 19034 h 1167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224"/>
                  <a:gd name="T142" fmla="*/ 0 h 1167"/>
                  <a:gd name="T143" fmla="*/ 224 w 224"/>
                  <a:gd name="T144" fmla="*/ 1167 h 1167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224" h="1167">
                    <a:moveTo>
                      <a:pt x="138" y="16"/>
                    </a:moveTo>
                    <a:lnTo>
                      <a:pt x="138" y="16"/>
                    </a:lnTo>
                    <a:lnTo>
                      <a:pt x="172" y="0"/>
                    </a:lnTo>
                    <a:lnTo>
                      <a:pt x="190" y="48"/>
                    </a:lnTo>
                    <a:lnTo>
                      <a:pt x="190" y="64"/>
                    </a:lnTo>
                    <a:lnTo>
                      <a:pt x="207" y="144"/>
                    </a:lnTo>
                    <a:lnTo>
                      <a:pt x="224" y="144"/>
                    </a:lnTo>
                    <a:lnTo>
                      <a:pt x="224" y="175"/>
                    </a:lnTo>
                    <a:lnTo>
                      <a:pt x="190" y="192"/>
                    </a:lnTo>
                    <a:lnTo>
                      <a:pt x="207" y="240"/>
                    </a:lnTo>
                    <a:lnTo>
                      <a:pt x="172" y="288"/>
                    </a:lnTo>
                    <a:lnTo>
                      <a:pt x="138" y="384"/>
                    </a:lnTo>
                    <a:lnTo>
                      <a:pt x="155" y="447"/>
                    </a:lnTo>
                    <a:lnTo>
                      <a:pt x="138" y="495"/>
                    </a:lnTo>
                    <a:lnTo>
                      <a:pt x="138" y="528"/>
                    </a:lnTo>
                    <a:lnTo>
                      <a:pt x="121" y="543"/>
                    </a:lnTo>
                    <a:lnTo>
                      <a:pt x="121" y="607"/>
                    </a:lnTo>
                    <a:lnTo>
                      <a:pt x="103" y="639"/>
                    </a:lnTo>
                    <a:lnTo>
                      <a:pt x="103" y="703"/>
                    </a:lnTo>
                    <a:lnTo>
                      <a:pt x="103" y="735"/>
                    </a:lnTo>
                    <a:lnTo>
                      <a:pt x="103" y="799"/>
                    </a:lnTo>
                    <a:lnTo>
                      <a:pt x="121" y="799"/>
                    </a:lnTo>
                    <a:lnTo>
                      <a:pt x="121" y="816"/>
                    </a:lnTo>
                    <a:lnTo>
                      <a:pt x="103" y="816"/>
                    </a:lnTo>
                    <a:lnTo>
                      <a:pt x="121" y="816"/>
                    </a:lnTo>
                    <a:lnTo>
                      <a:pt x="103" y="879"/>
                    </a:lnTo>
                    <a:lnTo>
                      <a:pt x="86" y="912"/>
                    </a:lnTo>
                    <a:lnTo>
                      <a:pt x="86" y="942"/>
                    </a:lnTo>
                    <a:lnTo>
                      <a:pt x="69" y="990"/>
                    </a:lnTo>
                    <a:lnTo>
                      <a:pt x="69" y="1023"/>
                    </a:lnTo>
                    <a:lnTo>
                      <a:pt x="69" y="1038"/>
                    </a:lnTo>
                    <a:lnTo>
                      <a:pt x="86" y="1023"/>
                    </a:lnTo>
                    <a:lnTo>
                      <a:pt x="86" y="1071"/>
                    </a:lnTo>
                    <a:lnTo>
                      <a:pt x="103" y="1086"/>
                    </a:lnTo>
                    <a:lnTo>
                      <a:pt x="155" y="1086"/>
                    </a:lnTo>
                    <a:lnTo>
                      <a:pt x="190" y="1086"/>
                    </a:lnTo>
                    <a:lnTo>
                      <a:pt x="190" y="1104"/>
                    </a:lnTo>
                    <a:lnTo>
                      <a:pt x="172" y="1086"/>
                    </a:lnTo>
                    <a:lnTo>
                      <a:pt x="172" y="1104"/>
                    </a:lnTo>
                    <a:lnTo>
                      <a:pt x="138" y="1119"/>
                    </a:lnTo>
                    <a:lnTo>
                      <a:pt x="138" y="1152"/>
                    </a:lnTo>
                    <a:lnTo>
                      <a:pt x="121" y="1167"/>
                    </a:lnTo>
                    <a:lnTo>
                      <a:pt x="103" y="1134"/>
                    </a:lnTo>
                    <a:lnTo>
                      <a:pt x="121" y="1134"/>
                    </a:lnTo>
                    <a:lnTo>
                      <a:pt x="121" y="1119"/>
                    </a:lnTo>
                    <a:lnTo>
                      <a:pt x="86" y="1134"/>
                    </a:lnTo>
                    <a:lnTo>
                      <a:pt x="69" y="1119"/>
                    </a:lnTo>
                    <a:lnTo>
                      <a:pt x="69" y="1104"/>
                    </a:lnTo>
                    <a:lnTo>
                      <a:pt x="52" y="1104"/>
                    </a:lnTo>
                    <a:lnTo>
                      <a:pt x="34" y="1086"/>
                    </a:lnTo>
                    <a:lnTo>
                      <a:pt x="34" y="1104"/>
                    </a:lnTo>
                    <a:lnTo>
                      <a:pt x="17" y="1086"/>
                    </a:lnTo>
                    <a:lnTo>
                      <a:pt x="17" y="1071"/>
                    </a:lnTo>
                    <a:lnTo>
                      <a:pt x="34" y="1071"/>
                    </a:lnTo>
                    <a:lnTo>
                      <a:pt x="34" y="1056"/>
                    </a:lnTo>
                    <a:lnTo>
                      <a:pt x="34" y="1038"/>
                    </a:lnTo>
                    <a:lnTo>
                      <a:pt x="34" y="1056"/>
                    </a:lnTo>
                    <a:lnTo>
                      <a:pt x="17" y="1071"/>
                    </a:lnTo>
                    <a:lnTo>
                      <a:pt x="17" y="1023"/>
                    </a:lnTo>
                    <a:lnTo>
                      <a:pt x="34" y="1038"/>
                    </a:lnTo>
                    <a:lnTo>
                      <a:pt x="34" y="1008"/>
                    </a:lnTo>
                    <a:lnTo>
                      <a:pt x="17" y="1038"/>
                    </a:lnTo>
                    <a:lnTo>
                      <a:pt x="17" y="1008"/>
                    </a:lnTo>
                    <a:lnTo>
                      <a:pt x="0" y="990"/>
                    </a:lnTo>
                    <a:lnTo>
                      <a:pt x="0" y="975"/>
                    </a:lnTo>
                    <a:lnTo>
                      <a:pt x="17" y="927"/>
                    </a:lnTo>
                    <a:lnTo>
                      <a:pt x="17" y="912"/>
                    </a:lnTo>
                    <a:lnTo>
                      <a:pt x="34" y="942"/>
                    </a:lnTo>
                    <a:lnTo>
                      <a:pt x="52" y="879"/>
                    </a:lnTo>
                    <a:lnTo>
                      <a:pt x="17" y="879"/>
                    </a:lnTo>
                    <a:lnTo>
                      <a:pt x="0" y="879"/>
                    </a:lnTo>
                    <a:lnTo>
                      <a:pt x="34" y="864"/>
                    </a:lnTo>
                    <a:lnTo>
                      <a:pt x="17" y="846"/>
                    </a:lnTo>
                    <a:lnTo>
                      <a:pt x="34" y="846"/>
                    </a:lnTo>
                    <a:lnTo>
                      <a:pt x="34" y="799"/>
                    </a:lnTo>
                    <a:lnTo>
                      <a:pt x="52" y="783"/>
                    </a:lnTo>
                    <a:lnTo>
                      <a:pt x="69" y="783"/>
                    </a:lnTo>
                    <a:lnTo>
                      <a:pt x="52" y="816"/>
                    </a:lnTo>
                    <a:lnTo>
                      <a:pt x="52" y="831"/>
                    </a:lnTo>
                    <a:lnTo>
                      <a:pt x="86" y="720"/>
                    </a:lnTo>
                    <a:lnTo>
                      <a:pt x="86" y="703"/>
                    </a:lnTo>
                    <a:lnTo>
                      <a:pt x="69" y="703"/>
                    </a:lnTo>
                    <a:lnTo>
                      <a:pt x="52" y="687"/>
                    </a:lnTo>
                    <a:lnTo>
                      <a:pt x="52" y="639"/>
                    </a:lnTo>
                    <a:lnTo>
                      <a:pt x="69" y="624"/>
                    </a:lnTo>
                    <a:lnTo>
                      <a:pt x="52" y="576"/>
                    </a:lnTo>
                    <a:lnTo>
                      <a:pt x="69" y="559"/>
                    </a:lnTo>
                    <a:lnTo>
                      <a:pt x="121" y="415"/>
                    </a:lnTo>
                    <a:lnTo>
                      <a:pt x="103" y="367"/>
                    </a:lnTo>
                    <a:lnTo>
                      <a:pt x="121" y="336"/>
                    </a:lnTo>
                    <a:lnTo>
                      <a:pt x="121" y="303"/>
                    </a:lnTo>
                    <a:lnTo>
                      <a:pt x="138" y="240"/>
                    </a:lnTo>
                    <a:lnTo>
                      <a:pt x="138" y="144"/>
                    </a:lnTo>
                    <a:lnTo>
                      <a:pt x="155" y="96"/>
                    </a:lnTo>
                    <a:lnTo>
                      <a:pt x="138" y="16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32" name="Freeform 72">
                <a:extLst>
                  <a:ext uri="{FF2B5EF4-FFF2-40B4-BE49-F238E27FC236}">
                    <a16:creationId xmlns:a16="http://schemas.microsoft.com/office/drawing/2014/main" id="{F3C4C381-F357-4A8F-9648-5280AE35B7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80554" y="3733307"/>
                <a:ext cx="254394" cy="354521"/>
              </a:xfrm>
              <a:custGeom>
                <a:avLst/>
                <a:gdLst>
                  <a:gd name="T0" fmla="*/ 47472 w 311"/>
                  <a:gd name="T1" fmla="*/ 83746 h 414"/>
                  <a:gd name="T2" fmla="*/ 47472 w 311"/>
                  <a:gd name="T3" fmla="*/ 83746 h 414"/>
                  <a:gd name="T4" fmla="*/ 50637 w 311"/>
                  <a:gd name="T5" fmla="*/ 70187 h 414"/>
                  <a:gd name="T6" fmla="*/ 47472 w 311"/>
                  <a:gd name="T7" fmla="*/ 60616 h 414"/>
                  <a:gd name="T8" fmla="*/ 50637 w 311"/>
                  <a:gd name="T9" fmla="*/ 60616 h 414"/>
                  <a:gd name="T10" fmla="*/ 47472 w 311"/>
                  <a:gd name="T11" fmla="*/ 58224 h 414"/>
                  <a:gd name="T12" fmla="*/ 47472 w 311"/>
                  <a:gd name="T13" fmla="*/ 54236 h 414"/>
                  <a:gd name="T14" fmla="*/ 60922 w 311"/>
                  <a:gd name="T15" fmla="*/ 54236 h 414"/>
                  <a:gd name="T16" fmla="*/ 60922 w 311"/>
                  <a:gd name="T17" fmla="*/ 48653 h 414"/>
                  <a:gd name="T18" fmla="*/ 57758 w 311"/>
                  <a:gd name="T19" fmla="*/ 41474 h 414"/>
                  <a:gd name="T20" fmla="*/ 60922 w 311"/>
                  <a:gd name="T21" fmla="*/ 31903 h 414"/>
                  <a:gd name="T22" fmla="*/ 50637 w 311"/>
                  <a:gd name="T23" fmla="*/ 31903 h 414"/>
                  <a:gd name="T24" fmla="*/ 47472 w 311"/>
                  <a:gd name="T25" fmla="*/ 28713 h 414"/>
                  <a:gd name="T26" fmla="*/ 37186 w 311"/>
                  <a:gd name="T27" fmla="*/ 28713 h 414"/>
                  <a:gd name="T28" fmla="*/ 34022 w 311"/>
                  <a:gd name="T29" fmla="*/ 25523 h 414"/>
                  <a:gd name="T30" fmla="*/ 34022 w 311"/>
                  <a:gd name="T31" fmla="*/ 22332 h 414"/>
                  <a:gd name="T32" fmla="*/ 30857 w 311"/>
                  <a:gd name="T33" fmla="*/ 15952 h 414"/>
                  <a:gd name="T34" fmla="*/ 34022 w 311"/>
                  <a:gd name="T35" fmla="*/ 9571 h 414"/>
                  <a:gd name="T36" fmla="*/ 37186 w 311"/>
                  <a:gd name="T37" fmla="*/ 6381 h 414"/>
                  <a:gd name="T38" fmla="*/ 41142 w 311"/>
                  <a:gd name="T39" fmla="*/ 3190 h 414"/>
                  <a:gd name="T40" fmla="*/ 37186 w 311"/>
                  <a:gd name="T41" fmla="*/ 0 h 414"/>
                  <a:gd name="T42" fmla="*/ 30857 w 311"/>
                  <a:gd name="T43" fmla="*/ 6381 h 414"/>
                  <a:gd name="T44" fmla="*/ 20571 w 311"/>
                  <a:gd name="T45" fmla="*/ 9571 h 414"/>
                  <a:gd name="T46" fmla="*/ 16615 w 311"/>
                  <a:gd name="T47" fmla="*/ 15952 h 414"/>
                  <a:gd name="T48" fmla="*/ 10286 w 311"/>
                  <a:gd name="T49" fmla="*/ 19142 h 414"/>
                  <a:gd name="T50" fmla="*/ 10286 w 311"/>
                  <a:gd name="T51" fmla="*/ 25523 h 414"/>
                  <a:gd name="T52" fmla="*/ 6330 w 311"/>
                  <a:gd name="T53" fmla="*/ 19142 h 414"/>
                  <a:gd name="T54" fmla="*/ 10286 w 311"/>
                  <a:gd name="T55" fmla="*/ 22332 h 414"/>
                  <a:gd name="T56" fmla="*/ 6330 w 311"/>
                  <a:gd name="T57" fmla="*/ 25523 h 414"/>
                  <a:gd name="T58" fmla="*/ 6330 w 311"/>
                  <a:gd name="T59" fmla="*/ 28713 h 414"/>
                  <a:gd name="T60" fmla="*/ 6330 w 311"/>
                  <a:gd name="T61" fmla="*/ 31903 h 414"/>
                  <a:gd name="T62" fmla="*/ 6330 w 311"/>
                  <a:gd name="T63" fmla="*/ 44665 h 414"/>
                  <a:gd name="T64" fmla="*/ 10286 w 311"/>
                  <a:gd name="T65" fmla="*/ 44665 h 414"/>
                  <a:gd name="T66" fmla="*/ 6330 w 311"/>
                  <a:gd name="T67" fmla="*/ 51045 h 414"/>
                  <a:gd name="T68" fmla="*/ 3165 w 311"/>
                  <a:gd name="T69" fmla="*/ 51045 h 414"/>
                  <a:gd name="T70" fmla="*/ 3165 w 311"/>
                  <a:gd name="T71" fmla="*/ 54236 h 414"/>
                  <a:gd name="T72" fmla="*/ 0 w 311"/>
                  <a:gd name="T73" fmla="*/ 54236 h 414"/>
                  <a:gd name="T74" fmla="*/ 0 w 311"/>
                  <a:gd name="T75" fmla="*/ 58224 h 414"/>
                  <a:gd name="T76" fmla="*/ 10286 w 311"/>
                  <a:gd name="T77" fmla="*/ 63807 h 414"/>
                  <a:gd name="T78" fmla="*/ 16615 w 311"/>
                  <a:gd name="T79" fmla="*/ 60616 h 414"/>
                  <a:gd name="T80" fmla="*/ 20571 w 311"/>
                  <a:gd name="T81" fmla="*/ 63807 h 414"/>
                  <a:gd name="T82" fmla="*/ 26901 w 311"/>
                  <a:gd name="T83" fmla="*/ 70187 h 414"/>
                  <a:gd name="T84" fmla="*/ 30857 w 311"/>
                  <a:gd name="T85" fmla="*/ 76568 h 414"/>
                  <a:gd name="T86" fmla="*/ 44307 w 311"/>
                  <a:gd name="T87" fmla="*/ 73378 h 414"/>
                  <a:gd name="T88" fmla="*/ 47472 w 311"/>
                  <a:gd name="T89" fmla="*/ 76568 h 414"/>
                  <a:gd name="T90" fmla="*/ 47472 w 311"/>
                  <a:gd name="T91" fmla="*/ 79758 h 414"/>
                  <a:gd name="T92" fmla="*/ 44307 w 311"/>
                  <a:gd name="T93" fmla="*/ 79758 h 414"/>
                  <a:gd name="T94" fmla="*/ 47472 w 311"/>
                  <a:gd name="T95" fmla="*/ 83746 h 414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311"/>
                  <a:gd name="T145" fmla="*/ 0 h 414"/>
                  <a:gd name="T146" fmla="*/ 311 w 311"/>
                  <a:gd name="T147" fmla="*/ 414 h 414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311" h="414">
                    <a:moveTo>
                      <a:pt x="242" y="414"/>
                    </a:moveTo>
                    <a:lnTo>
                      <a:pt x="242" y="414"/>
                    </a:lnTo>
                    <a:lnTo>
                      <a:pt x="259" y="351"/>
                    </a:lnTo>
                    <a:lnTo>
                      <a:pt x="242" y="303"/>
                    </a:lnTo>
                    <a:lnTo>
                      <a:pt x="259" y="303"/>
                    </a:lnTo>
                    <a:lnTo>
                      <a:pt x="242" y="288"/>
                    </a:lnTo>
                    <a:lnTo>
                      <a:pt x="242" y="270"/>
                    </a:lnTo>
                    <a:lnTo>
                      <a:pt x="311" y="270"/>
                    </a:lnTo>
                    <a:lnTo>
                      <a:pt x="311" y="240"/>
                    </a:lnTo>
                    <a:lnTo>
                      <a:pt x="294" y="207"/>
                    </a:lnTo>
                    <a:lnTo>
                      <a:pt x="311" y="159"/>
                    </a:lnTo>
                    <a:lnTo>
                      <a:pt x="259" y="159"/>
                    </a:lnTo>
                    <a:lnTo>
                      <a:pt x="242" y="144"/>
                    </a:lnTo>
                    <a:lnTo>
                      <a:pt x="190" y="144"/>
                    </a:lnTo>
                    <a:lnTo>
                      <a:pt x="173" y="126"/>
                    </a:lnTo>
                    <a:lnTo>
                      <a:pt x="173" y="111"/>
                    </a:lnTo>
                    <a:lnTo>
                      <a:pt x="156" y="78"/>
                    </a:lnTo>
                    <a:lnTo>
                      <a:pt x="173" y="48"/>
                    </a:lnTo>
                    <a:lnTo>
                      <a:pt x="190" y="30"/>
                    </a:lnTo>
                    <a:lnTo>
                      <a:pt x="208" y="15"/>
                    </a:lnTo>
                    <a:lnTo>
                      <a:pt x="190" y="0"/>
                    </a:lnTo>
                    <a:lnTo>
                      <a:pt x="156" y="30"/>
                    </a:lnTo>
                    <a:lnTo>
                      <a:pt x="104" y="48"/>
                    </a:lnTo>
                    <a:lnTo>
                      <a:pt x="87" y="78"/>
                    </a:lnTo>
                    <a:lnTo>
                      <a:pt x="52" y="96"/>
                    </a:lnTo>
                    <a:lnTo>
                      <a:pt x="52" y="126"/>
                    </a:lnTo>
                    <a:lnTo>
                      <a:pt x="35" y="96"/>
                    </a:lnTo>
                    <a:lnTo>
                      <a:pt x="52" y="111"/>
                    </a:lnTo>
                    <a:lnTo>
                      <a:pt x="35" y="126"/>
                    </a:lnTo>
                    <a:lnTo>
                      <a:pt x="35" y="144"/>
                    </a:lnTo>
                    <a:lnTo>
                      <a:pt x="35" y="159"/>
                    </a:lnTo>
                    <a:lnTo>
                      <a:pt x="35" y="222"/>
                    </a:lnTo>
                    <a:lnTo>
                      <a:pt x="52" y="222"/>
                    </a:lnTo>
                    <a:lnTo>
                      <a:pt x="35" y="255"/>
                    </a:lnTo>
                    <a:lnTo>
                      <a:pt x="18" y="255"/>
                    </a:lnTo>
                    <a:lnTo>
                      <a:pt x="18" y="270"/>
                    </a:lnTo>
                    <a:lnTo>
                      <a:pt x="0" y="270"/>
                    </a:lnTo>
                    <a:lnTo>
                      <a:pt x="0" y="288"/>
                    </a:lnTo>
                    <a:lnTo>
                      <a:pt x="52" y="318"/>
                    </a:lnTo>
                    <a:lnTo>
                      <a:pt x="87" y="303"/>
                    </a:lnTo>
                    <a:lnTo>
                      <a:pt x="104" y="318"/>
                    </a:lnTo>
                    <a:lnTo>
                      <a:pt x="139" y="351"/>
                    </a:lnTo>
                    <a:lnTo>
                      <a:pt x="156" y="383"/>
                    </a:lnTo>
                    <a:lnTo>
                      <a:pt x="225" y="366"/>
                    </a:lnTo>
                    <a:lnTo>
                      <a:pt x="242" y="383"/>
                    </a:lnTo>
                    <a:lnTo>
                      <a:pt x="242" y="399"/>
                    </a:lnTo>
                    <a:lnTo>
                      <a:pt x="225" y="399"/>
                    </a:lnTo>
                    <a:lnTo>
                      <a:pt x="242" y="41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33" name="Freeform 73">
                <a:extLst>
                  <a:ext uri="{FF2B5EF4-FFF2-40B4-BE49-F238E27FC236}">
                    <a16:creationId xmlns:a16="http://schemas.microsoft.com/office/drawing/2014/main" id="{3E4B4DAF-EA31-4A5D-A858-A0AEE8BEC2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37881" y="3978744"/>
                <a:ext cx="126376" cy="136353"/>
              </a:xfrm>
              <a:custGeom>
                <a:avLst/>
                <a:gdLst>
                  <a:gd name="T0" fmla="*/ 29776 w 156"/>
                  <a:gd name="T1" fmla="*/ 6390 h 159"/>
                  <a:gd name="T2" fmla="*/ 29776 w 156"/>
                  <a:gd name="T3" fmla="*/ 6390 h 159"/>
                  <a:gd name="T4" fmla="*/ 26642 w 156"/>
                  <a:gd name="T5" fmla="*/ 3195 h 159"/>
                  <a:gd name="T6" fmla="*/ 19589 w 156"/>
                  <a:gd name="T7" fmla="*/ 6390 h 159"/>
                  <a:gd name="T8" fmla="*/ 10186 w 156"/>
                  <a:gd name="T9" fmla="*/ 0 h 159"/>
                  <a:gd name="T10" fmla="*/ 3134 w 156"/>
                  <a:gd name="T11" fmla="*/ 3195 h 159"/>
                  <a:gd name="T12" fmla="*/ 3134 w 156"/>
                  <a:gd name="T13" fmla="*/ 6390 h 159"/>
                  <a:gd name="T14" fmla="*/ 0 w 156"/>
                  <a:gd name="T15" fmla="*/ 9585 h 159"/>
                  <a:gd name="T16" fmla="*/ 0 w 156"/>
                  <a:gd name="T17" fmla="*/ 15975 h 159"/>
                  <a:gd name="T18" fmla="*/ 3134 w 156"/>
                  <a:gd name="T19" fmla="*/ 22365 h 159"/>
                  <a:gd name="T20" fmla="*/ 3134 w 156"/>
                  <a:gd name="T21" fmla="*/ 19170 h 159"/>
                  <a:gd name="T22" fmla="*/ 6269 w 156"/>
                  <a:gd name="T23" fmla="*/ 19170 h 159"/>
                  <a:gd name="T24" fmla="*/ 3134 w 156"/>
                  <a:gd name="T25" fmla="*/ 22365 h 159"/>
                  <a:gd name="T26" fmla="*/ 0 w 156"/>
                  <a:gd name="T27" fmla="*/ 28755 h 159"/>
                  <a:gd name="T28" fmla="*/ 6269 w 156"/>
                  <a:gd name="T29" fmla="*/ 31950 h 159"/>
                  <a:gd name="T30" fmla="*/ 16455 w 156"/>
                  <a:gd name="T31" fmla="*/ 22365 h 159"/>
                  <a:gd name="T32" fmla="*/ 23507 w 156"/>
                  <a:gd name="T33" fmla="*/ 19170 h 159"/>
                  <a:gd name="T34" fmla="*/ 26642 w 156"/>
                  <a:gd name="T35" fmla="*/ 15975 h 159"/>
                  <a:gd name="T36" fmla="*/ 29776 w 156"/>
                  <a:gd name="T37" fmla="*/ 9585 h 159"/>
                  <a:gd name="T38" fmla="*/ 26642 w 156"/>
                  <a:gd name="T39" fmla="*/ 6390 h 159"/>
                  <a:gd name="T40" fmla="*/ 29776 w 156"/>
                  <a:gd name="T41" fmla="*/ 6390 h 15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56"/>
                  <a:gd name="T64" fmla="*/ 0 h 159"/>
                  <a:gd name="T65" fmla="*/ 156 w 156"/>
                  <a:gd name="T66" fmla="*/ 159 h 15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56" h="159">
                    <a:moveTo>
                      <a:pt x="156" y="30"/>
                    </a:moveTo>
                    <a:lnTo>
                      <a:pt x="156" y="30"/>
                    </a:lnTo>
                    <a:lnTo>
                      <a:pt x="139" y="15"/>
                    </a:lnTo>
                    <a:lnTo>
                      <a:pt x="104" y="30"/>
                    </a:lnTo>
                    <a:lnTo>
                      <a:pt x="52" y="0"/>
                    </a:lnTo>
                    <a:lnTo>
                      <a:pt x="18" y="15"/>
                    </a:lnTo>
                    <a:lnTo>
                      <a:pt x="18" y="30"/>
                    </a:lnTo>
                    <a:lnTo>
                      <a:pt x="0" y="48"/>
                    </a:lnTo>
                    <a:lnTo>
                      <a:pt x="0" y="78"/>
                    </a:lnTo>
                    <a:lnTo>
                      <a:pt x="18" y="111"/>
                    </a:lnTo>
                    <a:lnTo>
                      <a:pt x="18" y="95"/>
                    </a:lnTo>
                    <a:lnTo>
                      <a:pt x="35" y="95"/>
                    </a:lnTo>
                    <a:lnTo>
                      <a:pt x="18" y="111"/>
                    </a:lnTo>
                    <a:lnTo>
                      <a:pt x="0" y="143"/>
                    </a:lnTo>
                    <a:lnTo>
                      <a:pt x="35" y="159"/>
                    </a:lnTo>
                    <a:lnTo>
                      <a:pt x="87" y="111"/>
                    </a:lnTo>
                    <a:lnTo>
                      <a:pt x="121" y="95"/>
                    </a:lnTo>
                    <a:lnTo>
                      <a:pt x="139" y="78"/>
                    </a:lnTo>
                    <a:lnTo>
                      <a:pt x="156" y="48"/>
                    </a:lnTo>
                    <a:lnTo>
                      <a:pt x="139" y="30"/>
                    </a:lnTo>
                    <a:lnTo>
                      <a:pt x="156" y="3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34" name="Freeform 74">
                <a:extLst>
                  <a:ext uri="{FF2B5EF4-FFF2-40B4-BE49-F238E27FC236}">
                    <a16:creationId xmlns:a16="http://schemas.microsoft.com/office/drawing/2014/main" id="{21AB8A8D-FCD3-4C05-AB9D-5FC9846669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1469" y="4006013"/>
                <a:ext cx="287217" cy="395426"/>
              </a:xfrm>
              <a:custGeom>
                <a:avLst/>
                <a:gdLst>
                  <a:gd name="T0" fmla="*/ 65881 w 350"/>
                  <a:gd name="T1" fmla="*/ 53859 h 465"/>
                  <a:gd name="T2" fmla="*/ 65881 w 350"/>
                  <a:gd name="T3" fmla="*/ 53859 h 465"/>
                  <a:gd name="T4" fmla="*/ 58738 w 350"/>
                  <a:gd name="T5" fmla="*/ 53859 h 465"/>
                  <a:gd name="T6" fmla="*/ 58738 w 350"/>
                  <a:gd name="T7" fmla="*/ 47523 h 465"/>
                  <a:gd name="T8" fmla="*/ 52388 w 350"/>
                  <a:gd name="T9" fmla="*/ 50691 h 465"/>
                  <a:gd name="T10" fmla="*/ 44450 w 350"/>
                  <a:gd name="T11" fmla="*/ 47523 h 465"/>
                  <a:gd name="T12" fmla="*/ 41275 w 350"/>
                  <a:gd name="T13" fmla="*/ 38018 h 465"/>
                  <a:gd name="T14" fmla="*/ 48419 w 350"/>
                  <a:gd name="T15" fmla="*/ 25345 h 465"/>
                  <a:gd name="T16" fmla="*/ 62706 w 350"/>
                  <a:gd name="T17" fmla="*/ 19009 h 465"/>
                  <a:gd name="T18" fmla="*/ 58738 w 350"/>
                  <a:gd name="T19" fmla="*/ 15841 h 465"/>
                  <a:gd name="T20" fmla="*/ 62706 w 350"/>
                  <a:gd name="T21" fmla="*/ 15841 h 465"/>
                  <a:gd name="T22" fmla="*/ 62706 w 350"/>
                  <a:gd name="T23" fmla="*/ 12673 h 465"/>
                  <a:gd name="T24" fmla="*/ 58738 w 350"/>
                  <a:gd name="T25" fmla="*/ 9505 h 465"/>
                  <a:gd name="T26" fmla="*/ 44450 w 350"/>
                  <a:gd name="T27" fmla="*/ 12673 h 465"/>
                  <a:gd name="T28" fmla="*/ 41275 w 350"/>
                  <a:gd name="T29" fmla="*/ 6336 h 465"/>
                  <a:gd name="T30" fmla="*/ 34925 w 350"/>
                  <a:gd name="T31" fmla="*/ 0 h 465"/>
                  <a:gd name="T32" fmla="*/ 31750 w 350"/>
                  <a:gd name="T33" fmla="*/ 0 h 465"/>
                  <a:gd name="T34" fmla="*/ 34925 w 350"/>
                  <a:gd name="T35" fmla="*/ 3168 h 465"/>
                  <a:gd name="T36" fmla="*/ 31750 w 350"/>
                  <a:gd name="T37" fmla="*/ 9505 h 465"/>
                  <a:gd name="T38" fmla="*/ 27781 w 350"/>
                  <a:gd name="T39" fmla="*/ 12673 h 465"/>
                  <a:gd name="T40" fmla="*/ 20638 w 350"/>
                  <a:gd name="T41" fmla="*/ 15841 h 465"/>
                  <a:gd name="T42" fmla="*/ 10319 w 350"/>
                  <a:gd name="T43" fmla="*/ 25345 h 465"/>
                  <a:gd name="T44" fmla="*/ 3969 w 350"/>
                  <a:gd name="T45" fmla="*/ 22177 h 465"/>
                  <a:gd name="T46" fmla="*/ 7938 w 350"/>
                  <a:gd name="T47" fmla="*/ 15841 h 465"/>
                  <a:gd name="T48" fmla="*/ 0 w 350"/>
                  <a:gd name="T49" fmla="*/ 22177 h 465"/>
                  <a:gd name="T50" fmla="*/ 3969 w 350"/>
                  <a:gd name="T51" fmla="*/ 28514 h 465"/>
                  <a:gd name="T52" fmla="*/ 0 w 350"/>
                  <a:gd name="T53" fmla="*/ 28514 h 465"/>
                  <a:gd name="T54" fmla="*/ 7938 w 350"/>
                  <a:gd name="T55" fmla="*/ 34850 h 465"/>
                  <a:gd name="T56" fmla="*/ 14288 w 350"/>
                  <a:gd name="T57" fmla="*/ 41186 h 465"/>
                  <a:gd name="T58" fmla="*/ 31750 w 350"/>
                  <a:gd name="T59" fmla="*/ 72868 h 465"/>
                  <a:gd name="T60" fmla="*/ 58738 w 350"/>
                  <a:gd name="T61" fmla="*/ 91877 h 465"/>
                  <a:gd name="T62" fmla="*/ 65881 w 350"/>
                  <a:gd name="T63" fmla="*/ 88709 h 465"/>
                  <a:gd name="T64" fmla="*/ 69850 w 350"/>
                  <a:gd name="T65" fmla="*/ 82372 h 465"/>
                  <a:gd name="T66" fmla="*/ 65881 w 350"/>
                  <a:gd name="T67" fmla="*/ 79204 h 465"/>
                  <a:gd name="T68" fmla="*/ 69850 w 350"/>
                  <a:gd name="T69" fmla="*/ 60195 h 465"/>
                  <a:gd name="T70" fmla="*/ 65881 w 350"/>
                  <a:gd name="T71" fmla="*/ 53859 h 46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350"/>
                  <a:gd name="T109" fmla="*/ 0 h 465"/>
                  <a:gd name="T110" fmla="*/ 350 w 350"/>
                  <a:gd name="T111" fmla="*/ 465 h 465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350" h="465">
                    <a:moveTo>
                      <a:pt x="332" y="273"/>
                    </a:moveTo>
                    <a:lnTo>
                      <a:pt x="332" y="273"/>
                    </a:lnTo>
                    <a:lnTo>
                      <a:pt x="296" y="273"/>
                    </a:lnTo>
                    <a:lnTo>
                      <a:pt x="296" y="240"/>
                    </a:lnTo>
                    <a:lnTo>
                      <a:pt x="261" y="257"/>
                    </a:lnTo>
                    <a:lnTo>
                      <a:pt x="227" y="240"/>
                    </a:lnTo>
                    <a:lnTo>
                      <a:pt x="210" y="192"/>
                    </a:lnTo>
                    <a:lnTo>
                      <a:pt x="244" y="129"/>
                    </a:lnTo>
                    <a:lnTo>
                      <a:pt x="313" y="96"/>
                    </a:lnTo>
                    <a:lnTo>
                      <a:pt x="296" y="81"/>
                    </a:lnTo>
                    <a:lnTo>
                      <a:pt x="313" y="81"/>
                    </a:lnTo>
                    <a:lnTo>
                      <a:pt x="313" y="65"/>
                    </a:lnTo>
                    <a:lnTo>
                      <a:pt x="296" y="48"/>
                    </a:lnTo>
                    <a:lnTo>
                      <a:pt x="227" y="65"/>
                    </a:lnTo>
                    <a:lnTo>
                      <a:pt x="210" y="33"/>
                    </a:lnTo>
                    <a:lnTo>
                      <a:pt x="175" y="0"/>
                    </a:lnTo>
                    <a:lnTo>
                      <a:pt x="158" y="0"/>
                    </a:lnTo>
                    <a:lnTo>
                      <a:pt x="175" y="18"/>
                    </a:lnTo>
                    <a:lnTo>
                      <a:pt x="158" y="48"/>
                    </a:lnTo>
                    <a:lnTo>
                      <a:pt x="140" y="65"/>
                    </a:lnTo>
                    <a:lnTo>
                      <a:pt x="106" y="81"/>
                    </a:lnTo>
                    <a:lnTo>
                      <a:pt x="54" y="129"/>
                    </a:lnTo>
                    <a:lnTo>
                      <a:pt x="19" y="113"/>
                    </a:lnTo>
                    <a:lnTo>
                      <a:pt x="37" y="81"/>
                    </a:lnTo>
                    <a:lnTo>
                      <a:pt x="0" y="113"/>
                    </a:lnTo>
                    <a:lnTo>
                      <a:pt x="19" y="144"/>
                    </a:lnTo>
                    <a:lnTo>
                      <a:pt x="0" y="144"/>
                    </a:lnTo>
                    <a:lnTo>
                      <a:pt x="37" y="177"/>
                    </a:lnTo>
                    <a:lnTo>
                      <a:pt x="71" y="209"/>
                    </a:lnTo>
                    <a:lnTo>
                      <a:pt x="158" y="369"/>
                    </a:lnTo>
                    <a:lnTo>
                      <a:pt x="296" y="465"/>
                    </a:lnTo>
                    <a:lnTo>
                      <a:pt x="332" y="449"/>
                    </a:lnTo>
                    <a:lnTo>
                      <a:pt x="350" y="417"/>
                    </a:lnTo>
                    <a:lnTo>
                      <a:pt x="332" y="401"/>
                    </a:lnTo>
                    <a:lnTo>
                      <a:pt x="350" y="305"/>
                    </a:lnTo>
                    <a:lnTo>
                      <a:pt x="332" y="27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35" name="Freeform 75">
                <a:extLst>
                  <a:ext uri="{FF2B5EF4-FFF2-40B4-BE49-F238E27FC236}">
                    <a16:creationId xmlns:a16="http://schemas.microsoft.com/office/drawing/2014/main" id="{295101F8-4FB8-4328-95F8-0EED5C1521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2274" y="4210545"/>
                <a:ext cx="257676" cy="299978"/>
              </a:xfrm>
              <a:custGeom>
                <a:avLst/>
                <a:gdLst>
                  <a:gd name="T0" fmla="*/ 62907 w 313"/>
                  <a:gd name="T1" fmla="*/ 53822 h 353"/>
                  <a:gd name="T2" fmla="*/ 62907 w 313"/>
                  <a:gd name="T3" fmla="*/ 53822 h 353"/>
                  <a:gd name="T4" fmla="*/ 62907 w 313"/>
                  <a:gd name="T5" fmla="*/ 44324 h 353"/>
                  <a:gd name="T6" fmla="*/ 58925 w 313"/>
                  <a:gd name="T7" fmla="*/ 37992 h 353"/>
                  <a:gd name="T8" fmla="*/ 58925 w 313"/>
                  <a:gd name="T9" fmla="*/ 34826 h 353"/>
                  <a:gd name="T10" fmla="*/ 52555 w 313"/>
                  <a:gd name="T11" fmla="*/ 34826 h 353"/>
                  <a:gd name="T12" fmla="*/ 48574 w 313"/>
                  <a:gd name="T13" fmla="*/ 28494 h 353"/>
                  <a:gd name="T14" fmla="*/ 48574 w 313"/>
                  <a:gd name="T15" fmla="*/ 25328 h 353"/>
                  <a:gd name="T16" fmla="*/ 45388 w 313"/>
                  <a:gd name="T17" fmla="*/ 18996 h 353"/>
                  <a:gd name="T18" fmla="*/ 24685 w 313"/>
                  <a:gd name="T19" fmla="*/ 12664 h 353"/>
                  <a:gd name="T20" fmla="*/ 20703 w 313"/>
                  <a:gd name="T21" fmla="*/ 9498 h 353"/>
                  <a:gd name="T22" fmla="*/ 20703 w 313"/>
                  <a:gd name="T23" fmla="*/ 0 h 353"/>
                  <a:gd name="T24" fmla="*/ 14333 w 313"/>
                  <a:gd name="T25" fmla="*/ 0 h 353"/>
                  <a:gd name="T26" fmla="*/ 7167 w 313"/>
                  <a:gd name="T27" fmla="*/ 6332 h 353"/>
                  <a:gd name="T28" fmla="*/ 0 w 313"/>
                  <a:gd name="T29" fmla="*/ 6332 h 353"/>
                  <a:gd name="T30" fmla="*/ 3981 w 313"/>
                  <a:gd name="T31" fmla="*/ 12664 h 353"/>
                  <a:gd name="T32" fmla="*/ 0 w 313"/>
                  <a:gd name="T33" fmla="*/ 31660 h 353"/>
                  <a:gd name="T34" fmla="*/ 3981 w 313"/>
                  <a:gd name="T35" fmla="*/ 34826 h 353"/>
                  <a:gd name="T36" fmla="*/ 0 w 313"/>
                  <a:gd name="T37" fmla="*/ 41158 h 353"/>
                  <a:gd name="T38" fmla="*/ 3981 w 313"/>
                  <a:gd name="T39" fmla="*/ 50656 h 353"/>
                  <a:gd name="T40" fmla="*/ 3981 w 313"/>
                  <a:gd name="T41" fmla="*/ 53822 h 353"/>
                  <a:gd name="T42" fmla="*/ 7167 w 313"/>
                  <a:gd name="T43" fmla="*/ 69652 h 353"/>
                  <a:gd name="T44" fmla="*/ 10352 w 313"/>
                  <a:gd name="T45" fmla="*/ 69652 h 353"/>
                  <a:gd name="T46" fmla="*/ 17518 w 313"/>
                  <a:gd name="T47" fmla="*/ 63320 h 353"/>
                  <a:gd name="T48" fmla="*/ 28666 w 313"/>
                  <a:gd name="T49" fmla="*/ 66486 h 353"/>
                  <a:gd name="T50" fmla="*/ 31852 w 313"/>
                  <a:gd name="T51" fmla="*/ 63320 h 353"/>
                  <a:gd name="T52" fmla="*/ 38222 w 313"/>
                  <a:gd name="T53" fmla="*/ 66486 h 353"/>
                  <a:gd name="T54" fmla="*/ 42203 w 313"/>
                  <a:gd name="T55" fmla="*/ 50656 h 353"/>
                  <a:gd name="T56" fmla="*/ 55740 w 313"/>
                  <a:gd name="T57" fmla="*/ 50656 h 353"/>
                  <a:gd name="T58" fmla="*/ 62907 w 313"/>
                  <a:gd name="T59" fmla="*/ 53822 h 353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313"/>
                  <a:gd name="T91" fmla="*/ 0 h 353"/>
                  <a:gd name="T92" fmla="*/ 313 w 313"/>
                  <a:gd name="T93" fmla="*/ 353 h 353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313" h="353">
                    <a:moveTo>
                      <a:pt x="313" y="273"/>
                    </a:moveTo>
                    <a:lnTo>
                      <a:pt x="313" y="273"/>
                    </a:lnTo>
                    <a:lnTo>
                      <a:pt x="313" y="225"/>
                    </a:lnTo>
                    <a:lnTo>
                      <a:pt x="296" y="192"/>
                    </a:lnTo>
                    <a:lnTo>
                      <a:pt x="296" y="177"/>
                    </a:lnTo>
                    <a:lnTo>
                      <a:pt x="262" y="177"/>
                    </a:lnTo>
                    <a:lnTo>
                      <a:pt x="244" y="144"/>
                    </a:lnTo>
                    <a:lnTo>
                      <a:pt x="244" y="129"/>
                    </a:lnTo>
                    <a:lnTo>
                      <a:pt x="227" y="96"/>
                    </a:lnTo>
                    <a:lnTo>
                      <a:pt x="121" y="65"/>
                    </a:lnTo>
                    <a:lnTo>
                      <a:pt x="104" y="48"/>
                    </a:lnTo>
                    <a:lnTo>
                      <a:pt x="104" y="0"/>
                    </a:lnTo>
                    <a:lnTo>
                      <a:pt x="70" y="0"/>
                    </a:lnTo>
                    <a:lnTo>
                      <a:pt x="35" y="33"/>
                    </a:lnTo>
                    <a:lnTo>
                      <a:pt x="0" y="33"/>
                    </a:lnTo>
                    <a:lnTo>
                      <a:pt x="18" y="65"/>
                    </a:lnTo>
                    <a:lnTo>
                      <a:pt x="0" y="161"/>
                    </a:lnTo>
                    <a:lnTo>
                      <a:pt x="18" y="177"/>
                    </a:lnTo>
                    <a:lnTo>
                      <a:pt x="0" y="209"/>
                    </a:lnTo>
                    <a:lnTo>
                      <a:pt x="18" y="257"/>
                    </a:lnTo>
                    <a:lnTo>
                      <a:pt x="18" y="273"/>
                    </a:lnTo>
                    <a:lnTo>
                      <a:pt x="35" y="353"/>
                    </a:lnTo>
                    <a:lnTo>
                      <a:pt x="52" y="353"/>
                    </a:lnTo>
                    <a:lnTo>
                      <a:pt x="87" y="321"/>
                    </a:lnTo>
                    <a:lnTo>
                      <a:pt x="141" y="336"/>
                    </a:lnTo>
                    <a:lnTo>
                      <a:pt x="158" y="321"/>
                    </a:lnTo>
                    <a:lnTo>
                      <a:pt x="192" y="336"/>
                    </a:lnTo>
                    <a:lnTo>
                      <a:pt x="210" y="257"/>
                    </a:lnTo>
                    <a:lnTo>
                      <a:pt x="279" y="257"/>
                    </a:lnTo>
                    <a:lnTo>
                      <a:pt x="313" y="27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36" name="Freeform 76">
                <a:extLst>
                  <a:ext uri="{FF2B5EF4-FFF2-40B4-BE49-F238E27FC236}">
                    <a16:creationId xmlns:a16="http://schemas.microsoft.com/office/drawing/2014/main" id="{6B26D215-C1DB-40F2-B81F-DDEE785B4B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8192" y="4428711"/>
                <a:ext cx="187102" cy="189192"/>
              </a:xfrm>
              <a:custGeom>
                <a:avLst/>
                <a:gdLst>
                  <a:gd name="T0" fmla="*/ 42441 w 226"/>
                  <a:gd name="T1" fmla="*/ 31608 h 223"/>
                  <a:gd name="T2" fmla="*/ 42441 w 226"/>
                  <a:gd name="T3" fmla="*/ 31608 h 223"/>
                  <a:gd name="T4" fmla="*/ 46445 w 226"/>
                  <a:gd name="T5" fmla="*/ 24496 h 223"/>
                  <a:gd name="T6" fmla="*/ 38437 w 226"/>
                  <a:gd name="T7" fmla="*/ 22125 h 223"/>
                  <a:gd name="T8" fmla="*/ 38437 w 226"/>
                  <a:gd name="T9" fmla="*/ 15014 h 223"/>
                  <a:gd name="T10" fmla="*/ 35234 w 226"/>
                  <a:gd name="T11" fmla="*/ 15014 h 223"/>
                  <a:gd name="T12" fmla="*/ 24824 w 226"/>
                  <a:gd name="T13" fmla="*/ 12643 h 223"/>
                  <a:gd name="T14" fmla="*/ 24824 w 226"/>
                  <a:gd name="T15" fmla="*/ 3161 h 223"/>
                  <a:gd name="T16" fmla="*/ 17617 w 226"/>
                  <a:gd name="T17" fmla="*/ 0 h 223"/>
                  <a:gd name="T18" fmla="*/ 4004 w 226"/>
                  <a:gd name="T19" fmla="*/ 0 h 223"/>
                  <a:gd name="T20" fmla="*/ 0 w 226"/>
                  <a:gd name="T21" fmla="*/ 15014 h 223"/>
                  <a:gd name="T22" fmla="*/ 7207 w 226"/>
                  <a:gd name="T23" fmla="*/ 24496 h 223"/>
                  <a:gd name="T24" fmla="*/ 17617 w 226"/>
                  <a:gd name="T25" fmla="*/ 24496 h 223"/>
                  <a:gd name="T26" fmla="*/ 24824 w 226"/>
                  <a:gd name="T27" fmla="*/ 31608 h 223"/>
                  <a:gd name="T28" fmla="*/ 24824 w 226"/>
                  <a:gd name="T29" fmla="*/ 33978 h 223"/>
                  <a:gd name="T30" fmla="*/ 21621 w 226"/>
                  <a:gd name="T31" fmla="*/ 40300 h 223"/>
                  <a:gd name="T32" fmla="*/ 32031 w 226"/>
                  <a:gd name="T33" fmla="*/ 43461 h 223"/>
                  <a:gd name="T34" fmla="*/ 35234 w 226"/>
                  <a:gd name="T35" fmla="*/ 40300 h 223"/>
                  <a:gd name="T36" fmla="*/ 42441 w 226"/>
                  <a:gd name="T37" fmla="*/ 37929 h 223"/>
                  <a:gd name="T38" fmla="*/ 42441 w 226"/>
                  <a:gd name="T39" fmla="*/ 31608 h 22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26"/>
                  <a:gd name="T61" fmla="*/ 0 h 223"/>
                  <a:gd name="T62" fmla="*/ 226 w 226"/>
                  <a:gd name="T63" fmla="*/ 223 h 223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26" h="223">
                    <a:moveTo>
                      <a:pt x="209" y="160"/>
                    </a:moveTo>
                    <a:lnTo>
                      <a:pt x="209" y="160"/>
                    </a:lnTo>
                    <a:lnTo>
                      <a:pt x="226" y="127"/>
                    </a:lnTo>
                    <a:lnTo>
                      <a:pt x="191" y="112"/>
                    </a:lnTo>
                    <a:lnTo>
                      <a:pt x="191" y="79"/>
                    </a:lnTo>
                    <a:lnTo>
                      <a:pt x="174" y="79"/>
                    </a:lnTo>
                    <a:lnTo>
                      <a:pt x="122" y="64"/>
                    </a:lnTo>
                    <a:lnTo>
                      <a:pt x="122" y="16"/>
                    </a:lnTo>
                    <a:lnTo>
                      <a:pt x="88" y="0"/>
                    </a:lnTo>
                    <a:lnTo>
                      <a:pt x="17" y="0"/>
                    </a:lnTo>
                    <a:lnTo>
                      <a:pt x="0" y="79"/>
                    </a:lnTo>
                    <a:lnTo>
                      <a:pt x="34" y="127"/>
                    </a:lnTo>
                    <a:lnTo>
                      <a:pt x="88" y="127"/>
                    </a:lnTo>
                    <a:lnTo>
                      <a:pt x="122" y="160"/>
                    </a:lnTo>
                    <a:lnTo>
                      <a:pt x="122" y="175"/>
                    </a:lnTo>
                    <a:lnTo>
                      <a:pt x="105" y="207"/>
                    </a:lnTo>
                    <a:lnTo>
                      <a:pt x="157" y="223"/>
                    </a:lnTo>
                    <a:lnTo>
                      <a:pt x="174" y="207"/>
                    </a:lnTo>
                    <a:lnTo>
                      <a:pt x="209" y="192"/>
                    </a:lnTo>
                    <a:lnTo>
                      <a:pt x="209" y="160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37" name="Freeform 77">
                <a:extLst>
                  <a:ext uri="{FF2B5EF4-FFF2-40B4-BE49-F238E27FC236}">
                    <a16:creationId xmlns:a16="http://schemas.microsoft.com/office/drawing/2014/main" id="{2E0214F2-5AB9-471E-A632-2CD1FED1E4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6930" y="4483253"/>
                <a:ext cx="441495" cy="845395"/>
              </a:xfrm>
              <a:custGeom>
                <a:avLst/>
                <a:gdLst>
                  <a:gd name="T0" fmla="*/ 79523 w 537"/>
                  <a:gd name="T1" fmla="*/ 69850 h 992"/>
                  <a:gd name="T2" fmla="*/ 100199 w 537"/>
                  <a:gd name="T3" fmla="*/ 31750 h 992"/>
                  <a:gd name="T4" fmla="*/ 103380 w 537"/>
                  <a:gd name="T5" fmla="*/ 19050 h 992"/>
                  <a:gd name="T6" fmla="*/ 100199 w 537"/>
                  <a:gd name="T7" fmla="*/ 25400 h 992"/>
                  <a:gd name="T8" fmla="*/ 89861 w 537"/>
                  <a:gd name="T9" fmla="*/ 31750 h 992"/>
                  <a:gd name="T10" fmla="*/ 82704 w 537"/>
                  <a:gd name="T11" fmla="*/ 22225 h 992"/>
                  <a:gd name="T12" fmla="*/ 76342 w 537"/>
                  <a:gd name="T13" fmla="*/ 12700 h 992"/>
                  <a:gd name="T14" fmla="*/ 58847 w 537"/>
                  <a:gd name="T15" fmla="*/ 3175 h 992"/>
                  <a:gd name="T16" fmla="*/ 48509 w 537"/>
                  <a:gd name="T17" fmla="*/ 3175 h 992"/>
                  <a:gd name="T18" fmla="*/ 31014 w 537"/>
                  <a:gd name="T19" fmla="*/ 6350 h 992"/>
                  <a:gd name="T20" fmla="*/ 24652 w 537"/>
                  <a:gd name="T21" fmla="*/ 15875 h 992"/>
                  <a:gd name="T22" fmla="*/ 20676 w 537"/>
                  <a:gd name="T23" fmla="*/ 34925 h 992"/>
                  <a:gd name="T24" fmla="*/ 17495 w 537"/>
                  <a:gd name="T25" fmla="*/ 66675 h 992"/>
                  <a:gd name="T26" fmla="*/ 14314 w 537"/>
                  <a:gd name="T27" fmla="*/ 82550 h 992"/>
                  <a:gd name="T28" fmla="*/ 10338 w 537"/>
                  <a:gd name="T29" fmla="*/ 98425 h 992"/>
                  <a:gd name="T30" fmla="*/ 7157 w 537"/>
                  <a:gd name="T31" fmla="*/ 117475 h 992"/>
                  <a:gd name="T32" fmla="*/ 7157 w 537"/>
                  <a:gd name="T33" fmla="*/ 136525 h 992"/>
                  <a:gd name="T34" fmla="*/ 10338 w 537"/>
                  <a:gd name="T35" fmla="*/ 139700 h 992"/>
                  <a:gd name="T36" fmla="*/ 10338 w 537"/>
                  <a:gd name="T37" fmla="*/ 139700 h 992"/>
                  <a:gd name="T38" fmla="*/ 3976 w 537"/>
                  <a:gd name="T39" fmla="*/ 158750 h 992"/>
                  <a:gd name="T40" fmla="*/ 0 w 537"/>
                  <a:gd name="T41" fmla="*/ 174625 h 992"/>
                  <a:gd name="T42" fmla="*/ 0 w 537"/>
                  <a:gd name="T43" fmla="*/ 184150 h 992"/>
                  <a:gd name="T44" fmla="*/ 3976 w 537"/>
                  <a:gd name="T45" fmla="*/ 190500 h 992"/>
                  <a:gd name="T46" fmla="*/ 17495 w 537"/>
                  <a:gd name="T47" fmla="*/ 193675 h 992"/>
                  <a:gd name="T48" fmla="*/ 24652 w 537"/>
                  <a:gd name="T49" fmla="*/ 196850 h 992"/>
                  <a:gd name="T50" fmla="*/ 24652 w 537"/>
                  <a:gd name="T51" fmla="*/ 180975 h 992"/>
                  <a:gd name="T52" fmla="*/ 31014 w 537"/>
                  <a:gd name="T53" fmla="*/ 168275 h 992"/>
                  <a:gd name="T54" fmla="*/ 42147 w 537"/>
                  <a:gd name="T55" fmla="*/ 155575 h 992"/>
                  <a:gd name="T56" fmla="*/ 31014 w 537"/>
                  <a:gd name="T57" fmla="*/ 149225 h 992"/>
                  <a:gd name="T58" fmla="*/ 34990 w 537"/>
                  <a:gd name="T59" fmla="*/ 142875 h 992"/>
                  <a:gd name="T60" fmla="*/ 42147 w 537"/>
                  <a:gd name="T61" fmla="*/ 136525 h 992"/>
                  <a:gd name="T62" fmla="*/ 45328 w 537"/>
                  <a:gd name="T63" fmla="*/ 130175 h 992"/>
                  <a:gd name="T64" fmla="*/ 45328 w 537"/>
                  <a:gd name="T65" fmla="*/ 123825 h 992"/>
                  <a:gd name="T66" fmla="*/ 52485 w 537"/>
                  <a:gd name="T67" fmla="*/ 123825 h 992"/>
                  <a:gd name="T68" fmla="*/ 48509 w 537"/>
                  <a:gd name="T69" fmla="*/ 120650 h 992"/>
                  <a:gd name="T70" fmla="*/ 45328 w 537"/>
                  <a:gd name="T71" fmla="*/ 111125 h 992"/>
                  <a:gd name="T72" fmla="*/ 58847 w 537"/>
                  <a:gd name="T73" fmla="*/ 111125 h 992"/>
                  <a:gd name="T74" fmla="*/ 58847 w 537"/>
                  <a:gd name="T75" fmla="*/ 98425 h 992"/>
                  <a:gd name="T76" fmla="*/ 69185 w 537"/>
                  <a:gd name="T77" fmla="*/ 98425 h 992"/>
                  <a:gd name="T78" fmla="*/ 89861 w 537"/>
                  <a:gd name="T79" fmla="*/ 85725 h 992"/>
                  <a:gd name="T80" fmla="*/ 86680 w 537"/>
                  <a:gd name="T81" fmla="*/ 79375 h 992"/>
                  <a:gd name="T82" fmla="*/ 79523 w 537"/>
                  <a:gd name="T83" fmla="*/ 73025 h 992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537"/>
                  <a:gd name="T127" fmla="*/ 0 h 992"/>
                  <a:gd name="T128" fmla="*/ 537 w 537"/>
                  <a:gd name="T129" fmla="*/ 992 h 992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537" h="992">
                    <a:moveTo>
                      <a:pt x="399" y="351"/>
                    </a:moveTo>
                    <a:lnTo>
                      <a:pt x="399" y="351"/>
                    </a:lnTo>
                    <a:lnTo>
                      <a:pt x="434" y="239"/>
                    </a:lnTo>
                    <a:lnTo>
                      <a:pt x="503" y="159"/>
                    </a:lnTo>
                    <a:lnTo>
                      <a:pt x="537" y="143"/>
                    </a:lnTo>
                    <a:lnTo>
                      <a:pt x="520" y="96"/>
                    </a:lnTo>
                    <a:lnTo>
                      <a:pt x="503" y="96"/>
                    </a:lnTo>
                    <a:lnTo>
                      <a:pt x="503" y="128"/>
                    </a:lnTo>
                    <a:lnTo>
                      <a:pt x="468" y="143"/>
                    </a:lnTo>
                    <a:lnTo>
                      <a:pt x="451" y="159"/>
                    </a:lnTo>
                    <a:lnTo>
                      <a:pt x="399" y="143"/>
                    </a:lnTo>
                    <a:lnTo>
                      <a:pt x="416" y="111"/>
                    </a:lnTo>
                    <a:lnTo>
                      <a:pt x="416" y="96"/>
                    </a:lnTo>
                    <a:lnTo>
                      <a:pt x="382" y="63"/>
                    </a:lnTo>
                    <a:lnTo>
                      <a:pt x="330" y="63"/>
                    </a:lnTo>
                    <a:lnTo>
                      <a:pt x="295" y="15"/>
                    </a:lnTo>
                    <a:lnTo>
                      <a:pt x="261" y="0"/>
                    </a:lnTo>
                    <a:lnTo>
                      <a:pt x="244" y="15"/>
                    </a:lnTo>
                    <a:lnTo>
                      <a:pt x="192" y="0"/>
                    </a:lnTo>
                    <a:lnTo>
                      <a:pt x="155" y="32"/>
                    </a:lnTo>
                    <a:lnTo>
                      <a:pt x="155" y="63"/>
                    </a:lnTo>
                    <a:lnTo>
                      <a:pt x="121" y="80"/>
                    </a:lnTo>
                    <a:lnTo>
                      <a:pt x="138" y="128"/>
                    </a:lnTo>
                    <a:lnTo>
                      <a:pt x="103" y="176"/>
                    </a:lnTo>
                    <a:lnTo>
                      <a:pt x="69" y="272"/>
                    </a:lnTo>
                    <a:lnTo>
                      <a:pt x="86" y="335"/>
                    </a:lnTo>
                    <a:lnTo>
                      <a:pt x="69" y="383"/>
                    </a:lnTo>
                    <a:lnTo>
                      <a:pt x="69" y="416"/>
                    </a:lnTo>
                    <a:lnTo>
                      <a:pt x="52" y="431"/>
                    </a:lnTo>
                    <a:lnTo>
                      <a:pt x="52" y="495"/>
                    </a:lnTo>
                    <a:lnTo>
                      <a:pt x="34" y="527"/>
                    </a:lnTo>
                    <a:lnTo>
                      <a:pt x="34" y="591"/>
                    </a:lnTo>
                    <a:lnTo>
                      <a:pt x="34" y="623"/>
                    </a:lnTo>
                    <a:lnTo>
                      <a:pt x="34" y="687"/>
                    </a:lnTo>
                    <a:lnTo>
                      <a:pt x="52" y="687"/>
                    </a:lnTo>
                    <a:lnTo>
                      <a:pt x="52" y="704"/>
                    </a:lnTo>
                    <a:lnTo>
                      <a:pt x="34" y="704"/>
                    </a:lnTo>
                    <a:lnTo>
                      <a:pt x="52" y="704"/>
                    </a:lnTo>
                    <a:lnTo>
                      <a:pt x="34" y="767"/>
                    </a:lnTo>
                    <a:lnTo>
                      <a:pt x="17" y="800"/>
                    </a:lnTo>
                    <a:lnTo>
                      <a:pt x="17" y="830"/>
                    </a:lnTo>
                    <a:lnTo>
                      <a:pt x="0" y="878"/>
                    </a:lnTo>
                    <a:lnTo>
                      <a:pt x="0" y="911"/>
                    </a:lnTo>
                    <a:lnTo>
                      <a:pt x="0" y="926"/>
                    </a:lnTo>
                    <a:lnTo>
                      <a:pt x="17" y="911"/>
                    </a:lnTo>
                    <a:lnTo>
                      <a:pt x="17" y="959"/>
                    </a:lnTo>
                    <a:lnTo>
                      <a:pt x="34" y="974"/>
                    </a:lnTo>
                    <a:lnTo>
                      <a:pt x="86" y="974"/>
                    </a:lnTo>
                    <a:lnTo>
                      <a:pt x="121" y="974"/>
                    </a:lnTo>
                    <a:lnTo>
                      <a:pt x="121" y="992"/>
                    </a:lnTo>
                    <a:lnTo>
                      <a:pt x="103" y="926"/>
                    </a:lnTo>
                    <a:lnTo>
                      <a:pt x="121" y="911"/>
                    </a:lnTo>
                    <a:lnTo>
                      <a:pt x="138" y="896"/>
                    </a:lnTo>
                    <a:lnTo>
                      <a:pt x="155" y="848"/>
                    </a:lnTo>
                    <a:lnTo>
                      <a:pt x="209" y="815"/>
                    </a:lnTo>
                    <a:lnTo>
                      <a:pt x="209" y="782"/>
                    </a:lnTo>
                    <a:lnTo>
                      <a:pt x="192" y="782"/>
                    </a:lnTo>
                    <a:lnTo>
                      <a:pt x="155" y="752"/>
                    </a:lnTo>
                    <a:lnTo>
                      <a:pt x="155" y="734"/>
                    </a:lnTo>
                    <a:lnTo>
                      <a:pt x="174" y="719"/>
                    </a:lnTo>
                    <a:lnTo>
                      <a:pt x="209" y="704"/>
                    </a:lnTo>
                    <a:lnTo>
                      <a:pt x="209" y="687"/>
                    </a:lnTo>
                    <a:lnTo>
                      <a:pt x="226" y="687"/>
                    </a:lnTo>
                    <a:lnTo>
                      <a:pt x="226" y="656"/>
                    </a:lnTo>
                    <a:lnTo>
                      <a:pt x="244" y="639"/>
                    </a:lnTo>
                    <a:lnTo>
                      <a:pt x="226" y="623"/>
                    </a:lnTo>
                    <a:lnTo>
                      <a:pt x="244" y="623"/>
                    </a:lnTo>
                    <a:lnTo>
                      <a:pt x="261" y="623"/>
                    </a:lnTo>
                    <a:lnTo>
                      <a:pt x="261" y="608"/>
                    </a:lnTo>
                    <a:lnTo>
                      <a:pt x="244" y="608"/>
                    </a:lnTo>
                    <a:lnTo>
                      <a:pt x="226" y="608"/>
                    </a:lnTo>
                    <a:lnTo>
                      <a:pt x="226" y="560"/>
                    </a:lnTo>
                    <a:lnTo>
                      <a:pt x="261" y="575"/>
                    </a:lnTo>
                    <a:lnTo>
                      <a:pt x="295" y="560"/>
                    </a:lnTo>
                    <a:lnTo>
                      <a:pt x="313" y="512"/>
                    </a:lnTo>
                    <a:lnTo>
                      <a:pt x="295" y="495"/>
                    </a:lnTo>
                    <a:lnTo>
                      <a:pt x="313" y="495"/>
                    </a:lnTo>
                    <a:lnTo>
                      <a:pt x="347" y="495"/>
                    </a:lnTo>
                    <a:lnTo>
                      <a:pt x="434" y="479"/>
                    </a:lnTo>
                    <a:lnTo>
                      <a:pt x="451" y="431"/>
                    </a:lnTo>
                    <a:lnTo>
                      <a:pt x="451" y="416"/>
                    </a:lnTo>
                    <a:lnTo>
                      <a:pt x="434" y="399"/>
                    </a:lnTo>
                    <a:lnTo>
                      <a:pt x="434" y="383"/>
                    </a:lnTo>
                    <a:lnTo>
                      <a:pt x="399" y="368"/>
                    </a:lnTo>
                    <a:lnTo>
                      <a:pt x="399" y="35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38" name="Freeform 78">
                <a:extLst>
                  <a:ext uri="{FF2B5EF4-FFF2-40B4-BE49-F238E27FC236}">
                    <a16:creationId xmlns:a16="http://schemas.microsoft.com/office/drawing/2014/main" id="{409D5C73-D253-45CE-9A00-3203402D1E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3537" y="4687784"/>
                <a:ext cx="129659" cy="109084"/>
              </a:xfrm>
              <a:custGeom>
                <a:avLst/>
                <a:gdLst>
                  <a:gd name="T0" fmla="*/ 27781 w 158"/>
                  <a:gd name="T1" fmla="*/ 18902 h 129"/>
                  <a:gd name="T2" fmla="*/ 27781 w 158"/>
                  <a:gd name="T3" fmla="*/ 18902 h 129"/>
                  <a:gd name="T4" fmla="*/ 31750 w 158"/>
                  <a:gd name="T5" fmla="*/ 12602 h 129"/>
                  <a:gd name="T6" fmla="*/ 27781 w 158"/>
                  <a:gd name="T7" fmla="*/ 9451 h 129"/>
                  <a:gd name="T8" fmla="*/ 17463 w 158"/>
                  <a:gd name="T9" fmla="*/ 3150 h 129"/>
                  <a:gd name="T10" fmla="*/ 14288 w 158"/>
                  <a:gd name="T11" fmla="*/ 3150 h 129"/>
                  <a:gd name="T12" fmla="*/ 10319 w 158"/>
                  <a:gd name="T13" fmla="*/ 0 h 129"/>
                  <a:gd name="T14" fmla="*/ 7144 w 158"/>
                  <a:gd name="T15" fmla="*/ 0 h 129"/>
                  <a:gd name="T16" fmla="*/ 0 w 158"/>
                  <a:gd name="T17" fmla="*/ 22053 h 129"/>
                  <a:gd name="T18" fmla="*/ 3969 w 158"/>
                  <a:gd name="T19" fmla="*/ 22053 h 129"/>
                  <a:gd name="T20" fmla="*/ 14288 w 158"/>
                  <a:gd name="T21" fmla="*/ 25203 h 129"/>
                  <a:gd name="T22" fmla="*/ 23813 w 158"/>
                  <a:gd name="T23" fmla="*/ 25203 h 129"/>
                  <a:gd name="T24" fmla="*/ 27781 w 158"/>
                  <a:gd name="T25" fmla="*/ 18902 h 12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58"/>
                  <a:gd name="T40" fmla="*/ 0 h 129"/>
                  <a:gd name="T41" fmla="*/ 158 w 158"/>
                  <a:gd name="T42" fmla="*/ 129 h 129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58" h="129">
                    <a:moveTo>
                      <a:pt x="140" y="96"/>
                    </a:moveTo>
                    <a:lnTo>
                      <a:pt x="140" y="96"/>
                    </a:lnTo>
                    <a:lnTo>
                      <a:pt x="158" y="64"/>
                    </a:lnTo>
                    <a:lnTo>
                      <a:pt x="140" y="48"/>
                    </a:lnTo>
                    <a:lnTo>
                      <a:pt x="88" y="16"/>
                    </a:lnTo>
                    <a:lnTo>
                      <a:pt x="71" y="16"/>
                    </a:lnTo>
                    <a:lnTo>
                      <a:pt x="54" y="0"/>
                    </a:lnTo>
                    <a:lnTo>
                      <a:pt x="35" y="0"/>
                    </a:lnTo>
                    <a:lnTo>
                      <a:pt x="0" y="112"/>
                    </a:lnTo>
                    <a:lnTo>
                      <a:pt x="17" y="112"/>
                    </a:lnTo>
                    <a:lnTo>
                      <a:pt x="71" y="129"/>
                    </a:lnTo>
                    <a:lnTo>
                      <a:pt x="123" y="129"/>
                    </a:lnTo>
                    <a:lnTo>
                      <a:pt x="140" y="9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89" name="Freeform 80">
              <a:extLst>
                <a:ext uri="{FF2B5EF4-FFF2-40B4-BE49-F238E27FC236}">
                  <a16:creationId xmlns:a16="http://schemas.microsoft.com/office/drawing/2014/main" id="{54E2AE91-A107-4829-8032-71C561C05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8546" y="4345284"/>
              <a:ext cx="64762" cy="94947"/>
            </a:xfrm>
            <a:custGeom>
              <a:avLst/>
              <a:gdLst>
                <a:gd name="T0" fmla="*/ 0 w 69"/>
                <a:gd name="T1" fmla="*/ 16669 h 96"/>
                <a:gd name="T2" fmla="*/ 0 w 69"/>
                <a:gd name="T3" fmla="*/ 16669 h 96"/>
                <a:gd name="T4" fmla="*/ 3129 w 69"/>
                <a:gd name="T5" fmla="*/ 19050 h 96"/>
                <a:gd name="T6" fmla="*/ 6258 w 69"/>
                <a:gd name="T7" fmla="*/ 16669 h 96"/>
                <a:gd name="T8" fmla="*/ 13298 w 69"/>
                <a:gd name="T9" fmla="*/ 9525 h 96"/>
                <a:gd name="T10" fmla="*/ 0 w 69"/>
                <a:gd name="T11" fmla="*/ 0 h 96"/>
                <a:gd name="T12" fmla="*/ 0 w 69"/>
                <a:gd name="T13" fmla="*/ 3969 h 96"/>
                <a:gd name="T14" fmla="*/ 0 w 69"/>
                <a:gd name="T15" fmla="*/ 9525 h 96"/>
                <a:gd name="T16" fmla="*/ 0 w 69"/>
                <a:gd name="T17" fmla="*/ 16669 h 9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9"/>
                <a:gd name="T28" fmla="*/ 0 h 96"/>
                <a:gd name="T29" fmla="*/ 69 w 69"/>
                <a:gd name="T30" fmla="*/ 96 h 9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9" h="96">
                  <a:moveTo>
                    <a:pt x="0" y="81"/>
                  </a:moveTo>
                  <a:lnTo>
                    <a:pt x="0" y="81"/>
                  </a:lnTo>
                  <a:lnTo>
                    <a:pt x="17" y="96"/>
                  </a:lnTo>
                  <a:lnTo>
                    <a:pt x="35" y="81"/>
                  </a:lnTo>
                  <a:lnTo>
                    <a:pt x="69" y="48"/>
                  </a:lnTo>
                  <a:lnTo>
                    <a:pt x="0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0" y="81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90" name="Freeform 81">
              <a:extLst>
                <a:ext uri="{FF2B5EF4-FFF2-40B4-BE49-F238E27FC236}">
                  <a16:creationId xmlns:a16="http://schemas.microsoft.com/office/drawing/2014/main" id="{3930746F-7E57-4293-AACB-73C62A90E7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9498" y="4345284"/>
              <a:ext cx="99046" cy="94947"/>
            </a:xfrm>
            <a:custGeom>
              <a:avLst/>
              <a:gdLst>
                <a:gd name="T0" fmla="*/ 20638 w 104"/>
                <a:gd name="T1" fmla="*/ 16669 h 96"/>
                <a:gd name="T2" fmla="*/ 20638 w 104"/>
                <a:gd name="T3" fmla="*/ 16669 h 96"/>
                <a:gd name="T4" fmla="*/ 20638 w 104"/>
                <a:gd name="T5" fmla="*/ 9525 h 96"/>
                <a:gd name="T6" fmla="*/ 20638 w 104"/>
                <a:gd name="T7" fmla="*/ 3969 h 96"/>
                <a:gd name="T8" fmla="*/ 20638 w 104"/>
                <a:gd name="T9" fmla="*/ 0 h 96"/>
                <a:gd name="T10" fmla="*/ 7144 w 104"/>
                <a:gd name="T11" fmla="*/ 0 h 96"/>
                <a:gd name="T12" fmla="*/ 0 w 104"/>
                <a:gd name="T13" fmla="*/ 7144 h 96"/>
                <a:gd name="T14" fmla="*/ 7144 w 104"/>
                <a:gd name="T15" fmla="*/ 19050 h 96"/>
                <a:gd name="T16" fmla="*/ 10319 w 104"/>
                <a:gd name="T17" fmla="*/ 19050 h 96"/>
                <a:gd name="T18" fmla="*/ 14288 w 104"/>
                <a:gd name="T19" fmla="*/ 16669 h 96"/>
                <a:gd name="T20" fmla="*/ 20638 w 104"/>
                <a:gd name="T21" fmla="*/ 16669 h 9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4"/>
                <a:gd name="T34" fmla="*/ 0 h 96"/>
                <a:gd name="T35" fmla="*/ 104 w 104"/>
                <a:gd name="T36" fmla="*/ 96 h 9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4" h="96">
                  <a:moveTo>
                    <a:pt x="104" y="81"/>
                  </a:moveTo>
                  <a:lnTo>
                    <a:pt x="104" y="81"/>
                  </a:lnTo>
                  <a:lnTo>
                    <a:pt x="104" y="48"/>
                  </a:lnTo>
                  <a:lnTo>
                    <a:pt x="104" y="18"/>
                  </a:lnTo>
                  <a:lnTo>
                    <a:pt x="104" y="0"/>
                  </a:lnTo>
                  <a:lnTo>
                    <a:pt x="35" y="0"/>
                  </a:lnTo>
                  <a:lnTo>
                    <a:pt x="0" y="33"/>
                  </a:lnTo>
                  <a:lnTo>
                    <a:pt x="35" y="96"/>
                  </a:lnTo>
                  <a:lnTo>
                    <a:pt x="52" y="96"/>
                  </a:lnTo>
                  <a:lnTo>
                    <a:pt x="69" y="81"/>
                  </a:lnTo>
                  <a:lnTo>
                    <a:pt x="104" y="81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91" name="Freeform 82">
              <a:extLst>
                <a:ext uri="{FF2B5EF4-FFF2-40B4-BE49-F238E27FC236}">
                  <a16:creationId xmlns:a16="http://schemas.microsoft.com/office/drawing/2014/main" id="{3D686790-2EBB-4199-8C56-AD17E724E6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5691" y="4287921"/>
              <a:ext cx="114285" cy="174070"/>
            </a:xfrm>
            <a:custGeom>
              <a:avLst/>
              <a:gdLst>
                <a:gd name="T0" fmla="*/ 6298 w 121"/>
                <a:gd name="T1" fmla="*/ 0 h 177"/>
                <a:gd name="T2" fmla="*/ 6298 w 121"/>
                <a:gd name="T3" fmla="*/ 0 h 177"/>
                <a:gd name="T4" fmla="*/ 13382 w 121"/>
                <a:gd name="T5" fmla="*/ 2368 h 177"/>
                <a:gd name="T6" fmla="*/ 13382 w 121"/>
                <a:gd name="T7" fmla="*/ 6314 h 177"/>
                <a:gd name="T8" fmla="*/ 16531 w 121"/>
                <a:gd name="T9" fmla="*/ 6314 h 177"/>
                <a:gd name="T10" fmla="*/ 23616 w 121"/>
                <a:gd name="T11" fmla="*/ 11839 h 177"/>
                <a:gd name="T12" fmla="*/ 16531 w 121"/>
                <a:gd name="T13" fmla="*/ 18942 h 177"/>
                <a:gd name="T14" fmla="*/ 23616 w 121"/>
                <a:gd name="T15" fmla="*/ 30781 h 177"/>
                <a:gd name="T16" fmla="*/ 13382 w 121"/>
                <a:gd name="T17" fmla="*/ 34728 h 177"/>
                <a:gd name="T18" fmla="*/ 10233 w 121"/>
                <a:gd name="T19" fmla="*/ 34728 h 177"/>
                <a:gd name="T20" fmla="*/ 6298 w 121"/>
                <a:gd name="T21" fmla="*/ 28414 h 177"/>
                <a:gd name="T22" fmla="*/ 6298 w 121"/>
                <a:gd name="T23" fmla="*/ 18942 h 177"/>
                <a:gd name="T24" fmla="*/ 6298 w 121"/>
                <a:gd name="T25" fmla="*/ 15785 h 177"/>
                <a:gd name="T26" fmla="*/ 3149 w 121"/>
                <a:gd name="T27" fmla="*/ 15785 h 177"/>
                <a:gd name="T28" fmla="*/ 0 w 121"/>
                <a:gd name="T29" fmla="*/ 11839 h 177"/>
                <a:gd name="T30" fmla="*/ 0 w 121"/>
                <a:gd name="T31" fmla="*/ 6314 h 177"/>
                <a:gd name="T32" fmla="*/ 3149 w 121"/>
                <a:gd name="T33" fmla="*/ 6314 h 177"/>
                <a:gd name="T34" fmla="*/ 3149 w 121"/>
                <a:gd name="T35" fmla="*/ 2368 h 177"/>
                <a:gd name="T36" fmla="*/ 6298 w 121"/>
                <a:gd name="T37" fmla="*/ 0 h 17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21"/>
                <a:gd name="T58" fmla="*/ 0 h 177"/>
                <a:gd name="T59" fmla="*/ 121 w 121"/>
                <a:gd name="T60" fmla="*/ 177 h 17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21" h="177">
                  <a:moveTo>
                    <a:pt x="35" y="0"/>
                  </a:moveTo>
                  <a:lnTo>
                    <a:pt x="35" y="0"/>
                  </a:lnTo>
                  <a:lnTo>
                    <a:pt x="69" y="15"/>
                  </a:lnTo>
                  <a:lnTo>
                    <a:pt x="69" y="33"/>
                  </a:lnTo>
                  <a:lnTo>
                    <a:pt x="86" y="33"/>
                  </a:lnTo>
                  <a:lnTo>
                    <a:pt x="121" y="63"/>
                  </a:lnTo>
                  <a:lnTo>
                    <a:pt x="86" y="96"/>
                  </a:lnTo>
                  <a:lnTo>
                    <a:pt x="121" y="159"/>
                  </a:lnTo>
                  <a:lnTo>
                    <a:pt x="69" y="177"/>
                  </a:lnTo>
                  <a:lnTo>
                    <a:pt x="52" y="177"/>
                  </a:lnTo>
                  <a:lnTo>
                    <a:pt x="35" y="144"/>
                  </a:lnTo>
                  <a:lnTo>
                    <a:pt x="35" y="96"/>
                  </a:lnTo>
                  <a:lnTo>
                    <a:pt x="35" y="81"/>
                  </a:lnTo>
                  <a:lnTo>
                    <a:pt x="17" y="81"/>
                  </a:lnTo>
                  <a:lnTo>
                    <a:pt x="0" y="63"/>
                  </a:lnTo>
                  <a:lnTo>
                    <a:pt x="0" y="33"/>
                  </a:lnTo>
                  <a:lnTo>
                    <a:pt x="17" y="33"/>
                  </a:lnTo>
                  <a:lnTo>
                    <a:pt x="17" y="15"/>
                  </a:lnTo>
                  <a:lnTo>
                    <a:pt x="35" y="0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92" name="Freeform 83">
              <a:extLst>
                <a:ext uri="{FF2B5EF4-FFF2-40B4-BE49-F238E27FC236}">
                  <a16:creationId xmlns:a16="http://schemas.microsoft.com/office/drawing/2014/main" id="{D917313E-BFE1-4E1E-956D-08F702DA08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1408" y="4192972"/>
              <a:ext cx="348569" cy="284842"/>
            </a:xfrm>
            <a:custGeom>
              <a:avLst/>
              <a:gdLst>
                <a:gd name="T0" fmla="*/ 73225 w 365"/>
                <a:gd name="T1" fmla="*/ 19050 h 288"/>
                <a:gd name="T2" fmla="*/ 73225 w 365"/>
                <a:gd name="T3" fmla="*/ 19050 h 288"/>
                <a:gd name="T4" fmla="*/ 69246 w 365"/>
                <a:gd name="T5" fmla="*/ 21431 h 288"/>
                <a:gd name="T6" fmla="*/ 69246 w 365"/>
                <a:gd name="T7" fmla="*/ 26194 h 288"/>
                <a:gd name="T8" fmla="*/ 66062 w 365"/>
                <a:gd name="T9" fmla="*/ 26194 h 288"/>
                <a:gd name="T10" fmla="*/ 66062 w 365"/>
                <a:gd name="T11" fmla="*/ 30956 h 288"/>
                <a:gd name="T12" fmla="*/ 69246 w 365"/>
                <a:gd name="T13" fmla="*/ 34925 h 288"/>
                <a:gd name="T14" fmla="*/ 66062 w 365"/>
                <a:gd name="T15" fmla="*/ 38100 h 288"/>
                <a:gd name="T16" fmla="*/ 55715 w 365"/>
                <a:gd name="T17" fmla="*/ 40481 h 288"/>
                <a:gd name="T18" fmla="*/ 44572 w 365"/>
                <a:gd name="T19" fmla="*/ 38100 h 288"/>
                <a:gd name="T20" fmla="*/ 48551 w 365"/>
                <a:gd name="T21" fmla="*/ 40481 h 288"/>
                <a:gd name="T22" fmla="*/ 48551 w 365"/>
                <a:gd name="T23" fmla="*/ 47625 h 288"/>
                <a:gd name="T24" fmla="*/ 52531 w 365"/>
                <a:gd name="T25" fmla="*/ 50006 h 288"/>
                <a:gd name="T26" fmla="*/ 41388 w 365"/>
                <a:gd name="T27" fmla="*/ 57150 h 288"/>
                <a:gd name="T28" fmla="*/ 38204 w 365"/>
                <a:gd name="T29" fmla="*/ 57150 h 288"/>
                <a:gd name="T30" fmla="*/ 35021 w 365"/>
                <a:gd name="T31" fmla="*/ 54769 h 288"/>
                <a:gd name="T32" fmla="*/ 31041 w 365"/>
                <a:gd name="T33" fmla="*/ 50006 h 288"/>
                <a:gd name="T34" fmla="*/ 31041 w 365"/>
                <a:gd name="T35" fmla="*/ 44450 h 288"/>
                <a:gd name="T36" fmla="*/ 27857 w 365"/>
                <a:gd name="T37" fmla="*/ 38100 h 288"/>
                <a:gd name="T38" fmla="*/ 31041 w 365"/>
                <a:gd name="T39" fmla="*/ 28575 h 288"/>
                <a:gd name="T40" fmla="*/ 20694 w 365"/>
                <a:gd name="T41" fmla="*/ 28575 h 288"/>
                <a:gd name="T42" fmla="*/ 17510 w 365"/>
                <a:gd name="T43" fmla="*/ 26194 h 288"/>
                <a:gd name="T44" fmla="*/ 7163 w 365"/>
                <a:gd name="T45" fmla="*/ 26194 h 288"/>
                <a:gd name="T46" fmla="*/ 3980 w 365"/>
                <a:gd name="T47" fmla="*/ 21431 h 288"/>
                <a:gd name="T48" fmla="*/ 3980 w 365"/>
                <a:gd name="T49" fmla="*/ 19050 h 288"/>
                <a:gd name="T50" fmla="*/ 0 w 365"/>
                <a:gd name="T51" fmla="*/ 11906 h 288"/>
                <a:gd name="T52" fmla="*/ 3980 w 365"/>
                <a:gd name="T53" fmla="*/ 7144 h 288"/>
                <a:gd name="T54" fmla="*/ 7163 w 365"/>
                <a:gd name="T55" fmla="*/ 2381 h 288"/>
                <a:gd name="T56" fmla="*/ 10347 w 365"/>
                <a:gd name="T57" fmla="*/ 7144 h 288"/>
                <a:gd name="T58" fmla="*/ 7163 w 365"/>
                <a:gd name="T59" fmla="*/ 9525 h 288"/>
                <a:gd name="T60" fmla="*/ 7163 w 365"/>
                <a:gd name="T61" fmla="*/ 15875 h 288"/>
                <a:gd name="T62" fmla="*/ 10347 w 365"/>
                <a:gd name="T63" fmla="*/ 11906 h 288"/>
                <a:gd name="T64" fmla="*/ 10347 w 365"/>
                <a:gd name="T65" fmla="*/ 7144 h 288"/>
                <a:gd name="T66" fmla="*/ 17510 w 365"/>
                <a:gd name="T67" fmla="*/ 2381 h 288"/>
                <a:gd name="T68" fmla="*/ 17510 w 365"/>
                <a:gd name="T69" fmla="*/ 0 h 288"/>
                <a:gd name="T70" fmla="*/ 17510 w 365"/>
                <a:gd name="T71" fmla="*/ 2381 h 288"/>
                <a:gd name="T72" fmla="*/ 27857 w 365"/>
                <a:gd name="T73" fmla="*/ 2381 h 288"/>
                <a:gd name="T74" fmla="*/ 27857 w 365"/>
                <a:gd name="T75" fmla="*/ 7144 h 288"/>
                <a:gd name="T76" fmla="*/ 38204 w 365"/>
                <a:gd name="T77" fmla="*/ 7144 h 288"/>
                <a:gd name="T78" fmla="*/ 44572 w 365"/>
                <a:gd name="T79" fmla="*/ 9525 h 288"/>
                <a:gd name="T80" fmla="*/ 52531 w 365"/>
                <a:gd name="T81" fmla="*/ 7144 h 288"/>
                <a:gd name="T82" fmla="*/ 58899 w 365"/>
                <a:gd name="T83" fmla="*/ 7144 h 288"/>
                <a:gd name="T84" fmla="*/ 55715 w 365"/>
                <a:gd name="T85" fmla="*/ 7144 h 288"/>
                <a:gd name="T86" fmla="*/ 58899 w 365"/>
                <a:gd name="T87" fmla="*/ 9525 h 288"/>
                <a:gd name="T88" fmla="*/ 66062 w 365"/>
                <a:gd name="T89" fmla="*/ 11906 h 288"/>
                <a:gd name="T90" fmla="*/ 66062 w 365"/>
                <a:gd name="T91" fmla="*/ 19050 h 288"/>
                <a:gd name="T92" fmla="*/ 69246 w 365"/>
                <a:gd name="T93" fmla="*/ 15875 h 288"/>
                <a:gd name="T94" fmla="*/ 73225 w 365"/>
                <a:gd name="T95" fmla="*/ 19050 h 2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65"/>
                <a:gd name="T145" fmla="*/ 0 h 288"/>
                <a:gd name="T146" fmla="*/ 365 w 365"/>
                <a:gd name="T147" fmla="*/ 288 h 28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65" h="288">
                  <a:moveTo>
                    <a:pt x="365" y="96"/>
                  </a:moveTo>
                  <a:lnTo>
                    <a:pt x="365" y="96"/>
                  </a:lnTo>
                  <a:lnTo>
                    <a:pt x="347" y="111"/>
                  </a:lnTo>
                  <a:lnTo>
                    <a:pt x="347" y="129"/>
                  </a:lnTo>
                  <a:lnTo>
                    <a:pt x="330" y="129"/>
                  </a:lnTo>
                  <a:lnTo>
                    <a:pt x="330" y="159"/>
                  </a:lnTo>
                  <a:lnTo>
                    <a:pt x="347" y="177"/>
                  </a:lnTo>
                  <a:lnTo>
                    <a:pt x="330" y="192"/>
                  </a:lnTo>
                  <a:lnTo>
                    <a:pt x="278" y="207"/>
                  </a:lnTo>
                  <a:lnTo>
                    <a:pt x="224" y="192"/>
                  </a:lnTo>
                  <a:lnTo>
                    <a:pt x="242" y="207"/>
                  </a:lnTo>
                  <a:lnTo>
                    <a:pt x="242" y="240"/>
                  </a:lnTo>
                  <a:lnTo>
                    <a:pt x="261" y="255"/>
                  </a:lnTo>
                  <a:lnTo>
                    <a:pt x="207" y="288"/>
                  </a:lnTo>
                  <a:lnTo>
                    <a:pt x="190" y="288"/>
                  </a:lnTo>
                  <a:lnTo>
                    <a:pt x="173" y="273"/>
                  </a:lnTo>
                  <a:lnTo>
                    <a:pt x="155" y="255"/>
                  </a:lnTo>
                  <a:lnTo>
                    <a:pt x="155" y="225"/>
                  </a:lnTo>
                  <a:lnTo>
                    <a:pt x="138" y="192"/>
                  </a:lnTo>
                  <a:lnTo>
                    <a:pt x="155" y="144"/>
                  </a:lnTo>
                  <a:lnTo>
                    <a:pt x="103" y="144"/>
                  </a:lnTo>
                  <a:lnTo>
                    <a:pt x="86" y="129"/>
                  </a:lnTo>
                  <a:lnTo>
                    <a:pt x="34" y="129"/>
                  </a:lnTo>
                  <a:lnTo>
                    <a:pt x="17" y="111"/>
                  </a:lnTo>
                  <a:lnTo>
                    <a:pt x="17" y="96"/>
                  </a:lnTo>
                  <a:lnTo>
                    <a:pt x="0" y="63"/>
                  </a:lnTo>
                  <a:lnTo>
                    <a:pt x="17" y="33"/>
                  </a:lnTo>
                  <a:lnTo>
                    <a:pt x="34" y="15"/>
                  </a:lnTo>
                  <a:lnTo>
                    <a:pt x="52" y="33"/>
                  </a:lnTo>
                  <a:lnTo>
                    <a:pt x="34" y="48"/>
                  </a:lnTo>
                  <a:lnTo>
                    <a:pt x="34" y="81"/>
                  </a:lnTo>
                  <a:lnTo>
                    <a:pt x="52" y="63"/>
                  </a:lnTo>
                  <a:lnTo>
                    <a:pt x="52" y="33"/>
                  </a:lnTo>
                  <a:lnTo>
                    <a:pt x="86" y="15"/>
                  </a:lnTo>
                  <a:lnTo>
                    <a:pt x="86" y="0"/>
                  </a:lnTo>
                  <a:lnTo>
                    <a:pt x="86" y="15"/>
                  </a:lnTo>
                  <a:lnTo>
                    <a:pt x="138" y="15"/>
                  </a:lnTo>
                  <a:lnTo>
                    <a:pt x="138" y="33"/>
                  </a:lnTo>
                  <a:lnTo>
                    <a:pt x="190" y="33"/>
                  </a:lnTo>
                  <a:lnTo>
                    <a:pt x="224" y="48"/>
                  </a:lnTo>
                  <a:lnTo>
                    <a:pt x="261" y="33"/>
                  </a:lnTo>
                  <a:lnTo>
                    <a:pt x="295" y="33"/>
                  </a:lnTo>
                  <a:lnTo>
                    <a:pt x="278" y="33"/>
                  </a:lnTo>
                  <a:lnTo>
                    <a:pt x="295" y="48"/>
                  </a:lnTo>
                  <a:lnTo>
                    <a:pt x="330" y="63"/>
                  </a:lnTo>
                  <a:lnTo>
                    <a:pt x="330" y="96"/>
                  </a:lnTo>
                  <a:lnTo>
                    <a:pt x="347" y="81"/>
                  </a:lnTo>
                  <a:lnTo>
                    <a:pt x="365" y="96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678606BA-683C-49C2-B4CC-6F2EF7033A85}"/>
                </a:ext>
              </a:extLst>
            </p:cNvPr>
            <p:cNvGrpSpPr/>
            <p:nvPr/>
          </p:nvGrpSpPr>
          <p:grpSpPr>
            <a:xfrm>
              <a:off x="1232378" y="1910278"/>
              <a:ext cx="3990448" cy="3469540"/>
              <a:chOff x="2088084" y="1780036"/>
              <a:chExt cx="3438406" cy="2989561"/>
            </a:xfrm>
            <a:pattFill prst="pct50">
              <a:fgClr>
                <a:schemeClr val="accent3"/>
              </a:fgClr>
              <a:bgClr>
                <a:schemeClr val="bg1"/>
              </a:bgClr>
            </a:pattFill>
          </p:grpSpPr>
          <p:sp>
            <p:nvSpPr>
              <p:cNvPr id="325" name="Freeform 32">
                <a:extLst>
                  <a:ext uri="{FF2B5EF4-FFF2-40B4-BE49-F238E27FC236}">
                    <a16:creationId xmlns:a16="http://schemas.microsoft.com/office/drawing/2014/main" id="{85F00BD5-4E1C-4208-B7A6-9942391A2A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8204" y="1977750"/>
                <a:ext cx="218286" cy="88630"/>
              </a:xfrm>
              <a:custGeom>
                <a:avLst/>
                <a:gdLst>
                  <a:gd name="T0" fmla="*/ 53382 w 265"/>
                  <a:gd name="T1" fmla="*/ 10419 h 103"/>
                  <a:gd name="T2" fmla="*/ 49398 w 265"/>
                  <a:gd name="T3" fmla="*/ 10419 h 103"/>
                  <a:gd name="T4" fmla="*/ 45415 w 265"/>
                  <a:gd name="T5" fmla="*/ 14426 h 103"/>
                  <a:gd name="T6" fmla="*/ 45415 w 265"/>
                  <a:gd name="T7" fmla="*/ 17632 h 103"/>
                  <a:gd name="T8" fmla="*/ 39041 w 265"/>
                  <a:gd name="T9" fmla="*/ 17632 h 103"/>
                  <a:gd name="T10" fmla="*/ 35057 w 265"/>
                  <a:gd name="T11" fmla="*/ 20838 h 103"/>
                  <a:gd name="T12" fmla="*/ 27886 w 265"/>
                  <a:gd name="T13" fmla="*/ 20838 h 103"/>
                  <a:gd name="T14" fmla="*/ 21512 w 265"/>
                  <a:gd name="T15" fmla="*/ 20838 h 103"/>
                  <a:gd name="T16" fmla="*/ 17528 w 265"/>
                  <a:gd name="T17" fmla="*/ 20838 h 103"/>
                  <a:gd name="T18" fmla="*/ 11154 w 265"/>
                  <a:gd name="T19" fmla="*/ 17632 h 103"/>
                  <a:gd name="T20" fmla="*/ 7171 w 265"/>
                  <a:gd name="T21" fmla="*/ 14426 h 103"/>
                  <a:gd name="T22" fmla="*/ 3984 w 265"/>
                  <a:gd name="T23" fmla="*/ 14426 h 103"/>
                  <a:gd name="T24" fmla="*/ 7171 w 265"/>
                  <a:gd name="T25" fmla="*/ 14426 h 103"/>
                  <a:gd name="T26" fmla="*/ 7171 w 265"/>
                  <a:gd name="T27" fmla="*/ 10419 h 103"/>
                  <a:gd name="T28" fmla="*/ 3984 w 265"/>
                  <a:gd name="T29" fmla="*/ 10419 h 103"/>
                  <a:gd name="T30" fmla="*/ 0 w 265"/>
                  <a:gd name="T31" fmla="*/ 10419 h 103"/>
                  <a:gd name="T32" fmla="*/ 7171 w 265"/>
                  <a:gd name="T33" fmla="*/ 10419 h 103"/>
                  <a:gd name="T34" fmla="*/ 11154 w 265"/>
                  <a:gd name="T35" fmla="*/ 6412 h 103"/>
                  <a:gd name="T36" fmla="*/ 7171 w 265"/>
                  <a:gd name="T37" fmla="*/ 6412 h 103"/>
                  <a:gd name="T38" fmla="*/ 3984 w 265"/>
                  <a:gd name="T39" fmla="*/ 6412 h 103"/>
                  <a:gd name="T40" fmla="*/ 0 w 265"/>
                  <a:gd name="T41" fmla="*/ 3206 h 103"/>
                  <a:gd name="T42" fmla="*/ 0 w 265"/>
                  <a:gd name="T43" fmla="*/ 0 h 103"/>
                  <a:gd name="T44" fmla="*/ 0 w 265"/>
                  <a:gd name="T45" fmla="*/ 3206 h 103"/>
                  <a:gd name="T46" fmla="*/ 0 w 265"/>
                  <a:gd name="T47" fmla="*/ 0 h 103"/>
                  <a:gd name="T48" fmla="*/ 3984 w 265"/>
                  <a:gd name="T49" fmla="*/ 0 h 103"/>
                  <a:gd name="T50" fmla="*/ 7171 w 265"/>
                  <a:gd name="T51" fmla="*/ 0 h 103"/>
                  <a:gd name="T52" fmla="*/ 11154 w 265"/>
                  <a:gd name="T53" fmla="*/ 3206 h 103"/>
                  <a:gd name="T54" fmla="*/ 11154 w 265"/>
                  <a:gd name="T55" fmla="*/ 6412 h 103"/>
                  <a:gd name="T56" fmla="*/ 11154 w 265"/>
                  <a:gd name="T57" fmla="*/ 3206 h 103"/>
                  <a:gd name="T58" fmla="*/ 14341 w 265"/>
                  <a:gd name="T59" fmla="*/ 3206 h 103"/>
                  <a:gd name="T60" fmla="*/ 14341 w 265"/>
                  <a:gd name="T61" fmla="*/ 0 h 103"/>
                  <a:gd name="T62" fmla="*/ 14341 w 265"/>
                  <a:gd name="T63" fmla="*/ 3206 h 103"/>
                  <a:gd name="T64" fmla="*/ 17528 w 265"/>
                  <a:gd name="T65" fmla="*/ 3206 h 103"/>
                  <a:gd name="T66" fmla="*/ 21512 w 265"/>
                  <a:gd name="T67" fmla="*/ 3206 h 103"/>
                  <a:gd name="T68" fmla="*/ 21512 w 265"/>
                  <a:gd name="T69" fmla="*/ 0 h 103"/>
                  <a:gd name="T70" fmla="*/ 24699 w 265"/>
                  <a:gd name="T71" fmla="*/ 0 h 103"/>
                  <a:gd name="T72" fmla="*/ 27886 w 265"/>
                  <a:gd name="T73" fmla="*/ 0 h 103"/>
                  <a:gd name="T74" fmla="*/ 31870 w 265"/>
                  <a:gd name="T75" fmla="*/ 3206 h 103"/>
                  <a:gd name="T76" fmla="*/ 31870 w 265"/>
                  <a:gd name="T77" fmla="*/ 0 h 103"/>
                  <a:gd name="T78" fmla="*/ 35057 w 265"/>
                  <a:gd name="T79" fmla="*/ 0 h 103"/>
                  <a:gd name="T80" fmla="*/ 39041 w 265"/>
                  <a:gd name="T81" fmla="*/ 0 h 103"/>
                  <a:gd name="T82" fmla="*/ 42228 w 265"/>
                  <a:gd name="T83" fmla="*/ 0 h 103"/>
                  <a:gd name="T84" fmla="*/ 45415 w 265"/>
                  <a:gd name="T85" fmla="*/ 0 h 103"/>
                  <a:gd name="T86" fmla="*/ 45415 w 265"/>
                  <a:gd name="T87" fmla="*/ 6412 h 103"/>
                  <a:gd name="T88" fmla="*/ 53382 w 265"/>
                  <a:gd name="T89" fmla="*/ 10419 h 103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265"/>
                  <a:gd name="T136" fmla="*/ 0 h 103"/>
                  <a:gd name="T137" fmla="*/ 265 w 265"/>
                  <a:gd name="T138" fmla="*/ 103 h 103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265" h="103">
                    <a:moveTo>
                      <a:pt x="265" y="49"/>
                    </a:moveTo>
                    <a:lnTo>
                      <a:pt x="245" y="49"/>
                    </a:lnTo>
                    <a:lnTo>
                      <a:pt x="228" y="69"/>
                    </a:lnTo>
                    <a:lnTo>
                      <a:pt x="228" y="86"/>
                    </a:lnTo>
                    <a:lnTo>
                      <a:pt x="194" y="86"/>
                    </a:lnTo>
                    <a:lnTo>
                      <a:pt x="176" y="103"/>
                    </a:lnTo>
                    <a:lnTo>
                      <a:pt x="140" y="103"/>
                    </a:lnTo>
                    <a:lnTo>
                      <a:pt x="105" y="103"/>
                    </a:lnTo>
                    <a:lnTo>
                      <a:pt x="88" y="103"/>
                    </a:lnTo>
                    <a:lnTo>
                      <a:pt x="53" y="86"/>
                    </a:lnTo>
                    <a:lnTo>
                      <a:pt x="34" y="69"/>
                    </a:lnTo>
                    <a:lnTo>
                      <a:pt x="17" y="69"/>
                    </a:lnTo>
                    <a:lnTo>
                      <a:pt x="34" y="69"/>
                    </a:lnTo>
                    <a:lnTo>
                      <a:pt x="34" y="49"/>
                    </a:lnTo>
                    <a:lnTo>
                      <a:pt x="17" y="49"/>
                    </a:lnTo>
                    <a:lnTo>
                      <a:pt x="0" y="49"/>
                    </a:lnTo>
                    <a:lnTo>
                      <a:pt x="34" y="49"/>
                    </a:lnTo>
                    <a:lnTo>
                      <a:pt x="53" y="32"/>
                    </a:lnTo>
                    <a:lnTo>
                      <a:pt x="34" y="32"/>
                    </a:lnTo>
                    <a:lnTo>
                      <a:pt x="17" y="32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7" y="0"/>
                    </a:lnTo>
                    <a:lnTo>
                      <a:pt x="34" y="0"/>
                    </a:lnTo>
                    <a:lnTo>
                      <a:pt x="53" y="15"/>
                    </a:lnTo>
                    <a:lnTo>
                      <a:pt x="53" y="32"/>
                    </a:lnTo>
                    <a:lnTo>
                      <a:pt x="53" y="15"/>
                    </a:lnTo>
                    <a:lnTo>
                      <a:pt x="71" y="15"/>
                    </a:lnTo>
                    <a:lnTo>
                      <a:pt x="71" y="0"/>
                    </a:lnTo>
                    <a:lnTo>
                      <a:pt x="71" y="15"/>
                    </a:lnTo>
                    <a:lnTo>
                      <a:pt x="88" y="15"/>
                    </a:lnTo>
                    <a:lnTo>
                      <a:pt x="105" y="15"/>
                    </a:lnTo>
                    <a:lnTo>
                      <a:pt x="105" y="0"/>
                    </a:lnTo>
                    <a:lnTo>
                      <a:pt x="123" y="0"/>
                    </a:lnTo>
                    <a:lnTo>
                      <a:pt x="140" y="0"/>
                    </a:lnTo>
                    <a:lnTo>
                      <a:pt x="159" y="15"/>
                    </a:lnTo>
                    <a:lnTo>
                      <a:pt x="159" y="0"/>
                    </a:lnTo>
                    <a:lnTo>
                      <a:pt x="176" y="0"/>
                    </a:lnTo>
                    <a:lnTo>
                      <a:pt x="194" y="0"/>
                    </a:lnTo>
                    <a:lnTo>
                      <a:pt x="211" y="0"/>
                    </a:lnTo>
                    <a:lnTo>
                      <a:pt x="228" y="0"/>
                    </a:lnTo>
                    <a:lnTo>
                      <a:pt x="228" y="32"/>
                    </a:lnTo>
                    <a:lnTo>
                      <a:pt x="265" y="4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6" name="Freeform 35">
                <a:extLst>
                  <a:ext uri="{FF2B5EF4-FFF2-40B4-BE49-F238E27FC236}">
                    <a16:creationId xmlns:a16="http://schemas.microsoft.com/office/drawing/2014/main" id="{987A7B5E-3386-4895-83EE-27CD9F58C6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8084" y="1780036"/>
                <a:ext cx="840317" cy="830054"/>
              </a:xfrm>
              <a:custGeom>
                <a:avLst/>
                <a:gdLst>
                  <a:gd name="T0" fmla="*/ 203399 w 1023"/>
                  <a:gd name="T1" fmla="*/ 187133 h 975"/>
                  <a:gd name="T2" fmla="*/ 193070 w 1023"/>
                  <a:gd name="T3" fmla="*/ 171274 h 975"/>
                  <a:gd name="T4" fmla="*/ 178768 w 1023"/>
                  <a:gd name="T5" fmla="*/ 152244 h 975"/>
                  <a:gd name="T6" fmla="*/ 168439 w 1023"/>
                  <a:gd name="T7" fmla="*/ 145107 h 975"/>
                  <a:gd name="T8" fmla="*/ 154933 w 1023"/>
                  <a:gd name="T9" fmla="*/ 139557 h 975"/>
                  <a:gd name="T10" fmla="*/ 144604 w 1023"/>
                  <a:gd name="T11" fmla="*/ 139557 h 975"/>
                  <a:gd name="T12" fmla="*/ 144604 w 1023"/>
                  <a:gd name="T13" fmla="*/ 25374 h 975"/>
                  <a:gd name="T14" fmla="*/ 123946 w 1023"/>
                  <a:gd name="T15" fmla="*/ 22202 h 975"/>
                  <a:gd name="T16" fmla="*/ 110439 w 1023"/>
                  <a:gd name="T17" fmla="*/ 19030 h 975"/>
                  <a:gd name="T18" fmla="*/ 86603 w 1023"/>
                  <a:gd name="T19" fmla="*/ 12687 h 975"/>
                  <a:gd name="T20" fmla="*/ 72302 w 1023"/>
                  <a:gd name="T21" fmla="*/ 6343 h 975"/>
                  <a:gd name="T22" fmla="*/ 62768 w 1023"/>
                  <a:gd name="T23" fmla="*/ 0 h 975"/>
                  <a:gd name="T24" fmla="*/ 48466 w 1023"/>
                  <a:gd name="T25" fmla="*/ 9515 h 975"/>
                  <a:gd name="T26" fmla="*/ 34959 w 1023"/>
                  <a:gd name="T27" fmla="*/ 15859 h 975"/>
                  <a:gd name="T28" fmla="*/ 24630 w 1023"/>
                  <a:gd name="T29" fmla="*/ 34889 h 975"/>
                  <a:gd name="T30" fmla="*/ 7151 w 1023"/>
                  <a:gd name="T31" fmla="*/ 44404 h 975"/>
                  <a:gd name="T32" fmla="*/ 24630 w 1023"/>
                  <a:gd name="T33" fmla="*/ 60263 h 975"/>
                  <a:gd name="T34" fmla="*/ 31781 w 1023"/>
                  <a:gd name="T35" fmla="*/ 72950 h 975"/>
                  <a:gd name="T36" fmla="*/ 20658 w 1023"/>
                  <a:gd name="T37" fmla="*/ 66607 h 975"/>
                  <a:gd name="T38" fmla="*/ 3973 w 1023"/>
                  <a:gd name="T39" fmla="*/ 72950 h 975"/>
                  <a:gd name="T40" fmla="*/ 7151 w 1023"/>
                  <a:gd name="T41" fmla="*/ 82465 h 975"/>
                  <a:gd name="T42" fmla="*/ 7151 w 1023"/>
                  <a:gd name="T43" fmla="*/ 88809 h 975"/>
                  <a:gd name="T44" fmla="*/ 20658 w 1023"/>
                  <a:gd name="T45" fmla="*/ 91981 h 975"/>
                  <a:gd name="T46" fmla="*/ 34959 w 1023"/>
                  <a:gd name="T47" fmla="*/ 88809 h 975"/>
                  <a:gd name="T48" fmla="*/ 38137 w 1023"/>
                  <a:gd name="T49" fmla="*/ 97531 h 975"/>
                  <a:gd name="T50" fmla="*/ 27808 w 1023"/>
                  <a:gd name="T51" fmla="*/ 104668 h 975"/>
                  <a:gd name="T52" fmla="*/ 20658 w 1023"/>
                  <a:gd name="T53" fmla="*/ 107046 h 975"/>
                  <a:gd name="T54" fmla="*/ 10329 w 1023"/>
                  <a:gd name="T55" fmla="*/ 123698 h 975"/>
                  <a:gd name="T56" fmla="*/ 24630 w 1023"/>
                  <a:gd name="T57" fmla="*/ 142729 h 975"/>
                  <a:gd name="T58" fmla="*/ 31781 w 1023"/>
                  <a:gd name="T59" fmla="*/ 145107 h 975"/>
                  <a:gd name="T60" fmla="*/ 34959 w 1023"/>
                  <a:gd name="T61" fmla="*/ 152244 h 975"/>
                  <a:gd name="T62" fmla="*/ 48466 w 1023"/>
                  <a:gd name="T63" fmla="*/ 154623 h 975"/>
                  <a:gd name="T64" fmla="*/ 55617 w 1023"/>
                  <a:gd name="T65" fmla="*/ 152244 h 975"/>
                  <a:gd name="T66" fmla="*/ 55617 w 1023"/>
                  <a:gd name="T67" fmla="*/ 164138 h 975"/>
                  <a:gd name="T68" fmla="*/ 27808 w 1023"/>
                  <a:gd name="T69" fmla="*/ 180790 h 975"/>
                  <a:gd name="T70" fmla="*/ 14301 w 1023"/>
                  <a:gd name="T71" fmla="*/ 190305 h 975"/>
                  <a:gd name="T72" fmla="*/ 34959 w 1023"/>
                  <a:gd name="T73" fmla="*/ 183168 h 975"/>
                  <a:gd name="T74" fmla="*/ 52439 w 1023"/>
                  <a:gd name="T75" fmla="*/ 173653 h 975"/>
                  <a:gd name="T76" fmla="*/ 76274 w 1023"/>
                  <a:gd name="T77" fmla="*/ 154623 h 975"/>
                  <a:gd name="T78" fmla="*/ 72302 w 1023"/>
                  <a:gd name="T79" fmla="*/ 149072 h 975"/>
                  <a:gd name="T80" fmla="*/ 82631 w 1023"/>
                  <a:gd name="T81" fmla="*/ 139557 h 975"/>
                  <a:gd name="T82" fmla="*/ 92960 w 1023"/>
                  <a:gd name="T83" fmla="*/ 126077 h 975"/>
                  <a:gd name="T84" fmla="*/ 92960 w 1023"/>
                  <a:gd name="T85" fmla="*/ 130042 h 975"/>
                  <a:gd name="T86" fmla="*/ 86603 w 1023"/>
                  <a:gd name="T87" fmla="*/ 142729 h 975"/>
                  <a:gd name="T88" fmla="*/ 86603 w 1023"/>
                  <a:gd name="T89" fmla="*/ 149072 h 975"/>
                  <a:gd name="T90" fmla="*/ 100110 w 1023"/>
                  <a:gd name="T91" fmla="*/ 142729 h 975"/>
                  <a:gd name="T92" fmla="*/ 107261 w 1023"/>
                  <a:gd name="T93" fmla="*/ 135592 h 975"/>
                  <a:gd name="T94" fmla="*/ 113617 w 1023"/>
                  <a:gd name="T95" fmla="*/ 133213 h 975"/>
                  <a:gd name="T96" fmla="*/ 138248 w 1023"/>
                  <a:gd name="T97" fmla="*/ 139557 h 975"/>
                  <a:gd name="T98" fmla="*/ 151754 w 1023"/>
                  <a:gd name="T99" fmla="*/ 142729 h 975"/>
                  <a:gd name="T100" fmla="*/ 168439 w 1023"/>
                  <a:gd name="T101" fmla="*/ 158587 h 975"/>
                  <a:gd name="T102" fmla="*/ 175590 w 1023"/>
                  <a:gd name="T103" fmla="*/ 161759 h 975"/>
                  <a:gd name="T104" fmla="*/ 175590 w 1023"/>
                  <a:gd name="T105" fmla="*/ 158587 h 975"/>
                  <a:gd name="T106" fmla="*/ 178768 w 1023"/>
                  <a:gd name="T107" fmla="*/ 168103 h 975"/>
                  <a:gd name="T108" fmla="*/ 189097 w 1023"/>
                  <a:gd name="T109" fmla="*/ 171274 h 975"/>
                  <a:gd name="T110" fmla="*/ 182741 w 1023"/>
                  <a:gd name="T111" fmla="*/ 171274 h 975"/>
                  <a:gd name="T112" fmla="*/ 185919 w 1023"/>
                  <a:gd name="T113" fmla="*/ 173653 h 975"/>
                  <a:gd name="T114" fmla="*/ 193070 w 1023"/>
                  <a:gd name="T115" fmla="*/ 190305 h 975"/>
                  <a:gd name="T116" fmla="*/ 189097 w 1023"/>
                  <a:gd name="T117" fmla="*/ 177618 h 975"/>
                  <a:gd name="T118" fmla="*/ 193070 w 1023"/>
                  <a:gd name="T119" fmla="*/ 180790 h 975"/>
                  <a:gd name="T120" fmla="*/ 200221 w 1023"/>
                  <a:gd name="T121" fmla="*/ 190305 h 975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023"/>
                  <a:gd name="T184" fmla="*/ 0 h 975"/>
                  <a:gd name="T185" fmla="*/ 1023 w 1023"/>
                  <a:gd name="T186" fmla="*/ 975 h 975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023" h="975">
                    <a:moveTo>
                      <a:pt x="1023" y="945"/>
                    </a:moveTo>
                    <a:lnTo>
                      <a:pt x="1023" y="945"/>
                    </a:lnTo>
                    <a:lnTo>
                      <a:pt x="1023" y="897"/>
                    </a:lnTo>
                    <a:lnTo>
                      <a:pt x="971" y="864"/>
                    </a:lnTo>
                    <a:lnTo>
                      <a:pt x="917" y="768"/>
                    </a:lnTo>
                    <a:lnTo>
                      <a:pt x="900" y="768"/>
                    </a:lnTo>
                    <a:lnTo>
                      <a:pt x="883" y="720"/>
                    </a:lnTo>
                    <a:lnTo>
                      <a:pt x="848" y="735"/>
                    </a:lnTo>
                    <a:lnTo>
                      <a:pt x="831" y="753"/>
                    </a:lnTo>
                    <a:lnTo>
                      <a:pt x="779" y="705"/>
                    </a:lnTo>
                    <a:lnTo>
                      <a:pt x="779" y="687"/>
                    </a:lnTo>
                    <a:lnTo>
                      <a:pt x="727" y="705"/>
                    </a:lnTo>
                    <a:lnTo>
                      <a:pt x="727" y="687"/>
                    </a:lnTo>
                    <a:lnTo>
                      <a:pt x="727" y="129"/>
                    </a:lnTo>
                    <a:lnTo>
                      <a:pt x="675" y="96"/>
                    </a:lnTo>
                    <a:lnTo>
                      <a:pt x="624" y="112"/>
                    </a:lnTo>
                    <a:lnTo>
                      <a:pt x="589" y="96"/>
                    </a:lnTo>
                    <a:lnTo>
                      <a:pt x="555" y="96"/>
                    </a:lnTo>
                    <a:lnTo>
                      <a:pt x="503" y="64"/>
                    </a:lnTo>
                    <a:lnTo>
                      <a:pt x="434" y="64"/>
                    </a:lnTo>
                    <a:lnTo>
                      <a:pt x="416" y="33"/>
                    </a:lnTo>
                    <a:lnTo>
                      <a:pt x="364" y="33"/>
                    </a:lnTo>
                    <a:lnTo>
                      <a:pt x="347" y="16"/>
                    </a:lnTo>
                    <a:lnTo>
                      <a:pt x="313" y="0"/>
                    </a:lnTo>
                    <a:lnTo>
                      <a:pt x="278" y="33"/>
                    </a:lnTo>
                    <a:lnTo>
                      <a:pt x="244" y="48"/>
                    </a:lnTo>
                    <a:lnTo>
                      <a:pt x="192" y="81"/>
                    </a:lnTo>
                    <a:lnTo>
                      <a:pt x="174" y="81"/>
                    </a:lnTo>
                    <a:lnTo>
                      <a:pt x="140" y="112"/>
                    </a:lnTo>
                    <a:lnTo>
                      <a:pt x="123" y="177"/>
                    </a:lnTo>
                    <a:lnTo>
                      <a:pt x="52" y="192"/>
                    </a:lnTo>
                    <a:lnTo>
                      <a:pt x="34" y="225"/>
                    </a:lnTo>
                    <a:lnTo>
                      <a:pt x="103" y="273"/>
                    </a:lnTo>
                    <a:lnTo>
                      <a:pt x="123" y="304"/>
                    </a:lnTo>
                    <a:lnTo>
                      <a:pt x="157" y="352"/>
                    </a:lnTo>
                    <a:lnTo>
                      <a:pt x="157" y="369"/>
                    </a:lnTo>
                    <a:lnTo>
                      <a:pt x="103" y="369"/>
                    </a:lnTo>
                    <a:lnTo>
                      <a:pt x="103" y="336"/>
                    </a:lnTo>
                    <a:lnTo>
                      <a:pt x="86" y="336"/>
                    </a:lnTo>
                    <a:lnTo>
                      <a:pt x="17" y="369"/>
                    </a:lnTo>
                    <a:lnTo>
                      <a:pt x="0" y="400"/>
                    </a:lnTo>
                    <a:lnTo>
                      <a:pt x="34" y="417"/>
                    </a:lnTo>
                    <a:lnTo>
                      <a:pt x="34" y="432"/>
                    </a:lnTo>
                    <a:lnTo>
                      <a:pt x="34" y="448"/>
                    </a:lnTo>
                    <a:lnTo>
                      <a:pt x="69" y="465"/>
                    </a:lnTo>
                    <a:lnTo>
                      <a:pt x="103" y="465"/>
                    </a:lnTo>
                    <a:lnTo>
                      <a:pt x="140" y="465"/>
                    </a:lnTo>
                    <a:lnTo>
                      <a:pt x="174" y="448"/>
                    </a:lnTo>
                    <a:lnTo>
                      <a:pt x="174" y="465"/>
                    </a:lnTo>
                    <a:lnTo>
                      <a:pt x="192" y="495"/>
                    </a:lnTo>
                    <a:lnTo>
                      <a:pt x="174" y="528"/>
                    </a:lnTo>
                    <a:lnTo>
                      <a:pt x="140" y="528"/>
                    </a:lnTo>
                    <a:lnTo>
                      <a:pt x="123" y="543"/>
                    </a:lnTo>
                    <a:lnTo>
                      <a:pt x="103" y="543"/>
                    </a:lnTo>
                    <a:lnTo>
                      <a:pt x="86" y="543"/>
                    </a:lnTo>
                    <a:lnTo>
                      <a:pt x="52" y="624"/>
                    </a:lnTo>
                    <a:lnTo>
                      <a:pt x="103" y="720"/>
                    </a:lnTo>
                    <a:lnTo>
                      <a:pt x="123" y="720"/>
                    </a:lnTo>
                    <a:lnTo>
                      <a:pt x="157" y="705"/>
                    </a:lnTo>
                    <a:lnTo>
                      <a:pt x="157" y="735"/>
                    </a:lnTo>
                    <a:lnTo>
                      <a:pt x="157" y="753"/>
                    </a:lnTo>
                    <a:lnTo>
                      <a:pt x="174" y="768"/>
                    </a:lnTo>
                    <a:lnTo>
                      <a:pt x="226" y="768"/>
                    </a:lnTo>
                    <a:lnTo>
                      <a:pt x="244" y="783"/>
                    </a:lnTo>
                    <a:lnTo>
                      <a:pt x="244" y="768"/>
                    </a:lnTo>
                    <a:lnTo>
                      <a:pt x="278" y="768"/>
                    </a:lnTo>
                    <a:lnTo>
                      <a:pt x="278" y="801"/>
                    </a:lnTo>
                    <a:lnTo>
                      <a:pt x="278" y="831"/>
                    </a:lnTo>
                    <a:lnTo>
                      <a:pt x="192" y="897"/>
                    </a:lnTo>
                    <a:lnTo>
                      <a:pt x="140" y="912"/>
                    </a:lnTo>
                    <a:lnTo>
                      <a:pt x="123" y="927"/>
                    </a:lnTo>
                    <a:lnTo>
                      <a:pt x="69" y="960"/>
                    </a:lnTo>
                    <a:lnTo>
                      <a:pt x="86" y="975"/>
                    </a:lnTo>
                    <a:lnTo>
                      <a:pt x="174" y="927"/>
                    </a:lnTo>
                    <a:lnTo>
                      <a:pt x="244" y="897"/>
                    </a:lnTo>
                    <a:lnTo>
                      <a:pt x="261" y="879"/>
                    </a:lnTo>
                    <a:lnTo>
                      <a:pt x="295" y="849"/>
                    </a:lnTo>
                    <a:lnTo>
                      <a:pt x="382" y="783"/>
                    </a:lnTo>
                    <a:lnTo>
                      <a:pt x="399" y="768"/>
                    </a:lnTo>
                    <a:lnTo>
                      <a:pt x="364" y="753"/>
                    </a:lnTo>
                    <a:lnTo>
                      <a:pt x="382" y="735"/>
                    </a:lnTo>
                    <a:lnTo>
                      <a:pt x="416" y="705"/>
                    </a:lnTo>
                    <a:lnTo>
                      <a:pt x="416" y="672"/>
                    </a:lnTo>
                    <a:lnTo>
                      <a:pt x="468" y="639"/>
                    </a:lnTo>
                    <a:lnTo>
                      <a:pt x="485" y="639"/>
                    </a:lnTo>
                    <a:lnTo>
                      <a:pt x="468" y="657"/>
                    </a:lnTo>
                    <a:lnTo>
                      <a:pt x="451" y="672"/>
                    </a:lnTo>
                    <a:lnTo>
                      <a:pt x="434" y="720"/>
                    </a:lnTo>
                    <a:lnTo>
                      <a:pt x="451" y="735"/>
                    </a:lnTo>
                    <a:lnTo>
                      <a:pt x="434" y="753"/>
                    </a:lnTo>
                    <a:lnTo>
                      <a:pt x="451" y="753"/>
                    </a:lnTo>
                    <a:lnTo>
                      <a:pt x="503" y="720"/>
                    </a:lnTo>
                    <a:lnTo>
                      <a:pt x="520" y="720"/>
                    </a:lnTo>
                    <a:lnTo>
                      <a:pt x="537" y="687"/>
                    </a:lnTo>
                    <a:lnTo>
                      <a:pt x="520" y="657"/>
                    </a:lnTo>
                    <a:lnTo>
                      <a:pt x="572" y="672"/>
                    </a:lnTo>
                    <a:lnTo>
                      <a:pt x="641" y="705"/>
                    </a:lnTo>
                    <a:lnTo>
                      <a:pt x="693" y="705"/>
                    </a:lnTo>
                    <a:lnTo>
                      <a:pt x="745" y="720"/>
                    </a:lnTo>
                    <a:lnTo>
                      <a:pt x="762" y="720"/>
                    </a:lnTo>
                    <a:lnTo>
                      <a:pt x="762" y="735"/>
                    </a:lnTo>
                    <a:lnTo>
                      <a:pt x="848" y="801"/>
                    </a:lnTo>
                    <a:lnTo>
                      <a:pt x="900" y="897"/>
                    </a:lnTo>
                    <a:lnTo>
                      <a:pt x="883" y="816"/>
                    </a:lnTo>
                    <a:lnTo>
                      <a:pt x="866" y="801"/>
                    </a:lnTo>
                    <a:lnTo>
                      <a:pt x="883" y="801"/>
                    </a:lnTo>
                    <a:lnTo>
                      <a:pt x="883" y="768"/>
                    </a:lnTo>
                    <a:lnTo>
                      <a:pt x="900" y="849"/>
                    </a:lnTo>
                    <a:lnTo>
                      <a:pt x="917" y="831"/>
                    </a:lnTo>
                    <a:lnTo>
                      <a:pt x="952" y="864"/>
                    </a:lnTo>
                    <a:lnTo>
                      <a:pt x="917" y="849"/>
                    </a:lnTo>
                    <a:lnTo>
                      <a:pt x="917" y="864"/>
                    </a:lnTo>
                    <a:lnTo>
                      <a:pt x="917" y="897"/>
                    </a:lnTo>
                    <a:lnTo>
                      <a:pt x="935" y="879"/>
                    </a:lnTo>
                    <a:lnTo>
                      <a:pt x="935" y="912"/>
                    </a:lnTo>
                    <a:lnTo>
                      <a:pt x="971" y="960"/>
                    </a:lnTo>
                    <a:lnTo>
                      <a:pt x="971" y="927"/>
                    </a:lnTo>
                    <a:lnTo>
                      <a:pt x="952" y="897"/>
                    </a:lnTo>
                    <a:lnTo>
                      <a:pt x="971" y="897"/>
                    </a:lnTo>
                    <a:lnTo>
                      <a:pt x="971" y="912"/>
                    </a:lnTo>
                    <a:lnTo>
                      <a:pt x="988" y="945"/>
                    </a:lnTo>
                    <a:lnTo>
                      <a:pt x="1006" y="960"/>
                    </a:lnTo>
                    <a:lnTo>
                      <a:pt x="1023" y="945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7" name="Freeform 79">
                <a:extLst>
                  <a:ext uri="{FF2B5EF4-FFF2-40B4-BE49-F238E27FC236}">
                    <a16:creationId xmlns:a16="http://schemas.microsoft.com/office/drawing/2014/main" id="{4E21ADDE-1B42-4BFE-B1B5-3C9588800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3800" y="3896931"/>
                <a:ext cx="879707" cy="872666"/>
              </a:xfrm>
              <a:custGeom>
                <a:avLst/>
                <a:gdLst>
                  <a:gd name="T0" fmla="*/ 122917 w 1073"/>
                  <a:gd name="T1" fmla="*/ 6362 h 1022"/>
                  <a:gd name="T2" fmla="*/ 112607 w 1073"/>
                  <a:gd name="T3" fmla="*/ 12725 h 1022"/>
                  <a:gd name="T4" fmla="*/ 105470 w 1073"/>
                  <a:gd name="T5" fmla="*/ 12725 h 1022"/>
                  <a:gd name="T6" fmla="*/ 95161 w 1073"/>
                  <a:gd name="T7" fmla="*/ 15906 h 1022"/>
                  <a:gd name="T8" fmla="*/ 81680 w 1073"/>
                  <a:gd name="T9" fmla="*/ 19087 h 1022"/>
                  <a:gd name="T10" fmla="*/ 75336 w 1073"/>
                  <a:gd name="T11" fmla="*/ 12725 h 1022"/>
                  <a:gd name="T12" fmla="*/ 75336 w 1073"/>
                  <a:gd name="T13" fmla="*/ 0 h 1022"/>
                  <a:gd name="T14" fmla="*/ 68199 w 1073"/>
                  <a:gd name="T15" fmla="*/ 3181 h 1022"/>
                  <a:gd name="T16" fmla="*/ 47581 w 1073"/>
                  <a:gd name="T17" fmla="*/ 3181 h 1022"/>
                  <a:gd name="T18" fmla="*/ 50753 w 1073"/>
                  <a:gd name="T19" fmla="*/ 12725 h 1022"/>
                  <a:gd name="T20" fmla="*/ 44409 w 1073"/>
                  <a:gd name="T21" fmla="*/ 22268 h 1022"/>
                  <a:gd name="T22" fmla="*/ 37271 w 1073"/>
                  <a:gd name="T23" fmla="*/ 19087 h 1022"/>
                  <a:gd name="T24" fmla="*/ 19825 w 1073"/>
                  <a:gd name="T25" fmla="*/ 15906 h 1022"/>
                  <a:gd name="T26" fmla="*/ 23790 w 1073"/>
                  <a:gd name="T27" fmla="*/ 22268 h 1022"/>
                  <a:gd name="T28" fmla="*/ 23790 w 1073"/>
                  <a:gd name="T29" fmla="*/ 31812 h 1022"/>
                  <a:gd name="T30" fmla="*/ 6344 w 1073"/>
                  <a:gd name="T31" fmla="*/ 50899 h 1022"/>
                  <a:gd name="T32" fmla="*/ 3172 w 1073"/>
                  <a:gd name="T33" fmla="*/ 73168 h 1022"/>
                  <a:gd name="T34" fmla="*/ 16653 w 1073"/>
                  <a:gd name="T35" fmla="*/ 73168 h 1022"/>
                  <a:gd name="T36" fmla="*/ 23790 w 1073"/>
                  <a:gd name="T37" fmla="*/ 79530 h 1022"/>
                  <a:gd name="T38" fmla="*/ 37271 w 1073"/>
                  <a:gd name="T39" fmla="*/ 73168 h 1022"/>
                  <a:gd name="T40" fmla="*/ 44409 w 1073"/>
                  <a:gd name="T41" fmla="*/ 82712 h 1022"/>
                  <a:gd name="T42" fmla="*/ 68199 w 1073"/>
                  <a:gd name="T43" fmla="*/ 92255 h 1022"/>
                  <a:gd name="T44" fmla="*/ 71371 w 1073"/>
                  <a:gd name="T45" fmla="*/ 101799 h 1022"/>
                  <a:gd name="T46" fmla="*/ 81680 w 1073"/>
                  <a:gd name="T47" fmla="*/ 108161 h 1022"/>
                  <a:gd name="T48" fmla="*/ 84852 w 1073"/>
                  <a:gd name="T49" fmla="*/ 117705 h 1022"/>
                  <a:gd name="T50" fmla="*/ 84852 w 1073"/>
                  <a:gd name="T51" fmla="*/ 136792 h 1022"/>
                  <a:gd name="T52" fmla="*/ 99126 w 1073"/>
                  <a:gd name="T53" fmla="*/ 139973 h 1022"/>
                  <a:gd name="T54" fmla="*/ 105470 w 1073"/>
                  <a:gd name="T55" fmla="*/ 149517 h 1022"/>
                  <a:gd name="T56" fmla="*/ 105470 w 1073"/>
                  <a:gd name="T57" fmla="*/ 155879 h 1022"/>
                  <a:gd name="T58" fmla="*/ 102298 w 1073"/>
                  <a:gd name="T59" fmla="*/ 168604 h 1022"/>
                  <a:gd name="T60" fmla="*/ 91989 w 1073"/>
                  <a:gd name="T61" fmla="*/ 184510 h 1022"/>
                  <a:gd name="T62" fmla="*/ 99126 w 1073"/>
                  <a:gd name="T63" fmla="*/ 187692 h 1022"/>
                  <a:gd name="T64" fmla="*/ 112607 w 1073"/>
                  <a:gd name="T65" fmla="*/ 197235 h 1022"/>
                  <a:gd name="T66" fmla="*/ 115779 w 1073"/>
                  <a:gd name="T67" fmla="*/ 197235 h 1022"/>
                  <a:gd name="T68" fmla="*/ 130054 w 1073"/>
                  <a:gd name="T69" fmla="*/ 178148 h 1022"/>
                  <a:gd name="T70" fmla="*/ 137191 w 1073"/>
                  <a:gd name="T71" fmla="*/ 159061 h 1022"/>
                  <a:gd name="T72" fmla="*/ 147500 w 1073"/>
                  <a:gd name="T73" fmla="*/ 149517 h 1022"/>
                  <a:gd name="T74" fmla="*/ 171290 w 1073"/>
                  <a:gd name="T75" fmla="*/ 143155 h 1022"/>
                  <a:gd name="T76" fmla="*/ 178427 w 1073"/>
                  <a:gd name="T77" fmla="*/ 136792 h 1022"/>
                  <a:gd name="T78" fmla="*/ 184771 w 1073"/>
                  <a:gd name="T79" fmla="*/ 124067 h 1022"/>
                  <a:gd name="T80" fmla="*/ 188736 w 1073"/>
                  <a:gd name="T81" fmla="*/ 114524 h 1022"/>
                  <a:gd name="T82" fmla="*/ 205390 w 1073"/>
                  <a:gd name="T83" fmla="*/ 73168 h 1022"/>
                  <a:gd name="T84" fmla="*/ 208562 w 1073"/>
                  <a:gd name="T85" fmla="*/ 50899 h 1022"/>
                  <a:gd name="T86" fmla="*/ 181599 w 1073"/>
                  <a:gd name="T87" fmla="*/ 38175 h 1022"/>
                  <a:gd name="T88" fmla="*/ 164153 w 1073"/>
                  <a:gd name="T89" fmla="*/ 38175 h 1022"/>
                  <a:gd name="T90" fmla="*/ 157809 w 1073"/>
                  <a:gd name="T91" fmla="*/ 34993 h 1022"/>
                  <a:gd name="T92" fmla="*/ 153844 w 1073"/>
                  <a:gd name="T93" fmla="*/ 31812 h 1022"/>
                  <a:gd name="T94" fmla="*/ 137191 w 1073"/>
                  <a:gd name="T95" fmla="*/ 31812 h 1022"/>
                  <a:gd name="T96" fmla="*/ 133226 w 1073"/>
                  <a:gd name="T97" fmla="*/ 25450 h 1022"/>
                  <a:gd name="T98" fmla="*/ 126882 w 1073"/>
                  <a:gd name="T99" fmla="*/ 31812 h 1022"/>
                  <a:gd name="T100" fmla="*/ 119745 w 1073"/>
                  <a:gd name="T101" fmla="*/ 31812 h 1022"/>
                  <a:gd name="T102" fmla="*/ 130054 w 1073"/>
                  <a:gd name="T103" fmla="*/ 19087 h 1022"/>
                  <a:gd name="T104" fmla="*/ 126882 w 1073"/>
                  <a:gd name="T105" fmla="*/ 15906 h 102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073"/>
                  <a:gd name="T160" fmla="*/ 0 h 1022"/>
                  <a:gd name="T161" fmla="*/ 1073 w 1073"/>
                  <a:gd name="T162" fmla="*/ 1022 h 1022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073" h="1022">
                    <a:moveTo>
                      <a:pt x="623" y="30"/>
                    </a:moveTo>
                    <a:lnTo>
                      <a:pt x="623" y="30"/>
                    </a:lnTo>
                    <a:lnTo>
                      <a:pt x="606" y="30"/>
                    </a:lnTo>
                    <a:lnTo>
                      <a:pt x="570" y="63"/>
                    </a:lnTo>
                    <a:lnTo>
                      <a:pt x="552" y="78"/>
                    </a:lnTo>
                    <a:lnTo>
                      <a:pt x="535" y="63"/>
                    </a:lnTo>
                    <a:lnTo>
                      <a:pt x="501" y="63"/>
                    </a:lnTo>
                    <a:lnTo>
                      <a:pt x="483" y="78"/>
                    </a:lnTo>
                    <a:lnTo>
                      <a:pt x="466" y="78"/>
                    </a:lnTo>
                    <a:lnTo>
                      <a:pt x="414" y="96"/>
                    </a:lnTo>
                    <a:lnTo>
                      <a:pt x="397" y="96"/>
                    </a:lnTo>
                    <a:lnTo>
                      <a:pt x="380" y="63"/>
                    </a:lnTo>
                    <a:lnTo>
                      <a:pt x="380" y="15"/>
                    </a:lnTo>
                    <a:lnTo>
                      <a:pt x="380" y="0"/>
                    </a:lnTo>
                    <a:lnTo>
                      <a:pt x="362" y="0"/>
                    </a:lnTo>
                    <a:lnTo>
                      <a:pt x="345" y="15"/>
                    </a:lnTo>
                    <a:lnTo>
                      <a:pt x="293" y="30"/>
                    </a:lnTo>
                    <a:lnTo>
                      <a:pt x="241" y="15"/>
                    </a:lnTo>
                    <a:lnTo>
                      <a:pt x="259" y="30"/>
                    </a:lnTo>
                    <a:lnTo>
                      <a:pt x="259" y="63"/>
                    </a:lnTo>
                    <a:lnTo>
                      <a:pt x="276" y="78"/>
                    </a:lnTo>
                    <a:lnTo>
                      <a:pt x="224" y="111"/>
                    </a:lnTo>
                    <a:lnTo>
                      <a:pt x="207" y="111"/>
                    </a:lnTo>
                    <a:lnTo>
                      <a:pt x="190" y="96"/>
                    </a:lnTo>
                    <a:lnTo>
                      <a:pt x="172" y="78"/>
                    </a:lnTo>
                    <a:lnTo>
                      <a:pt x="103" y="78"/>
                    </a:lnTo>
                    <a:lnTo>
                      <a:pt x="103" y="96"/>
                    </a:lnTo>
                    <a:lnTo>
                      <a:pt x="120" y="111"/>
                    </a:lnTo>
                    <a:lnTo>
                      <a:pt x="103" y="111"/>
                    </a:lnTo>
                    <a:lnTo>
                      <a:pt x="120" y="159"/>
                    </a:lnTo>
                    <a:lnTo>
                      <a:pt x="103" y="222"/>
                    </a:lnTo>
                    <a:lnTo>
                      <a:pt x="34" y="255"/>
                    </a:lnTo>
                    <a:lnTo>
                      <a:pt x="0" y="318"/>
                    </a:lnTo>
                    <a:lnTo>
                      <a:pt x="17" y="366"/>
                    </a:lnTo>
                    <a:lnTo>
                      <a:pt x="51" y="383"/>
                    </a:lnTo>
                    <a:lnTo>
                      <a:pt x="86" y="366"/>
                    </a:lnTo>
                    <a:lnTo>
                      <a:pt x="86" y="399"/>
                    </a:lnTo>
                    <a:lnTo>
                      <a:pt x="120" y="399"/>
                    </a:lnTo>
                    <a:lnTo>
                      <a:pt x="155" y="399"/>
                    </a:lnTo>
                    <a:lnTo>
                      <a:pt x="190" y="366"/>
                    </a:lnTo>
                    <a:lnTo>
                      <a:pt x="224" y="366"/>
                    </a:lnTo>
                    <a:lnTo>
                      <a:pt x="224" y="414"/>
                    </a:lnTo>
                    <a:lnTo>
                      <a:pt x="241" y="431"/>
                    </a:lnTo>
                    <a:lnTo>
                      <a:pt x="345" y="462"/>
                    </a:lnTo>
                    <a:lnTo>
                      <a:pt x="362" y="495"/>
                    </a:lnTo>
                    <a:lnTo>
                      <a:pt x="362" y="510"/>
                    </a:lnTo>
                    <a:lnTo>
                      <a:pt x="380" y="543"/>
                    </a:lnTo>
                    <a:lnTo>
                      <a:pt x="414" y="543"/>
                    </a:lnTo>
                    <a:lnTo>
                      <a:pt x="414" y="558"/>
                    </a:lnTo>
                    <a:lnTo>
                      <a:pt x="431" y="591"/>
                    </a:lnTo>
                    <a:lnTo>
                      <a:pt x="431" y="639"/>
                    </a:lnTo>
                    <a:lnTo>
                      <a:pt x="431" y="687"/>
                    </a:lnTo>
                    <a:lnTo>
                      <a:pt x="483" y="702"/>
                    </a:lnTo>
                    <a:lnTo>
                      <a:pt x="501" y="702"/>
                    </a:lnTo>
                    <a:lnTo>
                      <a:pt x="501" y="735"/>
                    </a:lnTo>
                    <a:lnTo>
                      <a:pt x="535" y="750"/>
                    </a:lnTo>
                    <a:lnTo>
                      <a:pt x="518" y="783"/>
                    </a:lnTo>
                    <a:lnTo>
                      <a:pt x="535" y="783"/>
                    </a:lnTo>
                    <a:lnTo>
                      <a:pt x="552" y="830"/>
                    </a:lnTo>
                    <a:lnTo>
                      <a:pt x="518" y="846"/>
                    </a:lnTo>
                    <a:lnTo>
                      <a:pt x="449" y="926"/>
                    </a:lnTo>
                    <a:lnTo>
                      <a:pt x="466" y="926"/>
                    </a:lnTo>
                    <a:lnTo>
                      <a:pt x="483" y="942"/>
                    </a:lnTo>
                    <a:lnTo>
                      <a:pt x="501" y="942"/>
                    </a:lnTo>
                    <a:lnTo>
                      <a:pt x="552" y="974"/>
                    </a:lnTo>
                    <a:lnTo>
                      <a:pt x="570" y="990"/>
                    </a:lnTo>
                    <a:lnTo>
                      <a:pt x="552" y="1022"/>
                    </a:lnTo>
                    <a:lnTo>
                      <a:pt x="587" y="990"/>
                    </a:lnTo>
                    <a:lnTo>
                      <a:pt x="623" y="959"/>
                    </a:lnTo>
                    <a:lnTo>
                      <a:pt x="658" y="894"/>
                    </a:lnTo>
                    <a:lnTo>
                      <a:pt x="693" y="863"/>
                    </a:lnTo>
                    <a:lnTo>
                      <a:pt x="693" y="798"/>
                    </a:lnTo>
                    <a:lnTo>
                      <a:pt x="710" y="767"/>
                    </a:lnTo>
                    <a:lnTo>
                      <a:pt x="744" y="750"/>
                    </a:lnTo>
                    <a:lnTo>
                      <a:pt x="796" y="719"/>
                    </a:lnTo>
                    <a:lnTo>
                      <a:pt x="865" y="719"/>
                    </a:lnTo>
                    <a:lnTo>
                      <a:pt x="865" y="702"/>
                    </a:lnTo>
                    <a:lnTo>
                      <a:pt x="900" y="687"/>
                    </a:lnTo>
                    <a:lnTo>
                      <a:pt x="900" y="671"/>
                    </a:lnTo>
                    <a:lnTo>
                      <a:pt x="934" y="623"/>
                    </a:lnTo>
                    <a:lnTo>
                      <a:pt x="934" y="591"/>
                    </a:lnTo>
                    <a:lnTo>
                      <a:pt x="952" y="575"/>
                    </a:lnTo>
                    <a:lnTo>
                      <a:pt x="952" y="462"/>
                    </a:lnTo>
                    <a:lnTo>
                      <a:pt x="1038" y="366"/>
                    </a:lnTo>
                    <a:lnTo>
                      <a:pt x="1073" y="318"/>
                    </a:lnTo>
                    <a:lnTo>
                      <a:pt x="1055" y="255"/>
                    </a:lnTo>
                    <a:lnTo>
                      <a:pt x="1004" y="255"/>
                    </a:lnTo>
                    <a:lnTo>
                      <a:pt x="917" y="191"/>
                    </a:lnTo>
                    <a:lnTo>
                      <a:pt x="883" y="207"/>
                    </a:lnTo>
                    <a:lnTo>
                      <a:pt x="831" y="191"/>
                    </a:lnTo>
                    <a:lnTo>
                      <a:pt x="796" y="191"/>
                    </a:lnTo>
                    <a:lnTo>
                      <a:pt x="796" y="174"/>
                    </a:lnTo>
                    <a:lnTo>
                      <a:pt x="796" y="159"/>
                    </a:lnTo>
                    <a:lnTo>
                      <a:pt x="779" y="159"/>
                    </a:lnTo>
                    <a:lnTo>
                      <a:pt x="710" y="144"/>
                    </a:lnTo>
                    <a:lnTo>
                      <a:pt x="693" y="159"/>
                    </a:lnTo>
                    <a:lnTo>
                      <a:pt x="693" y="126"/>
                    </a:lnTo>
                    <a:lnTo>
                      <a:pt x="675" y="126"/>
                    </a:lnTo>
                    <a:lnTo>
                      <a:pt x="641" y="126"/>
                    </a:lnTo>
                    <a:lnTo>
                      <a:pt x="641" y="159"/>
                    </a:lnTo>
                    <a:lnTo>
                      <a:pt x="623" y="144"/>
                    </a:lnTo>
                    <a:lnTo>
                      <a:pt x="606" y="159"/>
                    </a:lnTo>
                    <a:lnTo>
                      <a:pt x="623" y="126"/>
                    </a:lnTo>
                    <a:lnTo>
                      <a:pt x="658" y="96"/>
                    </a:lnTo>
                    <a:lnTo>
                      <a:pt x="658" y="78"/>
                    </a:lnTo>
                    <a:lnTo>
                      <a:pt x="641" y="78"/>
                    </a:lnTo>
                    <a:lnTo>
                      <a:pt x="623" y="3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8" name="Freeform 84">
                <a:extLst>
                  <a:ext uri="{FF2B5EF4-FFF2-40B4-BE49-F238E27FC236}">
                    <a16:creationId xmlns:a16="http://schemas.microsoft.com/office/drawing/2014/main" id="{5D374AE1-DCB3-423E-8D12-433AFC974F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7107" y="3261181"/>
                <a:ext cx="667987" cy="422696"/>
              </a:xfrm>
              <a:custGeom>
                <a:avLst/>
                <a:gdLst>
                  <a:gd name="T0" fmla="*/ 107156 w 814"/>
                  <a:gd name="T1" fmla="*/ 38023 h 497"/>
                  <a:gd name="T2" fmla="*/ 103188 w 814"/>
                  <a:gd name="T3" fmla="*/ 57035 h 497"/>
                  <a:gd name="T4" fmla="*/ 107156 w 814"/>
                  <a:gd name="T5" fmla="*/ 63372 h 497"/>
                  <a:gd name="T6" fmla="*/ 123825 w 814"/>
                  <a:gd name="T7" fmla="*/ 79215 h 497"/>
                  <a:gd name="T8" fmla="*/ 141288 w 814"/>
                  <a:gd name="T9" fmla="*/ 76047 h 497"/>
                  <a:gd name="T10" fmla="*/ 141288 w 814"/>
                  <a:gd name="T11" fmla="*/ 72878 h 497"/>
                  <a:gd name="T12" fmla="*/ 148431 w 814"/>
                  <a:gd name="T13" fmla="*/ 63372 h 497"/>
                  <a:gd name="T14" fmla="*/ 161925 w 814"/>
                  <a:gd name="T15" fmla="*/ 63372 h 497"/>
                  <a:gd name="T16" fmla="*/ 157956 w 814"/>
                  <a:gd name="T17" fmla="*/ 79215 h 497"/>
                  <a:gd name="T18" fmla="*/ 151606 w 814"/>
                  <a:gd name="T19" fmla="*/ 79215 h 497"/>
                  <a:gd name="T20" fmla="*/ 138113 w 814"/>
                  <a:gd name="T21" fmla="*/ 82384 h 497"/>
                  <a:gd name="T22" fmla="*/ 138113 w 814"/>
                  <a:gd name="T23" fmla="*/ 88721 h 497"/>
                  <a:gd name="T24" fmla="*/ 123825 w 814"/>
                  <a:gd name="T25" fmla="*/ 88721 h 497"/>
                  <a:gd name="T26" fmla="*/ 113506 w 814"/>
                  <a:gd name="T27" fmla="*/ 91890 h 497"/>
                  <a:gd name="T28" fmla="*/ 85725 w 814"/>
                  <a:gd name="T29" fmla="*/ 82384 h 497"/>
                  <a:gd name="T30" fmla="*/ 73025 w 814"/>
                  <a:gd name="T31" fmla="*/ 79215 h 497"/>
                  <a:gd name="T32" fmla="*/ 62706 w 814"/>
                  <a:gd name="T33" fmla="*/ 66541 h 497"/>
                  <a:gd name="T34" fmla="*/ 62706 w 814"/>
                  <a:gd name="T35" fmla="*/ 57035 h 497"/>
                  <a:gd name="T36" fmla="*/ 40481 w 814"/>
                  <a:gd name="T37" fmla="*/ 38023 h 497"/>
                  <a:gd name="T38" fmla="*/ 34925 w 814"/>
                  <a:gd name="T39" fmla="*/ 28518 h 497"/>
                  <a:gd name="T40" fmla="*/ 30956 w 814"/>
                  <a:gd name="T41" fmla="*/ 25349 h 497"/>
                  <a:gd name="T42" fmla="*/ 19844 w 814"/>
                  <a:gd name="T43" fmla="*/ 6337 h 497"/>
                  <a:gd name="T44" fmla="*/ 10319 w 814"/>
                  <a:gd name="T45" fmla="*/ 3169 h 497"/>
                  <a:gd name="T46" fmla="*/ 30956 w 814"/>
                  <a:gd name="T47" fmla="*/ 34855 h 497"/>
                  <a:gd name="T48" fmla="*/ 38100 w 814"/>
                  <a:gd name="T49" fmla="*/ 47529 h 497"/>
                  <a:gd name="T50" fmla="*/ 38100 w 814"/>
                  <a:gd name="T51" fmla="*/ 53866 h 497"/>
                  <a:gd name="T52" fmla="*/ 23813 w 814"/>
                  <a:gd name="T53" fmla="*/ 44361 h 497"/>
                  <a:gd name="T54" fmla="*/ 23813 w 814"/>
                  <a:gd name="T55" fmla="*/ 34855 h 497"/>
                  <a:gd name="T56" fmla="*/ 10319 w 814"/>
                  <a:gd name="T57" fmla="*/ 25349 h 497"/>
                  <a:gd name="T58" fmla="*/ 17463 w 814"/>
                  <a:gd name="T59" fmla="*/ 22180 h 497"/>
                  <a:gd name="T60" fmla="*/ 0 w 814"/>
                  <a:gd name="T61" fmla="*/ 0 h 497"/>
                  <a:gd name="T62" fmla="*/ 30956 w 814"/>
                  <a:gd name="T63" fmla="*/ 6337 h 497"/>
                  <a:gd name="T64" fmla="*/ 65881 w 814"/>
                  <a:gd name="T65" fmla="*/ 9506 h 497"/>
                  <a:gd name="T66" fmla="*/ 73025 w 814"/>
                  <a:gd name="T67" fmla="*/ 19012 h 497"/>
                  <a:gd name="T68" fmla="*/ 79375 w 814"/>
                  <a:gd name="T69" fmla="*/ 15843 h 497"/>
                  <a:gd name="T70" fmla="*/ 96044 w 814"/>
                  <a:gd name="T71" fmla="*/ 34855 h 497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814"/>
                  <a:gd name="T109" fmla="*/ 0 h 497"/>
                  <a:gd name="T110" fmla="*/ 814 w 814"/>
                  <a:gd name="T111" fmla="*/ 497 h 497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814" h="497">
                    <a:moveTo>
                      <a:pt x="537" y="192"/>
                    </a:moveTo>
                    <a:lnTo>
                      <a:pt x="537" y="192"/>
                    </a:lnTo>
                    <a:lnTo>
                      <a:pt x="520" y="224"/>
                    </a:lnTo>
                    <a:lnTo>
                      <a:pt x="520" y="288"/>
                    </a:lnTo>
                    <a:lnTo>
                      <a:pt x="537" y="305"/>
                    </a:lnTo>
                    <a:lnTo>
                      <a:pt x="537" y="320"/>
                    </a:lnTo>
                    <a:lnTo>
                      <a:pt x="572" y="384"/>
                    </a:lnTo>
                    <a:lnTo>
                      <a:pt x="624" y="401"/>
                    </a:lnTo>
                    <a:lnTo>
                      <a:pt x="676" y="384"/>
                    </a:lnTo>
                    <a:lnTo>
                      <a:pt x="710" y="384"/>
                    </a:lnTo>
                    <a:lnTo>
                      <a:pt x="693" y="384"/>
                    </a:lnTo>
                    <a:lnTo>
                      <a:pt x="710" y="368"/>
                    </a:lnTo>
                    <a:lnTo>
                      <a:pt x="727" y="320"/>
                    </a:lnTo>
                    <a:lnTo>
                      <a:pt x="745" y="320"/>
                    </a:lnTo>
                    <a:lnTo>
                      <a:pt x="796" y="305"/>
                    </a:lnTo>
                    <a:lnTo>
                      <a:pt x="814" y="320"/>
                    </a:lnTo>
                    <a:lnTo>
                      <a:pt x="796" y="384"/>
                    </a:lnTo>
                    <a:lnTo>
                      <a:pt x="796" y="401"/>
                    </a:lnTo>
                    <a:lnTo>
                      <a:pt x="779" y="384"/>
                    </a:lnTo>
                    <a:lnTo>
                      <a:pt x="762" y="401"/>
                    </a:lnTo>
                    <a:lnTo>
                      <a:pt x="710" y="401"/>
                    </a:lnTo>
                    <a:lnTo>
                      <a:pt x="693" y="416"/>
                    </a:lnTo>
                    <a:lnTo>
                      <a:pt x="727" y="449"/>
                    </a:lnTo>
                    <a:lnTo>
                      <a:pt x="693" y="449"/>
                    </a:lnTo>
                    <a:lnTo>
                      <a:pt x="676" y="497"/>
                    </a:lnTo>
                    <a:lnTo>
                      <a:pt x="624" y="449"/>
                    </a:lnTo>
                    <a:lnTo>
                      <a:pt x="589" y="449"/>
                    </a:lnTo>
                    <a:lnTo>
                      <a:pt x="572" y="464"/>
                    </a:lnTo>
                    <a:lnTo>
                      <a:pt x="520" y="449"/>
                    </a:lnTo>
                    <a:lnTo>
                      <a:pt x="434" y="416"/>
                    </a:lnTo>
                    <a:lnTo>
                      <a:pt x="416" y="401"/>
                    </a:lnTo>
                    <a:lnTo>
                      <a:pt x="365" y="401"/>
                    </a:lnTo>
                    <a:lnTo>
                      <a:pt x="330" y="368"/>
                    </a:lnTo>
                    <a:lnTo>
                      <a:pt x="313" y="336"/>
                    </a:lnTo>
                    <a:lnTo>
                      <a:pt x="330" y="320"/>
                    </a:lnTo>
                    <a:lnTo>
                      <a:pt x="313" y="288"/>
                    </a:lnTo>
                    <a:lnTo>
                      <a:pt x="244" y="209"/>
                    </a:lnTo>
                    <a:lnTo>
                      <a:pt x="207" y="192"/>
                    </a:lnTo>
                    <a:lnTo>
                      <a:pt x="207" y="176"/>
                    </a:lnTo>
                    <a:lnTo>
                      <a:pt x="173" y="144"/>
                    </a:lnTo>
                    <a:lnTo>
                      <a:pt x="173" y="128"/>
                    </a:lnTo>
                    <a:lnTo>
                      <a:pt x="155" y="128"/>
                    </a:lnTo>
                    <a:lnTo>
                      <a:pt x="138" y="96"/>
                    </a:lnTo>
                    <a:lnTo>
                      <a:pt x="103" y="32"/>
                    </a:lnTo>
                    <a:lnTo>
                      <a:pt x="86" y="32"/>
                    </a:lnTo>
                    <a:lnTo>
                      <a:pt x="52" y="17"/>
                    </a:lnTo>
                    <a:lnTo>
                      <a:pt x="69" y="65"/>
                    </a:lnTo>
                    <a:lnTo>
                      <a:pt x="155" y="176"/>
                    </a:lnTo>
                    <a:lnTo>
                      <a:pt x="173" y="240"/>
                    </a:lnTo>
                    <a:lnTo>
                      <a:pt x="190" y="240"/>
                    </a:lnTo>
                    <a:lnTo>
                      <a:pt x="207" y="257"/>
                    </a:lnTo>
                    <a:lnTo>
                      <a:pt x="190" y="272"/>
                    </a:lnTo>
                    <a:lnTo>
                      <a:pt x="173" y="257"/>
                    </a:lnTo>
                    <a:lnTo>
                      <a:pt x="121" y="224"/>
                    </a:lnTo>
                    <a:lnTo>
                      <a:pt x="138" y="209"/>
                    </a:lnTo>
                    <a:lnTo>
                      <a:pt x="121" y="176"/>
                    </a:lnTo>
                    <a:lnTo>
                      <a:pt x="69" y="161"/>
                    </a:lnTo>
                    <a:lnTo>
                      <a:pt x="52" y="128"/>
                    </a:lnTo>
                    <a:lnTo>
                      <a:pt x="69" y="144"/>
                    </a:lnTo>
                    <a:lnTo>
                      <a:pt x="86" y="113"/>
                    </a:lnTo>
                    <a:lnTo>
                      <a:pt x="34" y="80"/>
                    </a:lnTo>
                    <a:lnTo>
                      <a:pt x="0" y="0"/>
                    </a:lnTo>
                    <a:lnTo>
                      <a:pt x="52" y="0"/>
                    </a:lnTo>
                    <a:lnTo>
                      <a:pt x="155" y="32"/>
                    </a:lnTo>
                    <a:lnTo>
                      <a:pt x="295" y="17"/>
                    </a:lnTo>
                    <a:lnTo>
                      <a:pt x="330" y="48"/>
                    </a:lnTo>
                    <a:lnTo>
                      <a:pt x="330" y="80"/>
                    </a:lnTo>
                    <a:lnTo>
                      <a:pt x="365" y="96"/>
                    </a:lnTo>
                    <a:lnTo>
                      <a:pt x="382" y="96"/>
                    </a:lnTo>
                    <a:lnTo>
                      <a:pt x="399" y="80"/>
                    </a:lnTo>
                    <a:lnTo>
                      <a:pt x="416" y="80"/>
                    </a:lnTo>
                    <a:lnTo>
                      <a:pt x="485" y="176"/>
                    </a:lnTo>
                    <a:lnTo>
                      <a:pt x="537" y="19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94" name="Freeform 85">
              <a:extLst>
                <a:ext uri="{FF2B5EF4-FFF2-40B4-BE49-F238E27FC236}">
                  <a16:creationId xmlns:a16="http://schemas.microsoft.com/office/drawing/2014/main" id="{741471C7-B68E-423D-A926-DA206F950F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8077" y="4024836"/>
              <a:ext cx="99046" cy="110772"/>
            </a:xfrm>
            <a:custGeom>
              <a:avLst/>
              <a:gdLst>
                <a:gd name="T0" fmla="*/ 17632 w 103"/>
                <a:gd name="T1" fmla="*/ 9611 h 111"/>
                <a:gd name="T2" fmla="*/ 17632 w 103"/>
                <a:gd name="T3" fmla="*/ 9611 h 111"/>
                <a:gd name="T4" fmla="*/ 20838 w 103"/>
                <a:gd name="T5" fmla="*/ 12814 h 111"/>
                <a:gd name="T6" fmla="*/ 14426 w 103"/>
                <a:gd name="T7" fmla="*/ 19222 h 111"/>
                <a:gd name="T8" fmla="*/ 10419 w 103"/>
                <a:gd name="T9" fmla="*/ 22425 h 111"/>
                <a:gd name="T10" fmla="*/ 0 w 103"/>
                <a:gd name="T11" fmla="*/ 19222 h 111"/>
                <a:gd name="T12" fmla="*/ 4007 w 103"/>
                <a:gd name="T13" fmla="*/ 9611 h 111"/>
                <a:gd name="T14" fmla="*/ 10419 w 103"/>
                <a:gd name="T15" fmla="*/ 9611 h 111"/>
                <a:gd name="T16" fmla="*/ 4007 w 103"/>
                <a:gd name="T17" fmla="*/ 3204 h 111"/>
                <a:gd name="T18" fmla="*/ 7213 w 103"/>
                <a:gd name="T19" fmla="*/ 0 h 111"/>
                <a:gd name="T20" fmla="*/ 17632 w 103"/>
                <a:gd name="T21" fmla="*/ 0 h 111"/>
                <a:gd name="T22" fmla="*/ 17632 w 103"/>
                <a:gd name="T23" fmla="*/ 9611 h 1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3"/>
                <a:gd name="T37" fmla="*/ 0 h 111"/>
                <a:gd name="T38" fmla="*/ 103 w 103"/>
                <a:gd name="T39" fmla="*/ 111 h 1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3" h="111">
                  <a:moveTo>
                    <a:pt x="86" y="48"/>
                  </a:moveTo>
                  <a:lnTo>
                    <a:pt x="86" y="48"/>
                  </a:lnTo>
                  <a:lnTo>
                    <a:pt x="103" y="63"/>
                  </a:lnTo>
                  <a:lnTo>
                    <a:pt x="69" y="96"/>
                  </a:lnTo>
                  <a:lnTo>
                    <a:pt x="51" y="111"/>
                  </a:lnTo>
                  <a:lnTo>
                    <a:pt x="0" y="96"/>
                  </a:lnTo>
                  <a:lnTo>
                    <a:pt x="17" y="48"/>
                  </a:lnTo>
                  <a:lnTo>
                    <a:pt x="51" y="48"/>
                  </a:lnTo>
                  <a:lnTo>
                    <a:pt x="17" y="15"/>
                  </a:lnTo>
                  <a:lnTo>
                    <a:pt x="34" y="0"/>
                  </a:lnTo>
                  <a:lnTo>
                    <a:pt x="86" y="0"/>
                  </a:lnTo>
                  <a:lnTo>
                    <a:pt x="86" y="48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95" name="Freeform 86">
              <a:extLst>
                <a:ext uri="{FF2B5EF4-FFF2-40B4-BE49-F238E27FC236}">
                  <a16:creationId xmlns:a16="http://schemas.microsoft.com/office/drawing/2014/main" id="{51D91E2C-DEAF-4F7B-909E-646FC71EA2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6649" y="4088134"/>
              <a:ext cx="161904" cy="63299"/>
            </a:xfrm>
            <a:custGeom>
              <a:avLst/>
              <a:gdLst>
                <a:gd name="T0" fmla="*/ 7144 w 170"/>
                <a:gd name="T1" fmla="*/ 0 h 63"/>
                <a:gd name="T2" fmla="*/ 7144 w 170"/>
                <a:gd name="T3" fmla="*/ 0 h 63"/>
                <a:gd name="T4" fmla="*/ 23019 w 170"/>
                <a:gd name="T5" fmla="*/ 0 h 63"/>
                <a:gd name="T6" fmla="*/ 34131 w 170"/>
                <a:gd name="T7" fmla="*/ 3225 h 63"/>
                <a:gd name="T8" fmla="*/ 26988 w 170"/>
                <a:gd name="T9" fmla="*/ 7257 h 63"/>
                <a:gd name="T10" fmla="*/ 14288 w 170"/>
                <a:gd name="T11" fmla="*/ 12902 h 63"/>
                <a:gd name="T12" fmla="*/ 9525 w 170"/>
                <a:gd name="T13" fmla="*/ 12902 h 63"/>
                <a:gd name="T14" fmla="*/ 9525 w 170"/>
                <a:gd name="T15" fmla="*/ 9676 h 63"/>
                <a:gd name="T16" fmla="*/ 0 w 170"/>
                <a:gd name="T17" fmla="*/ 7257 h 63"/>
                <a:gd name="T18" fmla="*/ 7144 w 170"/>
                <a:gd name="T19" fmla="*/ 0 h 6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0"/>
                <a:gd name="T31" fmla="*/ 0 h 63"/>
                <a:gd name="T32" fmla="*/ 170 w 170"/>
                <a:gd name="T33" fmla="*/ 63 h 6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0" h="63">
                  <a:moveTo>
                    <a:pt x="34" y="0"/>
                  </a:moveTo>
                  <a:lnTo>
                    <a:pt x="34" y="0"/>
                  </a:lnTo>
                  <a:lnTo>
                    <a:pt x="119" y="0"/>
                  </a:lnTo>
                  <a:lnTo>
                    <a:pt x="170" y="15"/>
                  </a:lnTo>
                  <a:lnTo>
                    <a:pt x="136" y="33"/>
                  </a:lnTo>
                  <a:lnTo>
                    <a:pt x="69" y="63"/>
                  </a:lnTo>
                  <a:lnTo>
                    <a:pt x="51" y="63"/>
                  </a:lnTo>
                  <a:lnTo>
                    <a:pt x="51" y="48"/>
                  </a:lnTo>
                  <a:lnTo>
                    <a:pt x="0" y="33"/>
                  </a:lnTo>
                  <a:lnTo>
                    <a:pt x="34" y="0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96" name="Freeform 87">
              <a:extLst>
                <a:ext uri="{FF2B5EF4-FFF2-40B4-BE49-F238E27FC236}">
                  <a16:creationId xmlns:a16="http://schemas.microsoft.com/office/drawing/2014/main" id="{D89B08A1-2BFB-4B1F-861F-E20B9BE15B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7602" y="4119783"/>
              <a:ext cx="68570" cy="31649"/>
            </a:xfrm>
            <a:custGeom>
              <a:avLst/>
              <a:gdLst>
                <a:gd name="T0" fmla="*/ 4025 w 71"/>
                <a:gd name="T1" fmla="*/ 0 h 30"/>
                <a:gd name="T2" fmla="*/ 4025 w 71"/>
                <a:gd name="T3" fmla="*/ 0 h 30"/>
                <a:gd name="T4" fmla="*/ 0 w 71"/>
                <a:gd name="T5" fmla="*/ 3387 h 30"/>
                <a:gd name="T6" fmla="*/ 4025 w 71"/>
                <a:gd name="T7" fmla="*/ 7620 h 30"/>
                <a:gd name="T8" fmla="*/ 14489 w 71"/>
                <a:gd name="T9" fmla="*/ 7620 h 30"/>
                <a:gd name="T10" fmla="*/ 14489 w 71"/>
                <a:gd name="T11" fmla="*/ 3387 h 30"/>
                <a:gd name="T12" fmla="*/ 4025 w 71"/>
                <a:gd name="T13" fmla="*/ 0 h 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1"/>
                <a:gd name="T22" fmla="*/ 0 h 30"/>
                <a:gd name="T23" fmla="*/ 71 w 71"/>
                <a:gd name="T24" fmla="*/ 30 h 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1" h="30">
                  <a:moveTo>
                    <a:pt x="20" y="0"/>
                  </a:moveTo>
                  <a:lnTo>
                    <a:pt x="20" y="0"/>
                  </a:lnTo>
                  <a:lnTo>
                    <a:pt x="0" y="15"/>
                  </a:lnTo>
                  <a:lnTo>
                    <a:pt x="20" y="30"/>
                  </a:lnTo>
                  <a:lnTo>
                    <a:pt x="71" y="30"/>
                  </a:lnTo>
                  <a:lnTo>
                    <a:pt x="71" y="15"/>
                  </a:lnTo>
                  <a:lnTo>
                    <a:pt x="20" y="0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97" name="Freeform 88">
              <a:extLst>
                <a:ext uri="{FF2B5EF4-FFF2-40B4-BE49-F238E27FC236}">
                  <a16:creationId xmlns:a16="http://schemas.microsoft.com/office/drawing/2014/main" id="{FDC3417D-C6DC-4844-A8ED-4198403743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506" y="4103959"/>
              <a:ext cx="99046" cy="110772"/>
            </a:xfrm>
            <a:custGeom>
              <a:avLst/>
              <a:gdLst>
                <a:gd name="T0" fmla="*/ 20838 w 103"/>
                <a:gd name="T1" fmla="*/ 0 h 114"/>
                <a:gd name="T2" fmla="*/ 20838 w 103"/>
                <a:gd name="T3" fmla="*/ 0 h 114"/>
                <a:gd name="T4" fmla="*/ 20838 w 103"/>
                <a:gd name="T5" fmla="*/ 3119 h 114"/>
                <a:gd name="T6" fmla="*/ 17632 w 103"/>
                <a:gd name="T7" fmla="*/ 17936 h 114"/>
                <a:gd name="T8" fmla="*/ 20838 w 103"/>
                <a:gd name="T9" fmla="*/ 21835 h 114"/>
                <a:gd name="T10" fmla="*/ 17632 w 103"/>
                <a:gd name="T11" fmla="*/ 21835 h 114"/>
                <a:gd name="T12" fmla="*/ 7213 w 103"/>
                <a:gd name="T13" fmla="*/ 17936 h 114"/>
                <a:gd name="T14" fmla="*/ 0 w 103"/>
                <a:gd name="T15" fmla="*/ 12477 h 114"/>
                <a:gd name="T16" fmla="*/ 0 w 103"/>
                <a:gd name="T17" fmla="*/ 9358 h 114"/>
                <a:gd name="T18" fmla="*/ 14426 w 103"/>
                <a:gd name="T19" fmla="*/ 3119 h 114"/>
                <a:gd name="T20" fmla="*/ 20838 w 103"/>
                <a:gd name="T21" fmla="*/ 0 h 11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3"/>
                <a:gd name="T34" fmla="*/ 0 h 114"/>
                <a:gd name="T35" fmla="*/ 103 w 103"/>
                <a:gd name="T36" fmla="*/ 114 h 11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3" h="114">
                  <a:moveTo>
                    <a:pt x="103" y="0"/>
                  </a:moveTo>
                  <a:lnTo>
                    <a:pt x="103" y="0"/>
                  </a:lnTo>
                  <a:lnTo>
                    <a:pt x="103" y="18"/>
                  </a:lnTo>
                  <a:lnTo>
                    <a:pt x="86" y="96"/>
                  </a:lnTo>
                  <a:lnTo>
                    <a:pt x="103" y="114"/>
                  </a:lnTo>
                  <a:lnTo>
                    <a:pt x="86" y="114"/>
                  </a:lnTo>
                  <a:lnTo>
                    <a:pt x="34" y="96"/>
                  </a:lnTo>
                  <a:lnTo>
                    <a:pt x="0" y="66"/>
                  </a:lnTo>
                  <a:lnTo>
                    <a:pt x="0" y="48"/>
                  </a:lnTo>
                  <a:lnTo>
                    <a:pt x="69" y="18"/>
                  </a:lnTo>
                  <a:lnTo>
                    <a:pt x="103" y="0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98" name="Freeform 89">
              <a:extLst>
                <a:ext uri="{FF2B5EF4-FFF2-40B4-BE49-F238E27FC236}">
                  <a16:creationId xmlns:a16="http://schemas.microsoft.com/office/drawing/2014/main" id="{EA8D7025-3B56-483C-A1A6-E183B8A61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5695" y="4198906"/>
              <a:ext cx="81905" cy="79123"/>
            </a:xfrm>
            <a:custGeom>
              <a:avLst/>
              <a:gdLst>
                <a:gd name="T0" fmla="*/ 16477 w 87"/>
                <a:gd name="T1" fmla="*/ 15679 h 81"/>
                <a:gd name="T2" fmla="*/ 16477 w 87"/>
                <a:gd name="T3" fmla="*/ 15679 h 81"/>
                <a:gd name="T4" fmla="*/ 16477 w 87"/>
                <a:gd name="T5" fmla="*/ 9407 h 81"/>
                <a:gd name="T6" fmla="*/ 13339 w 87"/>
                <a:gd name="T7" fmla="*/ 6272 h 81"/>
                <a:gd name="T8" fmla="*/ 13339 w 87"/>
                <a:gd name="T9" fmla="*/ 3136 h 81"/>
                <a:gd name="T10" fmla="*/ 10200 w 87"/>
                <a:gd name="T11" fmla="*/ 3136 h 81"/>
                <a:gd name="T12" fmla="*/ 0 w 87"/>
                <a:gd name="T13" fmla="*/ 0 h 81"/>
                <a:gd name="T14" fmla="*/ 0 w 87"/>
                <a:gd name="T15" fmla="*/ 6272 h 81"/>
                <a:gd name="T16" fmla="*/ 3139 w 87"/>
                <a:gd name="T17" fmla="*/ 9407 h 81"/>
                <a:gd name="T18" fmla="*/ 6277 w 87"/>
                <a:gd name="T19" fmla="*/ 6272 h 81"/>
                <a:gd name="T20" fmla="*/ 10200 w 87"/>
                <a:gd name="T21" fmla="*/ 12543 h 81"/>
                <a:gd name="T22" fmla="*/ 16477 w 87"/>
                <a:gd name="T23" fmla="*/ 15679 h 8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7"/>
                <a:gd name="T37" fmla="*/ 0 h 81"/>
                <a:gd name="T38" fmla="*/ 87 w 87"/>
                <a:gd name="T39" fmla="*/ 81 h 8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7" h="81">
                  <a:moveTo>
                    <a:pt x="87" y="81"/>
                  </a:moveTo>
                  <a:lnTo>
                    <a:pt x="87" y="81"/>
                  </a:lnTo>
                  <a:lnTo>
                    <a:pt x="87" y="48"/>
                  </a:lnTo>
                  <a:lnTo>
                    <a:pt x="69" y="33"/>
                  </a:lnTo>
                  <a:lnTo>
                    <a:pt x="69" y="18"/>
                  </a:lnTo>
                  <a:lnTo>
                    <a:pt x="52" y="18"/>
                  </a:lnTo>
                  <a:lnTo>
                    <a:pt x="0" y="0"/>
                  </a:lnTo>
                  <a:lnTo>
                    <a:pt x="0" y="33"/>
                  </a:lnTo>
                  <a:lnTo>
                    <a:pt x="18" y="48"/>
                  </a:lnTo>
                  <a:lnTo>
                    <a:pt x="35" y="33"/>
                  </a:lnTo>
                  <a:lnTo>
                    <a:pt x="52" y="66"/>
                  </a:lnTo>
                  <a:lnTo>
                    <a:pt x="87" y="81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99" name="Freeform 90">
              <a:extLst>
                <a:ext uri="{FF2B5EF4-FFF2-40B4-BE49-F238E27FC236}">
                  <a16:creationId xmlns:a16="http://schemas.microsoft.com/office/drawing/2014/main" id="{D0C76B47-5975-4769-AFA5-BDC8A509C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7601" y="4246381"/>
              <a:ext cx="79998" cy="63299"/>
            </a:xfrm>
            <a:custGeom>
              <a:avLst/>
              <a:gdLst>
                <a:gd name="T0" fmla="*/ 0 w 84"/>
                <a:gd name="T1" fmla="*/ 6158 h 66"/>
                <a:gd name="T2" fmla="*/ 0 w 84"/>
                <a:gd name="T3" fmla="*/ 6158 h 66"/>
                <a:gd name="T4" fmla="*/ 9525 w 84"/>
                <a:gd name="T5" fmla="*/ 8467 h 66"/>
                <a:gd name="T6" fmla="*/ 9525 w 84"/>
                <a:gd name="T7" fmla="*/ 12315 h 66"/>
                <a:gd name="T8" fmla="*/ 14288 w 84"/>
                <a:gd name="T9" fmla="*/ 8467 h 66"/>
                <a:gd name="T10" fmla="*/ 9525 w 84"/>
                <a:gd name="T11" fmla="*/ 6158 h 66"/>
                <a:gd name="T12" fmla="*/ 16669 w 84"/>
                <a:gd name="T13" fmla="*/ 3079 h 66"/>
                <a:gd name="T14" fmla="*/ 14288 w 84"/>
                <a:gd name="T15" fmla="*/ 0 h 66"/>
                <a:gd name="T16" fmla="*/ 7144 w 84"/>
                <a:gd name="T17" fmla="*/ 3079 h 66"/>
                <a:gd name="T18" fmla="*/ 3969 w 84"/>
                <a:gd name="T19" fmla="*/ 3079 h 66"/>
                <a:gd name="T20" fmla="*/ 0 w 84"/>
                <a:gd name="T21" fmla="*/ 0 h 66"/>
                <a:gd name="T22" fmla="*/ 0 w 84"/>
                <a:gd name="T23" fmla="*/ 6158 h 6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4"/>
                <a:gd name="T37" fmla="*/ 0 h 66"/>
                <a:gd name="T38" fmla="*/ 84 w 84"/>
                <a:gd name="T39" fmla="*/ 66 h 6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4" h="66">
                  <a:moveTo>
                    <a:pt x="0" y="33"/>
                  </a:moveTo>
                  <a:lnTo>
                    <a:pt x="0" y="33"/>
                  </a:lnTo>
                  <a:lnTo>
                    <a:pt x="51" y="48"/>
                  </a:lnTo>
                  <a:lnTo>
                    <a:pt x="51" y="66"/>
                  </a:lnTo>
                  <a:lnTo>
                    <a:pt x="69" y="48"/>
                  </a:lnTo>
                  <a:lnTo>
                    <a:pt x="51" y="33"/>
                  </a:lnTo>
                  <a:lnTo>
                    <a:pt x="84" y="18"/>
                  </a:lnTo>
                  <a:lnTo>
                    <a:pt x="69" y="0"/>
                  </a:lnTo>
                  <a:lnTo>
                    <a:pt x="34" y="18"/>
                  </a:lnTo>
                  <a:lnTo>
                    <a:pt x="17" y="18"/>
                  </a:lnTo>
                  <a:lnTo>
                    <a:pt x="0" y="0"/>
                  </a:lnTo>
                  <a:lnTo>
                    <a:pt x="0" y="33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00" name="Freeform 91">
              <a:extLst>
                <a:ext uri="{FF2B5EF4-FFF2-40B4-BE49-F238E27FC236}">
                  <a16:creationId xmlns:a16="http://schemas.microsoft.com/office/drawing/2014/main" id="{AD38F20C-E2E3-40FA-B037-C05DE34B7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9504" y="4246381"/>
              <a:ext cx="66667" cy="63299"/>
            </a:xfrm>
            <a:custGeom>
              <a:avLst/>
              <a:gdLst>
                <a:gd name="T0" fmla="*/ 10468 w 69"/>
                <a:gd name="T1" fmla="*/ 3079 h 66"/>
                <a:gd name="T2" fmla="*/ 10468 w 69"/>
                <a:gd name="T3" fmla="*/ 3079 h 66"/>
                <a:gd name="T4" fmla="*/ 14495 w 69"/>
                <a:gd name="T5" fmla="*/ 6158 h 66"/>
                <a:gd name="T6" fmla="*/ 10468 w 69"/>
                <a:gd name="T7" fmla="*/ 8467 h 66"/>
                <a:gd name="T8" fmla="*/ 10468 w 69"/>
                <a:gd name="T9" fmla="*/ 12315 h 66"/>
                <a:gd name="T10" fmla="*/ 7247 w 69"/>
                <a:gd name="T11" fmla="*/ 6158 h 66"/>
                <a:gd name="T12" fmla="*/ 0 w 69"/>
                <a:gd name="T13" fmla="*/ 3079 h 66"/>
                <a:gd name="T14" fmla="*/ 0 w 69"/>
                <a:gd name="T15" fmla="*/ 0 h 66"/>
                <a:gd name="T16" fmla="*/ 4026 w 69"/>
                <a:gd name="T17" fmla="*/ 0 h 66"/>
                <a:gd name="T18" fmla="*/ 7247 w 69"/>
                <a:gd name="T19" fmla="*/ 0 h 66"/>
                <a:gd name="T20" fmla="*/ 10468 w 69"/>
                <a:gd name="T21" fmla="*/ 3079 h 6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9"/>
                <a:gd name="T34" fmla="*/ 0 h 66"/>
                <a:gd name="T35" fmla="*/ 69 w 69"/>
                <a:gd name="T36" fmla="*/ 66 h 6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9" h="66">
                  <a:moveTo>
                    <a:pt x="52" y="18"/>
                  </a:moveTo>
                  <a:lnTo>
                    <a:pt x="52" y="18"/>
                  </a:lnTo>
                  <a:lnTo>
                    <a:pt x="69" y="33"/>
                  </a:lnTo>
                  <a:lnTo>
                    <a:pt x="52" y="48"/>
                  </a:lnTo>
                  <a:lnTo>
                    <a:pt x="52" y="66"/>
                  </a:lnTo>
                  <a:lnTo>
                    <a:pt x="35" y="33"/>
                  </a:lnTo>
                  <a:lnTo>
                    <a:pt x="0" y="18"/>
                  </a:lnTo>
                  <a:lnTo>
                    <a:pt x="0" y="0"/>
                  </a:lnTo>
                  <a:lnTo>
                    <a:pt x="17" y="0"/>
                  </a:lnTo>
                  <a:lnTo>
                    <a:pt x="35" y="0"/>
                  </a:lnTo>
                  <a:lnTo>
                    <a:pt x="52" y="18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01" name="Freeform 92">
              <a:extLst>
                <a:ext uri="{FF2B5EF4-FFF2-40B4-BE49-F238E27FC236}">
                  <a16:creationId xmlns:a16="http://schemas.microsoft.com/office/drawing/2014/main" id="{FBF2139D-8E2F-43AF-A901-D560BA7A33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2361" y="4246381"/>
              <a:ext cx="17144" cy="15825"/>
            </a:xfrm>
            <a:custGeom>
              <a:avLst/>
              <a:gdLst>
                <a:gd name="T0" fmla="*/ 4202 w 17"/>
                <a:gd name="T1" fmla="*/ 2822 h 18"/>
                <a:gd name="T2" fmla="*/ 4202 w 17"/>
                <a:gd name="T3" fmla="*/ 2822 h 18"/>
                <a:gd name="T4" fmla="*/ 4202 w 17"/>
                <a:gd name="T5" fmla="*/ 0 h 18"/>
                <a:gd name="T6" fmla="*/ 0 w 17"/>
                <a:gd name="T7" fmla="*/ 0 h 18"/>
                <a:gd name="T8" fmla="*/ 4202 w 17"/>
                <a:gd name="T9" fmla="*/ 2822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17" y="18"/>
                  </a:moveTo>
                  <a:lnTo>
                    <a:pt x="17" y="18"/>
                  </a:lnTo>
                  <a:lnTo>
                    <a:pt x="17" y="0"/>
                  </a:lnTo>
                  <a:lnTo>
                    <a:pt x="0" y="0"/>
                  </a:lnTo>
                  <a:lnTo>
                    <a:pt x="17" y="18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02" name="Freeform 168">
              <a:extLst>
                <a:ext uri="{FF2B5EF4-FFF2-40B4-BE49-F238E27FC236}">
                  <a16:creationId xmlns:a16="http://schemas.microsoft.com/office/drawing/2014/main" id="{D0BE21E8-6D2D-4EFE-9A92-DC0422BCBDD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1364" y="2843927"/>
              <a:ext cx="17144" cy="13847"/>
            </a:xfrm>
            <a:custGeom>
              <a:avLst/>
              <a:gdLst>
                <a:gd name="T0" fmla="*/ 0 w 18"/>
                <a:gd name="T1" fmla="*/ 0 h 15"/>
                <a:gd name="T2" fmla="*/ 0 w 18"/>
                <a:gd name="T3" fmla="*/ 0 h 15"/>
                <a:gd name="T4" fmla="*/ 3969 w 18"/>
                <a:gd name="T5" fmla="*/ 2223 h 15"/>
                <a:gd name="T6" fmla="*/ 3969 w 18"/>
                <a:gd name="T7" fmla="*/ 0 h 15"/>
                <a:gd name="T8" fmla="*/ 0 w 18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5"/>
                <a:gd name="T17" fmla="*/ 18 w 18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5">
                  <a:moveTo>
                    <a:pt x="0" y="0"/>
                  </a:moveTo>
                  <a:lnTo>
                    <a:pt x="0" y="0"/>
                  </a:lnTo>
                  <a:lnTo>
                    <a:pt x="18" y="15"/>
                  </a:lnTo>
                  <a:lnTo>
                    <a:pt x="18" y="0"/>
                  </a:lnTo>
                  <a:lnTo>
                    <a:pt x="0" y="0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03" name="Freeform 170">
              <a:extLst>
                <a:ext uri="{FF2B5EF4-FFF2-40B4-BE49-F238E27FC236}">
                  <a16:creationId xmlns:a16="http://schemas.microsoft.com/office/drawing/2014/main" id="{EFCBD13D-8198-45FE-B76C-4F943CA6E15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4227" y="1639283"/>
              <a:ext cx="30476" cy="47475"/>
            </a:xfrm>
            <a:custGeom>
              <a:avLst/>
              <a:gdLst>
                <a:gd name="T0" fmla="*/ 6158 w 33"/>
                <a:gd name="T1" fmla="*/ 9525 h 48"/>
                <a:gd name="T2" fmla="*/ 6158 w 33"/>
                <a:gd name="T3" fmla="*/ 9525 h 48"/>
                <a:gd name="T4" fmla="*/ 6158 w 33"/>
                <a:gd name="T5" fmla="*/ 3969 h 48"/>
                <a:gd name="T6" fmla="*/ 0 w 33"/>
                <a:gd name="T7" fmla="*/ 0 h 48"/>
                <a:gd name="T8" fmla="*/ 0 w 33"/>
                <a:gd name="T9" fmla="*/ 3969 h 48"/>
                <a:gd name="T10" fmla="*/ 6158 w 33"/>
                <a:gd name="T11" fmla="*/ 9525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3"/>
                <a:gd name="T19" fmla="*/ 0 h 48"/>
                <a:gd name="T20" fmla="*/ 33 w 33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3" h="48">
                  <a:moveTo>
                    <a:pt x="33" y="48"/>
                  </a:moveTo>
                  <a:lnTo>
                    <a:pt x="33" y="48"/>
                  </a:lnTo>
                  <a:lnTo>
                    <a:pt x="33" y="17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3" y="48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04" name="Freeform 172">
              <a:extLst>
                <a:ext uri="{FF2B5EF4-FFF2-40B4-BE49-F238E27FC236}">
                  <a16:creationId xmlns:a16="http://schemas.microsoft.com/office/drawing/2014/main" id="{A7235FAB-92A9-40C1-8C82-096F82E2A2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4715" y="1388068"/>
              <a:ext cx="445711" cy="583532"/>
            </a:xfrm>
            <a:custGeom>
              <a:avLst/>
              <a:gdLst>
                <a:gd name="T0" fmla="*/ 0 w 468"/>
                <a:gd name="T1" fmla="*/ 101428 h 591"/>
                <a:gd name="T2" fmla="*/ 0 w 468"/>
                <a:gd name="T3" fmla="*/ 101428 h 591"/>
                <a:gd name="T4" fmla="*/ 10319 w 468"/>
                <a:gd name="T5" fmla="*/ 113314 h 591"/>
                <a:gd name="T6" fmla="*/ 27781 w 468"/>
                <a:gd name="T7" fmla="*/ 116484 h 591"/>
                <a:gd name="T8" fmla="*/ 31750 w 468"/>
                <a:gd name="T9" fmla="*/ 113314 h 591"/>
                <a:gd name="T10" fmla="*/ 23812 w 468"/>
                <a:gd name="T11" fmla="*/ 106975 h 591"/>
                <a:gd name="T12" fmla="*/ 20638 w 468"/>
                <a:gd name="T13" fmla="*/ 101428 h 591"/>
                <a:gd name="T14" fmla="*/ 20638 w 468"/>
                <a:gd name="T15" fmla="*/ 84788 h 591"/>
                <a:gd name="T16" fmla="*/ 23812 w 468"/>
                <a:gd name="T17" fmla="*/ 78448 h 591"/>
                <a:gd name="T18" fmla="*/ 48419 w 468"/>
                <a:gd name="T19" fmla="*/ 40413 h 591"/>
                <a:gd name="T20" fmla="*/ 65881 w 468"/>
                <a:gd name="T21" fmla="*/ 28527 h 591"/>
                <a:gd name="T22" fmla="*/ 92869 w 468"/>
                <a:gd name="T23" fmla="*/ 15848 h 591"/>
                <a:gd name="T24" fmla="*/ 92869 w 468"/>
                <a:gd name="T25" fmla="*/ 2377 h 591"/>
                <a:gd name="T26" fmla="*/ 86519 w 468"/>
                <a:gd name="T27" fmla="*/ 0 h 591"/>
                <a:gd name="T28" fmla="*/ 79375 w 468"/>
                <a:gd name="T29" fmla="*/ 6339 h 591"/>
                <a:gd name="T30" fmla="*/ 73025 w 468"/>
                <a:gd name="T31" fmla="*/ 11886 h 591"/>
                <a:gd name="T32" fmla="*/ 62706 w 468"/>
                <a:gd name="T33" fmla="*/ 15848 h 591"/>
                <a:gd name="T34" fmla="*/ 52388 w 468"/>
                <a:gd name="T35" fmla="*/ 15848 h 591"/>
                <a:gd name="T36" fmla="*/ 42069 w 468"/>
                <a:gd name="T37" fmla="*/ 21395 h 591"/>
                <a:gd name="T38" fmla="*/ 31750 w 468"/>
                <a:gd name="T39" fmla="*/ 34866 h 591"/>
                <a:gd name="T40" fmla="*/ 20638 w 468"/>
                <a:gd name="T41" fmla="*/ 40413 h 591"/>
                <a:gd name="T42" fmla="*/ 20638 w 468"/>
                <a:gd name="T43" fmla="*/ 47544 h 591"/>
                <a:gd name="T44" fmla="*/ 17463 w 468"/>
                <a:gd name="T45" fmla="*/ 57053 h 591"/>
                <a:gd name="T46" fmla="*/ 10319 w 468"/>
                <a:gd name="T47" fmla="*/ 63393 h 591"/>
                <a:gd name="T48" fmla="*/ 14288 w 468"/>
                <a:gd name="T49" fmla="*/ 68939 h 591"/>
                <a:gd name="T50" fmla="*/ 10319 w 468"/>
                <a:gd name="T51" fmla="*/ 76071 h 591"/>
                <a:gd name="T52" fmla="*/ 3969 w 468"/>
                <a:gd name="T53" fmla="*/ 82410 h 591"/>
                <a:gd name="T54" fmla="*/ 7144 w 468"/>
                <a:gd name="T55" fmla="*/ 87957 h 591"/>
                <a:gd name="T56" fmla="*/ 0 w 468"/>
                <a:gd name="T57" fmla="*/ 91919 h 591"/>
                <a:gd name="T58" fmla="*/ 0 w 468"/>
                <a:gd name="T59" fmla="*/ 101428 h 59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468"/>
                <a:gd name="T91" fmla="*/ 0 h 591"/>
                <a:gd name="T92" fmla="*/ 468 w 468"/>
                <a:gd name="T93" fmla="*/ 591 h 59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468" h="591">
                  <a:moveTo>
                    <a:pt x="0" y="512"/>
                  </a:moveTo>
                  <a:lnTo>
                    <a:pt x="0" y="512"/>
                  </a:lnTo>
                  <a:lnTo>
                    <a:pt x="52" y="575"/>
                  </a:lnTo>
                  <a:lnTo>
                    <a:pt x="140" y="591"/>
                  </a:lnTo>
                  <a:lnTo>
                    <a:pt x="157" y="575"/>
                  </a:lnTo>
                  <a:lnTo>
                    <a:pt x="123" y="543"/>
                  </a:lnTo>
                  <a:lnTo>
                    <a:pt x="104" y="512"/>
                  </a:lnTo>
                  <a:lnTo>
                    <a:pt x="104" y="431"/>
                  </a:lnTo>
                  <a:lnTo>
                    <a:pt x="123" y="399"/>
                  </a:lnTo>
                  <a:lnTo>
                    <a:pt x="244" y="207"/>
                  </a:lnTo>
                  <a:lnTo>
                    <a:pt x="330" y="144"/>
                  </a:lnTo>
                  <a:lnTo>
                    <a:pt x="468" y="80"/>
                  </a:lnTo>
                  <a:lnTo>
                    <a:pt x="468" y="15"/>
                  </a:lnTo>
                  <a:lnTo>
                    <a:pt x="434" y="0"/>
                  </a:lnTo>
                  <a:lnTo>
                    <a:pt x="399" y="32"/>
                  </a:lnTo>
                  <a:lnTo>
                    <a:pt x="365" y="63"/>
                  </a:lnTo>
                  <a:lnTo>
                    <a:pt x="313" y="80"/>
                  </a:lnTo>
                  <a:lnTo>
                    <a:pt x="261" y="80"/>
                  </a:lnTo>
                  <a:lnTo>
                    <a:pt x="209" y="111"/>
                  </a:lnTo>
                  <a:lnTo>
                    <a:pt x="157" y="176"/>
                  </a:lnTo>
                  <a:lnTo>
                    <a:pt x="104" y="207"/>
                  </a:lnTo>
                  <a:lnTo>
                    <a:pt x="104" y="240"/>
                  </a:lnTo>
                  <a:lnTo>
                    <a:pt x="86" y="288"/>
                  </a:lnTo>
                  <a:lnTo>
                    <a:pt x="52" y="320"/>
                  </a:lnTo>
                  <a:lnTo>
                    <a:pt x="69" y="351"/>
                  </a:lnTo>
                  <a:lnTo>
                    <a:pt x="52" y="384"/>
                  </a:lnTo>
                  <a:lnTo>
                    <a:pt x="17" y="416"/>
                  </a:lnTo>
                  <a:lnTo>
                    <a:pt x="35" y="447"/>
                  </a:lnTo>
                  <a:lnTo>
                    <a:pt x="0" y="464"/>
                  </a:lnTo>
                  <a:lnTo>
                    <a:pt x="0" y="512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05" name="Freeform 173">
              <a:extLst>
                <a:ext uri="{FF2B5EF4-FFF2-40B4-BE49-F238E27FC236}">
                  <a16:creationId xmlns:a16="http://schemas.microsoft.com/office/drawing/2014/main" id="{A42013CC-9DBD-40A5-9A25-EDAFE496025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0906" y="2036875"/>
              <a:ext cx="49524" cy="63299"/>
            </a:xfrm>
            <a:custGeom>
              <a:avLst/>
              <a:gdLst>
                <a:gd name="T0" fmla="*/ 0 w 52"/>
                <a:gd name="T1" fmla="*/ 12902 h 63"/>
                <a:gd name="T2" fmla="*/ 0 w 52"/>
                <a:gd name="T3" fmla="*/ 12902 h 63"/>
                <a:gd name="T4" fmla="*/ 7144 w 52"/>
                <a:gd name="T5" fmla="*/ 9676 h 63"/>
                <a:gd name="T6" fmla="*/ 10319 w 52"/>
                <a:gd name="T7" fmla="*/ 6451 h 63"/>
                <a:gd name="T8" fmla="*/ 3969 w 52"/>
                <a:gd name="T9" fmla="*/ 0 h 63"/>
                <a:gd name="T10" fmla="*/ 0 w 52"/>
                <a:gd name="T11" fmla="*/ 6451 h 63"/>
                <a:gd name="T12" fmla="*/ 0 w 52"/>
                <a:gd name="T13" fmla="*/ 12902 h 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63"/>
                <a:gd name="T23" fmla="*/ 52 w 52"/>
                <a:gd name="T24" fmla="*/ 63 h 6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63">
                  <a:moveTo>
                    <a:pt x="0" y="63"/>
                  </a:moveTo>
                  <a:lnTo>
                    <a:pt x="0" y="63"/>
                  </a:lnTo>
                  <a:lnTo>
                    <a:pt x="34" y="48"/>
                  </a:lnTo>
                  <a:lnTo>
                    <a:pt x="52" y="31"/>
                  </a:lnTo>
                  <a:lnTo>
                    <a:pt x="17" y="0"/>
                  </a:lnTo>
                  <a:lnTo>
                    <a:pt x="0" y="31"/>
                  </a:lnTo>
                  <a:lnTo>
                    <a:pt x="0" y="63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06" name="Freeform 174">
              <a:extLst>
                <a:ext uri="{FF2B5EF4-FFF2-40B4-BE49-F238E27FC236}">
                  <a16:creationId xmlns:a16="http://schemas.microsoft.com/office/drawing/2014/main" id="{77B8031B-5ADB-4C95-8DC0-ACF8FA794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9955" y="1376199"/>
              <a:ext cx="186665" cy="55385"/>
            </a:xfrm>
            <a:custGeom>
              <a:avLst/>
              <a:gdLst>
                <a:gd name="T0" fmla="*/ 32544 w 196"/>
                <a:gd name="T1" fmla="*/ 3969 h 56"/>
                <a:gd name="T2" fmla="*/ 28575 w 196"/>
                <a:gd name="T3" fmla="*/ 3969 h 56"/>
                <a:gd name="T4" fmla="*/ 24606 w 196"/>
                <a:gd name="T5" fmla="*/ 3969 h 56"/>
                <a:gd name="T6" fmla="*/ 24606 w 196"/>
                <a:gd name="T7" fmla="*/ 7938 h 56"/>
                <a:gd name="T8" fmla="*/ 20637 w 196"/>
                <a:gd name="T9" fmla="*/ 11113 h 56"/>
                <a:gd name="T10" fmla="*/ 20637 w 196"/>
                <a:gd name="T11" fmla="*/ 7938 h 56"/>
                <a:gd name="T12" fmla="*/ 18256 w 196"/>
                <a:gd name="T13" fmla="*/ 7938 h 56"/>
                <a:gd name="T14" fmla="*/ 15081 w 196"/>
                <a:gd name="T15" fmla="*/ 3969 h 56"/>
                <a:gd name="T16" fmla="*/ 18256 w 196"/>
                <a:gd name="T17" fmla="*/ 3969 h 56"/>
                <a:gd name="T18" fmla="*/ 20637 w 196"/>
                <a:gd name="T19" fmla="*/ 3969 h 56"/>
                <a:gd name="T20" fmla="*/ 18256 w 196"/>
                <a:gd name="T21" fmla="*/ 3969 h 56"/>
                <a:gd name="T22" fmla="*/ 15081 w 196"/>
                <a:gd name="T23" fmla="*/ 3969 h 56"/>
                <a:gd name="T24" fmla="*/ 18256 w 196"/>
                <a:gd name="T25" fmla="*/ 3969 h 56"/>
                <a:gd name="T26" fmla="*/ 15081 w 196"/>
                <a:gd name="T27" fmla="*/ 0 h 56"/>
                <a:gd name="T28" fmla="*/ 10319 w 196"/>
                <a:gd name="T29" fmla="*/ 3969 h 56"/>
                <a:gd name="T30" fmla="*/ 7144 w 196"/>
                <a:gd name="T31" fmla="*/ 3969 h 56"/>
                <a:gd name="T32" fmla="*/ 3969 w 196"/>
                <a:gd name="T33" fmla="*/ 3969 h 56"/>
                <a:gd name="T34" fmla="*/ 0 w 196"/>
                <a:gd name="T35" fmla="*/ 3969 h 56"/>
                <a:gd name="T36" fmla="*/ 3969 w 196"/>
                <a:gd name="T37" fmla="*/ 0 h 56"/>
                <a:gd name="T38" fmla="*/ 10319 w 196"/>
                <a:gd name="T39" fmla="*/ 0 h 56"/>
                <a:gd name="T40" fmla="*/ 18256 w 196"/>
                <a:gd name="T41" fmla="*/ 0 h 56"/>
                <a:gd name="T42" fmla="*/ 20637 w 196"/>
                <a:gd name="T43" fmla="*/ 0 h 56"/>
                <a:gd name="T44" fmla="*/ 28575 w 196"/>
                <a:gd name="T45" fmla="*/ 0 h 56"/>
                <a:gd name="T46" fmla="*/ 32544 w 196"/>
                <a:gd name="T47" fmla="*/ 0 h 56"/>
                <a:gd name="T48" fmla="*/ 35719 w 196"/>
                <a:gd name="T49" fmla="*/ 0 h 56"/>
                <a:gd name="T50" fmla="*/ 38894 w 196"/>
                <a:gd name="T51" fmla="*/ 0 h 56"/>
                <a:gd name="T52" fmla="*/ 38894 w 196"/>
                <a:gd name="T53" fmla="*/ 3969 h 56"/>
                <a:gd name="T54" fmla="*/ 35719 w 196"/>
                <a:gd name="T55" fmla="*/ 3969 h 56"/>
                <a:gd name="T56" fmla="*/ 32544 w 196"/>
                <a:gd name="T57" fmla="*/ 3969 h 5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96"/>
                <a:gd name="T88" fmla="*/ 0 h 56"/>
                <a:gd name="T89" fmla="*/ 196 w 196"/>
                <a:gd name="T90" fmla="*/ 56 h 5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96" h="56">
                  <a:moveTo>
                    <a:pt x="161" y="17"/>
                  </a:moveTo>
                  <a:lnTo>
                    <a:pt x="144" y="17"/>
                  </a:lnTo>
                  <a:lnTo>
                    <a:pt x="125" y="17"/>
                  </a:lnTo>
                  <a:lnTo>
                    <a:pt x="125" y="37"/>
                  </a:lnTo>
                  <a:lnTo>
                    <a:pt x="107" y="56"/>
                  </a:lnTo>
                  <a:lnTo>
                    <a:pt x="107" y="37"/>
                  </a:lnTo>
                  <a:lnTo>
                    <a:pt x="90" y="37"/>
                  </a:lnTo>
                  <a:lnTo>
                    <a:pt x="73" y="17"/>
                  </a:lnTo>
                  <a:lnTo>
                    <a:pt x="90" y="17"/>
                  </a:lnTo>
                  <a:lnTo>
                    <a:pt x="107" y="17"/>
                  </a:lnTo>
                  <a:lnTo>
                    <a:pt x="90" y="17"/>
                  </a:lnTo>
                  <a:lnTo>
                    <a:pt x="73" y="17"/>
                  </a:lnTo>
                  <a:lnTo>
                    <a:pt x="90" y="17"/>
                  </a:lnTo>
                  <a:lnTo>
                    <a:pt x="73" y="0"/>
                  </a:lnTo>
                  <a:lnTo>
                    <a:pt x="54" y="17"/>
                  </a:lnTo>
                  <a:lnTo>
                    <a:pt x="36" y="17"/>
                  </a:lnTo>
                  <a:lnTo>
                    <a:pt x="19" y="17"/>
                  </a:lnTo>
                  <a:lnTo>
                    <a:pt x="0" y="17"/>
                  </a:lnTo>
                  <a:lnTo>
                    <a:pt x="19" y="0"/>
                  </a:lnTo>
                  <a:lnTo>
                    <a:pt x="54" y="0"/>
                  </a:lnTo>
                  <a:lnTo>
                    <a:pt x="90" y="0"/>
                  </a:lnTo>
                  <a:lnTo>
                    <a:pt x="107" y="0"/>
                  </a:lnTo>
                  <a:lnTo>
                    <a:pt x="144" y="0"/>
                  </a:lnTo>
                  <a:lnTo>
                    <a:pt x="161" y="0"/>
                  </a:lnTo>
                  <a:lnTo>
                    <a:pt x="178" y="0"/>
                  </a:lnTo>
                  <a:lnTo>
                    <a:pt x="196" y="0"/>
                  </a:lnTo>
                  <a:lnTo>
                    <a:pt x="196" y="17"/>
                  </a:lnTo>
                  <a:lnTo>
                    <a:pt x="178" y="17"/>
                  </a:lnTo>
                  <a:lnTo>
                    <a:pt x="161" y="17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07" name="Freeform 175">
              <a:extLst>
                <a:ext uri="{FF2B5EF4-FFF2-40B4-BE49-F238E27FC236}">
                  <a16:creationId xmlns:a16="http://schemas.microsoft.com/office/drawing/2014/main" id="{438A76FC-5DD0-4D4E-AC94-E907FF01A3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2333" y="1303010"/>
              <a:ext cx="104762" cy="90991"/>
            </a:xfrm>
            <a:custGeom>
              <a:avLst/>
              <a:gdLst>
                <a:gd name="T0" fmla="*/ 18424 w 109"/>
                <a:gd name="T1" fmla="*/ 15081 h 92"/>
                <a:gd name="T2" fmla="*/ 15220 w 109"/>
                <a:gd name="T3" fmla="*/ 15081 h 92"/>
                <a:gd name="T4" fmla="*/ 11215 w 109"/>
                <a:gd name="T5" fmla="*/ 18256 h 92"/>
                <a:gd name="T6" fmla="*/ 7209 w 109"/>
                <a:gd name="T7" fmla="*/ 18256 h 92"/>
                <a:gd name="T8" fmla="*/ 0 w 109"/>
                <a:gd name="T9" fmla="*/ 15081 h 92"/>
                <a:gd name="T10" fmla="*/ 0 w 109"/>
                <a:gd name="T11" fmla="*/ 11112 h 92"/>
                <a:gd name="T12" fmla="*/ 4005 w 109"/>
                <a:gd name="T13" fmla="*/ 11112 h 92"/>
                <a:gd name="T14" fmla="*/ 11215 w 109"/>
                <a:gd name="T15" fmla="*/ 11112 h 92"/>
                <a:gd name="T16" fmla="*/ 11215 w 109"/>
                <a:gd name="T17" fmla="*/ 7938 h 92"/>
                <a:gd name="T18" fmla="*/ 7209 w 109"/>
                <a:gd name="T19" fmla="*/ 11112 h 92"/>
                <a:gd name="T20" fmla="*/ 7209 w 109"/>
                <a:gd name="T21" fmla="*/ 7938 h 92"/>
                <a:gd name="T22" fmla="*/ 11215 w 109"/>
                <a:gd name="T23" fmla="*/ 7938 h 92"/>
                <a:gd name="T24" fmla="*/ 15220 w 109"/>
                <a:gd name="T25" fmla="*/ 7938 h 92"/>
                <a:gd name="T26" fmla="*/ 18424 w 109"/>
                <a:gd name="T27" fmla="*/ 3969 h 92"/>
                <a:gd name="T28" fmla="*/ 22429 w 109"/>
                <a:gd name="T29" fmla="*/ 3969 h 92"/>
                <a:gd name="T30" fmla="*/ 22429 w 109"/>
                <a:gd name="T31" fmla="*/ 0 h 92"/>
                <a:gd name="T32" fmla="*/ 22429 w 109"/>
                <a:gd name="T33" fmla="*/ 3969 h 92"/>
                <a:gd name="T34" fmla="*/ 22429 w 109"/>
                <a:gd name="T35" fmla="*/ 7938 h 92"/>
                <a:gd name="T36" fmla="*/ 18424 w 109"/>
                <a:gd name="T37" fmla="*/ 7938 h 92"/>
                <a:gd name="T38" fmla="*/ 15220 w 109"/>
                <a:gd name="T39" fmla="*/ 7938 h 92"/>
                <a:gd name="T40" fmla="*/ 11215 w 109"/>
                <a:gd name="T41" fmla="*/ 11112 h 92"/>
                <a:gd name="T42" fmla="*/ 15220 w 109"/>
                <a:gd name="T43" fmla="*/ 11112 h 92"/>
                <a:gd name="T44" fmla="*/ 22429 w 109"/>
                <a:gd name="T45" fmla="*/ 11112 h 92"/>
                <a:gd name="T46" fmla="*/ 22429 w 109"/>
                <a:gd name="T47" fmla="*/ 15081 h 92"/>
                <a:gd name="T48" fmla="*/ 18424 w 109"/>
                <a:gd name="T49" fmla="*/ 15081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9"/>
                <a:gd name="T76" fmla="*/ 0 h 92"/>
                <a:gd name="T77" fmla="*/ 109 w 109"/>
                <a:gd name="T78" fmla="*/ 92 h 9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9" h="92">
                  <a:moveTo>
                    <a:pt x="90" y="73"/>
                  </a:moveTo>
                  <a:lnTo>
                    <a:pt x="73" y="73"/>
                  </a:lnTo>
                  <a:lnTo>
                    <a:pt x="54" y="92"/>
                  </a:lnTo>
                  <a:lnTo>
                    <a:pt x="36" y="92"/>
                  </a:lnTo>
                  <a:lnTo>
                    <a:pt x="0" y="73"/>
                  </a:lnTo>
                  <a:lnTo>
                    <a:pt x="0" y="56"/>
                  </a:lnTo>
                  <a:lnTo>
                    <a:pt x="19" y="56"/>
                  </a:lnTo>
                  <a:lnTo>
                    <a:pt x="54" y="56"/>
                  </a:lnTo>
                  <a:lnTo>
                    <a:pt x="54" y="37"/>
                  </a:lnTo>
                  <a:lnTo>
                    <a:pt x="36" y="56"/>
                  </a:lnTo>
                  <a:lnTo>
                    <a:pt x="36" y="37"/>
                  </a:lnTo>
                  <a:lnTo>
                    <a:pt x="54" y="37"/>
                  </a:lnTo>
                  <a:lnTo>
                    <a:pt x="73" y="37"/>
                  </a:lnTo>
                  <a:lnTo>
                    <a:pt x="90" y="20"/>
                  </a:lnTo>
                  <a:lnTo>
                    <a:pt x="109" y="20"/>
                  </a:lnTo>
                  <a:lnTo>
                    <a:pt x="109" y="0"/>
                  </a:lnTo>
                  <a:lnTo>
                    <a:pt x="109" y="20"/>
                  </a:lnTo>
                  <a:lnTo>
                    <a:pt x="109" y="37"/>
                  </a:lnTo>
                  <a:lnTo>
                    <a:pt x="90" y="37"/>
                  </a:lnTo>
                  <a:lnTo>
                    <a:pt x="73" y="37"/>
                  </a:lnTo>
                  <a:lnTo>
                    <a:pt x="54" y="56"/>
                  </a:lnTo>
                  <a:lnTo>
                    <a:pt x="73" y="56"/>
                  </a:lnTo>
                  <a:lnTo>
                    <a:pt x="109" y="56"/>
                  </a:lnTo>
                  <a:lnTo>
                    <a:pt x="109" y="73"/>
                  </a:lnTo>
                  <a:lnTo>
                    <a:pt x="90" y="73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08" name="Freeform 176">
              <a:extLst>
                <a:ext uri="{FF2B5EF4-FFF2-40B4-BE49-F238E27FC236}">
                  <a16:creationId xmlns:a16="http://schemas.microsoft.com/office/drawing/2014/main" id="{D3605629-B60A-4A66-9603-D0C93A3380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0439" y="1431585"/>
              <a:ext cx="339045" cy="201764"/>
            </a:xfrm>
            <a:custGeom>
              <a:avLst/>
              <a:gdLst>
                <a:gd name="T0" fmla="*/ 56198 w 357"/>
                <a:gd name="T1" fmla="*/ 29513 h 203"/>
                <a:gd name="T2" fmla="*/ 49866 w 357"/>
                <a:gd name="T3" fmla="*/ 29513 h 203"/>
                <a:gd name="T4" fmla="*/ 53032 w 357"/>
                <a:gd name="T5" fmla="*/ 25525 h 203"/>
                <a:gd name="T6" fmla="*/ 49866 w 357"/>
                <a:gd name="T7" fmla="*/ 18346 h 203"/>
                <a:gd name="T8" fmla="*/ 49866 w 357"/>
                <a:gd name="T9" fmla="*/ 18346 h 203"/>
                <a:gd name="T10" fmla="*/ 41951 w 357"/>
                <a:gd name="T11" fmla="*/ 18346 h 203"/>
                <a:gd name="T12" fmla="*/ 38785 w 357"/>
                <a:gd name="T13" fmla="*/ 29513 h 203"/>
                <a:gd name="T14" fmla="*/ 34827 w 357"/>
                <a:gd name="T15" fmla="*/ 36692 h 203"/>
                <a:gd name="T16" fmla="*/ 31661 w 357"/>
                <a:gd name="T17" fmla="*/ 40681 h 203"/>
                <a:gd name="T18" fmla="*/ 20580 w 357"/>
                <a:gd name="T19" fmla="*/ 36692 h 203"/>
                <a:gd name="T20" fmla="*/ 20580 w 357"/>
                <a:gd name="T21" fmla="*/ 29513 h 203"/>
                <a:gd name="T22" fmla="*/ 27703 w 357"/>
                <a:gd name="T23" fmla="*/ 29513 h 203"/>
                <a:gd name="T24" fmla="*/ 20580 w 357"/>
                <a:gd name="T25" fmla="*/ 29513 h 203"/>
                <a:gd name="T26" fmla="*/ 13456 w 357"/>
                <a:gd name="T27" fmla="*/ 29513 h 203"/>
                <a:gd name="T28" fmla="*/ 17414 w 357"/>
                <a:gd name="T29" fmla="*/ 22334 h 203"/>
                <a:gd name="T30" fmla="*/ 24537 w 357"/>
                <a:gd name="T31" fmla="*/ 22334 h 203"/>
                <a:gd name="T32" fmla="*/ 27703 w 357"/>
                <a:gd name="T33" fmla="*/ 18346 h 203"/>
                <a:gd name="T34" fmla="*/ 20580 w 357"/>
                <a:gd name="T35" fmla="*/ 18346 h 203"/>
                <a:gd name="T36" fmla="*/ 13456 w 357"/>
                <a:gd name="T37" fmla="*/ 22334 h 203"/>
                <a:gd name="T38" fmla="*/ 10290 w 357"/>
                <a:gd name="T39" fmla="*/ 18346 h 203"/>
                <a:gd name="T40" fmla="*/ 10290 w 357"/>
                <a:gd name="T41" fmla="*/ 18346 h 203"/>
                <a:gd name="T42" fmla="*/ 3166 w 357"/>
                <a:gd name="T43" fmla="*/ 15156 h 203"/>
                <a:gd name="T44" fmla="*/ 0 w 357"/>
                <a:gd name="T45" fmla="*/ 11167 h 203"/>
                <a:gd name="T46" fmla="*/ 0 w 357"/>
                <a:gd name="T47" fmla="*/ 3988 h 203"/>
                <a:gd name="T48" fmla="*/ 6332 w 357"/>
                <a:gd name="T49" fmla="*/ 3988 h 203"/>
                <a:gd name="T50" fmla="*/ 13456 w 357"/>
                <a:gd name="T51" fmla="*/ 3988 h 203"/>
                <a:gd name="T52" fmla="*/ 13456 w 357"/>
                <a:gd name="T53" fmla="*/ 3988 h 203"/>
                <a:gd name="T54" fmla="*/ 13456 w 357"/>
                <a:gd name="T55" fmla="*/ 7179 h 203"/>
                <a:gd name="T56" fmla="*/ 17414 w 357"/>
                <a:gd name="T57" fmla="*/ 3988 h 203"/>
                <a:gd name="T58" fmla="*/ 24537 w 357"/>
                <a:gd name="T59" fmla="*/ 7179 h 203"/>
                <a:gd name="T60" fmla="*/ 24537 w 357"/>
                <a:gd name="T61" fmla="*/ 7179 h 203"/>
                <a:gd name="T62" fmla="*/ 24537 w 357"/>
                <a:gd name="T63" fmla="*/ 0 h 203"/>
                <a:gd name="T64" fmla="*/ 31661 w 357"/>
                <a:gd name="T65" fmla="*/ 0 h 203"/>
                <a:gd name="T66" fmla="*/ 34827 w 357"/>
                <a:gd name="T67" fmla="*/ 3988 h 203"/>
                <a:gd name="T68" fmla="*/ 41951 w 357"/>
                <a:gd name="T69" fmla="*/ 3988 h 203"/>
                <a:gd name="T70" fmla="*/ 41951 w 357"/>
                <a:gd name="T71" fmla="*/ 11167 h 203"/>
                <a:gd name="T72" fmla="*/ 56198 w 357"/>
                <a:gd name="T73" fmla="*/ 18346 h 203"/>
                <a:gd name="T74" fmla="*/ 63322 w 357"/>
                <a:gd name="T75" fmla="*/ 18346 h 203"/>
                <a:gd name="T76" fmla="*/ 70446 w 357"/>
                <a:gd name="T77" fmla="*/ 29513 h 203"/>
                <a:gd name="T78" fmla="*/ 63322 w 357"/>
                <a:gd name="T79" fmla="*/ 33502 h 20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57"/>
                <a:gd name="T121" fmla="*/ 0 h 203"/>
                <a:gd name="T122" fmla="*/ 357 w 357"/>
                <a:gd name="T123" fmla="*/ 203 h 20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57" h="203">
                  <a:moveTo>
                    <a:pt x="286" y="167"/>
                  </a:moveTo>
                  <a:lnTo>
                    <a:pt x="286" y="148"/>
                  </a:lnTo>
                  <a:lnTo>
                    <a:pt x="269" y="148"/>
                  </a:lnTo>
                  <a:lnTo>
                    <a:pt x="252" y="148"/>
                  </a:lnTo>
                  <a:lnTo>
                    <a:pt x="269" y="148"/>
                  </a:lnTo>
                  <a:lnTo>
                    <a:pt x="269" y="128"/>
                  </a:lnTo>
                  <a:lnTo>
                    <a:pt x="252" y="109"/>
                  </a:lnTo>
                  <a:lnTo>
                    <a:pt x="252" y="92"/>
                  </a:lnTo>
                  <a:lnTo>
                    <a:pt x="269" y="92"/>
                  </a:lnTo>
                  <a:lnTo>
                    <a:pt x="252" y="92"/>
                  </a:lnTo>
                  <a:lnTo>
                    <a:pt x="231" y="92"/>
                  </a:lnTo>
                  <a:lnTo>
                    <a:pt x="213" y="92"/>
                  </a:lnTo>
                  <a:lnTo>
                    <a:pt x="213" y="128"/>
                  </a:lnTo>
                  <a:lnTo>
                    <a:pt x="196" y="148"/>
                  </a:lnTo>
                  <a:lnTo>
                    <a:pt x="179" y="148"/>
                  </a:lnTo>
                  <a:lnTo>
                    <a:pt x="179" y="184"/>
                  </a:lnTo>
                  <a:lnTo>
                    <a:pt x="179" y="203"/>
                  </a:lnTo>
                  <a:lnTo>
                    <a:pt x="160" y="203"/>
                  </a:lnTo>
                  <a:lnTo>
                    <a:pt x="125" y="203"/>
                  </a:lnTo>
                  <a:lnTo>
                    <a:pt x="106" y="184"/>
                  </a:lnTo>
                  <a:lnTo>
                    <a:pt x="71" y="148"/>
                  </a:lnTo>
                  <a:lnTo>
                    <a:pt x="106" y="148"/>
                  </a:lnTo>
                  <a:lnTo>
                    <a:pt x="125" y="148"/>
                  </a:lnTo>
                  <a:lnTo>
                    <a:pt x="142" y="148"/>
                  </a:lnTo>
                  <a:lnTo>
                    <a:pt x="125" y="148"/>
                  </a:lnTo>
                  <a:lnTo>
                    <a:pt x="106" y="148"/>
                  </a:lnTo>
                  <a:lnTo>
                    <a:pt x="89" y="148"/>
                  </a:lnTo>
                  <a:lnTo>
                    <a:pt x="71" y="148"/>
                  </a:lnTo>
                  <a:lnTo>
                    <a:pt x="71" y="128"/>
                  </a:lnTo>
                  <a:lnTo>
                    <a:pt x="89" y="109"/>
                  </a:lnTo>
                  <a:lnTo>
                    <a:pt x="106" y="109"/>
                  </a:lnTo>
                  <a:lnTo>
                    <a:pt x="125" y="109"/>
                  </a:lnTo>
                  <a:lnTo>
                    <a:pt x="125" y="92"/>
                  </a:lnTo>
                  <a:lnTo>
                    <a:pt x="142" y="92"/>
                  </a:lnTo>
                  <a:lnTo>
                    <a:pt x="125" y="92"/>
                  </a:lnTo>
                  <a:lnTo>
                    <a:pt x="106" y="92"/>
                  </a:lnTo>
                  <a:lnTo>
                    <a:pt x="89" y="92"/>
                  </a:lnTo>
                  <a:lnTo>
                    <a:pt x="71" y="109"/>
                  </a:lnTo>
                  <a:lnTo>
                    <a:pt x="54" y="109"/>
                  </a:lnTo>
                  <a:lnTo>
                    <a:pt x="54" y="92"/>
                  </a:lnTo>
                  <a:lnTo>
                    <a:pt x="35" y="92"/>
                  </a:lnTo>
                  <a:lnTo>
                    <a:pt x="54" y="92"/>
                  </a:lnTo>
                  <a:lnTo>
                    <a:pt x="35" y="92"/>
                  </a:lnTo>
                  <a:lnTo>
                    <a:pt x="17" y="73"/>
                  </a:lnTo>
                  <a:lnTo>
                    <a:pt x="17" y="54"/>
                  </a:lnTo>
                  <a:lnTo>
                    <a:pt x="0" y="54"/>
                  </a:lnTo>
                  <a:lnTo>
                    <a:pt x="0" y="36"/>
                  </a:lnTo>
                  <a:lnTo>
                    <a:pt x="0" y="19"/>
                  </a:lnTo>
                  <a:lnTo>
                    <a:pt x="17" y="19"/>
                  </a:lnTo>
                  <a:lnTo>
                    <a:pt x="35" y="19"/>
                  </a:lnTo>
                  <a:lnTo>
                    <a:pt x="54" y="19"/>
                  </a:lnTo>
                  <a:lnTo>
                    <a:pt x="71" y="19"/>
                  </a:lnTo>
                  <a:lnTo>
                    <a:pt x="54" y="19"/>
                  </a:lnTo>
                  <a:lnTo>
                    <a:pt x="71" y="19"/>
                  </a:lnTo>
                  <a:lnTo>
                    <a:pt x="89" y="36"/>
                  </a:lnTo>
                  <a:lnTo>
                    <a:pt x="71" y="36"/>
                  </a:lnTo>
                  <a:lnTo>
                    <a:pt x="71" y="19"/>
                  </a:lnTo>
                  <a:lnTo>
                    <a:pt x="89" y="19"/>
                  </a:lnTo>
                  <a:lnTo>
                    <a:pt x="125" y="19"/>
                  </a:lnTo>
                  <a:lnTo>
                    <a:pt x="125" y="36"/>
                  </a:lnTo>
                  <a:lnTo>
                    <a:pt x="142" y="54"/>
                  </a:lnTo>
                  <a:lnTo>
                    <a:pt x="125" y="36"/>
                  </a:lnTo>
                  <a:lnTo>
                    <a:pt x="125" y="19"/>
                  </a:lnTo>
                  <a:lnTo>
                    <a:pt x="125" y="0"/>
                  </a:lnTo>
                  <a:lnTo>
                    <a:pt x="142" y="0"/>
                  </a:lnTo>
                  <a:lnTo>
                    <a:pt x="160" y="0"/>
                  </a:lnTo>
                  <a:lnTo>
                    <a:pt x="179" y="0"/>
                  </a:lnTo>
                  <a:lnTo>
                    <a:pt x="179" y="19"/>
                  </a:lnTo>
                  <a:lnTo>
                    <a:pt x="196" y="19"/>
                  </a:lnTo>
                  <a:lnTo>
                    <a:pt x="213" y="19"/>
                  </a:lnTo>
                  <a:lnTo>
                    <a:pt x="213" y="36"/>
                  </a:lnTo>
                  <a:lnTo>
                    <a:pt x="213" y="54"/>
                  </a:lnTo>
                  <a:lnTo>
                    <a:pt x="269" y="73"/>
                  </a:lnTo>
                  <a:lnTo>
                    <a:pt x="286" y="92"/>
                  </a:lnTo>
                  <a:lnTo>
                    <a:pt x="304" y="92"/>
                  </a:lnTo>
                  <a:lnTo>
                    <a:pt x="323" y="92"/>
                  </a:lnTo>
                  <a:lnTo>
                    <a:pt x="340" y="128"/>
                  </a:lnTo>
                  <a:lnTo>
                    <a:pt x="357" y="148"/>
                  </a:lnTo>
                  <a:lnTo>
                    <a:pt x="340" y="148"/>
                  </a:lnTo>
                  <a:lnTo>
                    <a:pt x="323" y="167"/>
                  </a:lnTo>
                  <a:lnTo>
                    <a:pt x="286" y="167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09" name="Freeform 177">
              <a:extLst>
                <a:ext uri="{FF2B5EF4-FFF2-40B4-BE49-F238E27FC236}">
                  <a16:creationId xmlns:a16="http://schemas.microsoft.com/office/drawing/2014/main" id="{949668AA-9A2F-4C5C-A4C1-CB1E6A1AF0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865" y="1394002"/>
              <a:ext cx="238094" cy="90991"/>
            </a:xfrm>
            <a:custGeom>
              <a:avLst/>
              <a:gdLst>
                <a:gd name="T0" fmla="*/ 50207 w 249"/>
                <a:gd name="T1" fmla="*/ 7067 h 93"/>
                <a:gd name="T2" fmla="*/ 43035 w 249"/>
                <a:gd name="T3" fmla="*/ 10993 h 93"/>
                <a:gd name="T4" fmla="*/ 35862 w 249"/>
                <a:gd name="T5" fmla="*/ 14134 h 93"/>
                <a:gd name="T6" fmla="*/ 28690 w 249"/>
                <a:gd name="T7" fmla="*/ 18060 h 93"/>
                <a:gd name="T8" fmla="*/ 24705 w 249"/>
                <a:gd name="T9" fmla="*/ 18060 h 93"/>
                <a:gd name="T10" fmla="*/ 24705 w 249"/>
                <a:gd name="T11" fmla="*/ 14134 h 93"/>
                <a:gd name="T12" fmla="*/ 21517 w 249"/>
                <a:gd name="T13" fmla="*/ 14134 h 93"/>
                <a:gd name="T14" fmla="*/ 14345 w 249"/>
                <a:gd name="T15" fmla="*/ 14134 h 93"/>
                <a:gd name="T16" fmla="*/ 10360 w 249"/>
                <a:gd name="T17" fmla="*/ 14134 h 93"/>
                <a:gd name="T18" fmla="*/ 7172 w 249"/>
                <a:gd name="T19" fmla="*/ 10993 h 93"/>
                <a:gd name="T20" fmla="*/ 10360 w 249"/>
                <a:gd name="T21" fmla="*/ 10993 h 93"/>
                <a:gd name="T22" fmla="*/ 14345 w 249"/>
                <a:gd name="T23" fmla="*/ 10993 h 93"/>
                <a:gd name="T24" fmla="*/ 18330 w 249"/>
                <a:gd name="T25" fmla="*/ 10993 h 93"/>
                <a:gd name="T26" fmla="*/ 14345 w 249"/>
                <a:gd name="T27" fmla="*/ 10993 h 93"/>
                <a:gd name="T28" fmla="*/ 10360 w 249"/>
                <a:gd name="T29" fmla="*/ 10993 h 93"/>
                <a:gd name="T30" fmla="*/ 7172 w 249"/>
                <a:gd name="T31" fmla="*/ 10993 h 93"/>
                <a:gd name="T32" fmla="*/ 3985 w 249"/>
                <a:gd name="T33" fmla="*/ 7067 h 93"/>
                <a:gd name="T34" fmla="*/ 0 w 249"/>
                <a:gd name="T35" fmla="*/ 3926 h 93"/>
                <a:gd name="T36" fmla="*/ 0 w 249"/>
                <a:gd name="T37" fmla="*/ 0 h 93"/>
                <a:gd name="T38" fmla="*/ 3985 w 249"/>
                <a:gd name="T39" fmla="*/ 0 h 93"/>
                <a:gd name="T40" fmla="*/ 7172 w 249"/>
                <a:gd name="T41" fmla="*/ 3926 h 93"/>
                <a:gd name="T42" fmla="*/ 7172 w 249"/>
                <a:gd name="T43" fmla="*/ 0 h 93"/>
                <a:gd name="T44" fmla="*/ 10360 w 249"/>
                <a:gd name="T45" fmla="*/ 0 h 93"/>
                <a:gd name="T46" fmla="*/ 14345 w 249"/>
                <a:gd name="T47" fmla="*/ 0 h 93"/>
                <a:gd name="T48" fmla="*/ 21517 w 249"/>
                <a:gd name="T49" fmla="*/ 3926 h 93"/>
                <a:gd name="T50" fmla="*/ 24705 w 249"/>
                <a:gd name="T51" fmla="*/ 0 h 93"/>
                <a:gd name="T52" fmla="*/ 28690 w 249"/>
                <a:gd name="T53" fmla="*/ 0 h 93"/>
                <a:gd name="T54" fmla="*/ 28690 w 249"/>
                <a:gd name="T55" fmla="*/ 3926 h 93"/>
                <a:gd name="T56" fmla="*/ 32675 w 249"/>
                <a:gd name="T57" fmla="*/ 3926 h 93"/>
                <a:gd name="T58" fmla="*/ 32675 w 249"/>
                <a:gd name="T59" fmla="*/ 0 h 93"/>
                <a:gd name="T60" fmla="*/ 35862 w 249"/>
                <a:gd name="T61" fmla="*/ 0 h 93"/>
                <a:gd name="T62" fmla="*/ 39050 w 249"/>
                <a:gd name="T63" fmla="*/ 0 h 93"/>
                <a:gd name="T64" fmla="*/ 43035 w 249"/>
                <a:gd name="T65" fmla="*/ 0 h 93"/>
                <a:gd name="T66" fmla="*/ 43035 w 249"/>
                <a:gd name="T67" fmla="*/ 3926 h 93"/>
                <a:gd name="T68" fmla="*/ 46223 w 249"/>
                <a:gd name="T69" fmla="*/ 3926 h 93"/>
                <a:gd name="T70" fmla="*/ 50207 w 249"/>
                <a:gd name="T71" fmla="*/ 7067 h 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49"/>
                <a:gd name="T109" fmla="*/ 0 h 93"/>
                <a:gd name="T110" fmla="*/ 249 w 249"/>
                <a:gd name="T111" fmla="*/ 93 h 9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49" h="93">
                  <a:moveTo>
                    <a:pt x="249" y="39"/>
                  </a:moveTo>
                  <a:lnTo>
                    <a:pt x="213" y="56"/>
                  </a:lnTo>
                  <a:lnTo>
                    <a:pt x="178" y="75"/>
                  </a:lnTo>
                  <a:lnTo>
                    <a:pt x="142" y="93"/>
                  </a:lnTo>
                  <a:lnTo>
                    <a:pt x="124" y="93"/>
                  </a:lnTo>
                  <a:lnTo>
                    <a:pt x="124" y="75"/>
                  </a:lnTo>
                  <a:lnTo>
                    <a:pt x="107" y="75"/>
                  </a:lnTo>
                  <a:lnTo>
                    <a:pt x="71" y="75"/>
                  </a:lnTo>
                  <a:lnTo>
                    <a:pt x="51" y="75"/>
                  </a:lnTo>
                  <a:lnTo>
                    <a:pt x="34" y="56"/>
                  </a:lnTo>
                  <a:lnTo>
                    <a:pt x="51" y="56"/>
                  </a:lnTo>
                  <a:lnTo>
                    <a:pt x="71" y="56"/>
                  </a:lnTo>
                  <a:lnTo>
                    <a:pt x="90" y="56"/>
                  </a:lnTo>
                  <a:lnTo>
                    <a:pt x="71" y="56"/>
                  </a:lnTo>
                  <a:lnTo>
                    <a:pt x="51" y="56"/>
                  </a:lnTo>
                  <a:lnTo>
                    <a:pt x="34" y="56"/>
                  </a:lnTo>
                  <a:lnTo>
                    <a:pt x="17" y="39"/>
                  </a:lnTo>
                  <a:lnTo>
                    <a:pt x="0" y="20"/>
                  </a:lnTo>
                  <a:lnTo>
                    <a:pt x="0" y="0"/>
                  </a:lnTo>
                  <a:lnTo>
                    <a:pt x="17" y="0"/>
                  </a:lnTo>
                  <a:lnTo>
                    <a:pt x="34" y="20"/>
                  </a:lnTo>
                  <a:lnTo>
                    <a:pt x="34" y="0"/>
                  </a:lnTo>
                  <a:lnTo>
                    <a:pt x="51" y="0"/>
                  </a:lnTo>
                  <a:lnTo>
                    <a:pt x="71" y="0"/>
                  </a:lnTo>
                  <a:lnTo>
                    <a:pt x="107" y="20"/>
                  </a:lnTo>
                  <a:lnTo>
                    <a:pt x="124" y="0"/>
                  </a:lnTo>
                  <a:lnTo>
                    <a:pt x="142" y="0"/>
                  </a:lnTo>
                  <a:lnTo>
                    <a:pt x="142" y="20"/>
                  </a:lnTo>
                  <a:lnTo>
                    <a:pt x="161" y="20"/>
                  </a:lnTo>
                  <a:lnTo>
                    <a:pt x="161" y="0"/>
                  </a:lnTo>
                  <a:lnTo>
                    <a:pt x="178" y="0"/>
                  </a:lnTo>
                  <a:lnTo>
                    <a:pt x="195" y="0"/>
                  </a:lnTo>
                  <a:lnTo>
                    <a:pt x="213" y="0"/>
                  </a:lnTo>
                  <a:lnTo>
                    <a:pt x="213" y="20"/>
                  </a:lnTo>
                  <a:lnTo>
                    <a:pt x="232" y="20"/>
                  </a:lnTo>
                  <a:lnTo>
                    <a:pt x="249" y="39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10" name="Freeform 178">
              <a:extLst>
                <a:ext uri="{FF2B5EF4-FFF2-40B4-BE49-F238E27FC236}">
                  <a16:creationId xmlns:a16="http://schemas.microsoft.com/office/drawing/2014/main" id="{96D8054F-6561-43FB-9CD6-9F5AE5B47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1392" y="1502795"/>
              <a:ext cx="34286" cy="37584"/>
            </a:xfrm>
            <a:custGeom>
              <a:avLst/>
              <a:gdLst>
                <a:gd name="T0" fmla="*/ 3969 w 36"/>
                <a:gd name="T1" fmla="*/ 0 h 36"/>
                <a:gd name="T2" fmla="*/ 3969 w 36"/>
                <a:gd name="T3" fmla="*/ 4189 h 36"/>
                <a:gd name="T4" fmla="*/ 7144 w 36"/>
                <a:gd name="T5" fmla="*/ 8379 h 36"/>
                <a:gd name="T6" fmla="*/ 3969 w 36"/>
                <a:gd name="T7" fmla="*/ 4189 h 36"/>
                <a:gd name="T8" fmla="*/ 0 w 36"/>
                <a:gd name="T9" fmla="*/ 4189 h 36"/>
                <a:gd name="T10" fmla="*/ 3969 w 36"/>
                <a:gd name="T11" fmla="*/ 0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6"/>
                <a:gd name="T19" fmla="*/ 0 h 36"/>
                <a:gd name="T20" fmla="*/ 36 w 36"/>
                <a:gd name="T21" fmla="*/ 36 h 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6" h="36">
                  <a:moveTo>
                    <a:pt x="19" y="0"/>
                  </a:moveTo>
                  <a:lnTo>
                    <a:pt x="19" y="19"/>
                  </a:lnTo>
                  <a:lnTo>
                    <a:pt x="36" y="36"/>
                  </a:lnTo>
                  <a:lnTo>
                    <a:pt x="19" y="19"/>
                  </a:lnTo>
                  <a:lnTo>
                    <a:pt x="0" y="19"/>
                  </a:lnTo>
                  <a:lnTo>
                    <a:pt x="19" y="0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6B4F372-5F05-4163-B262-A537DE33E97A}"/>
                </a:ext>
              </a:extLst>
            </p:cNvPr>
            <p:cNvGrpSpPr/>
            <p:nvPr/>
          </p:nvGrpSpPr>
          <p:grpSpPr>
            <a:xfrm>
              <a:off x="6300910" y="1308945"/>
              <a:ext cx="4257111" cy="2229284"/>
              <a:chOff x="6455431" y="1261892"/>
              <a:chExt cx="3668179" cy="1920883"/>
            </a:xfrm>
          </p:grpSpPr>
          <p:sp>
            <p:nvSpPr>
              <p:cNvPr id="321" name="Freeform 171">
                <a:extLst>
                  <a:ext uri="{FF2B5EF4-FFF2-40B4-BE49-F238E27FC236}">
                    <a16:creationId xmlns:a16="http://schemas.microsoft.com/office/drawing/2014/main" id="{5A74DFD3-976E-4C72-B7A3-21FCDF3001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5431" y="1261892"/>
                <a:ext cx="3668179" cy="1757261"/>
              </a:xfrm>
              <a:custGeom>
                <a:avLst/>
                <a:gdLst>
                  <a:gd name="T0" fmla="*/ 436660 w 4469"/>
                  <a:gd name="T1" fmla="*/ 82510 h 2063"/>
                  <a:gd name="T2" fmla="*/ 436660 w 4469"/>
                  <a:gd name="T3" fmla="*/ 15867 h 2063"/>
                  <a:gd name="T4" fmla="*/ 361237 w 4469"/>
                  <a:gd name="T5" fmla="*/ 34908 h 2063"/>
                  <a:gd name="T6" fmla="*/ 296135 w 4469"/>
                  <a:gd name="T7" fmla="*/ 117418 h 2063"/>
                  <a:gd name="T8" fmla="*/ 261996 w 4469"/>
                  <a:gd name="T9" fmla="*/ 104724 h 2063"/>
                  <a:gd name="T10" fmla="*/ 261996 w 4469"/>
                  <a:gd name="T11" fmla="*/ 174540 h 2063"/>
                  <a:gd name="T12" fmla="*/ 244530 w 4469"/>
                  <a:gd name="T13" fmla="*/ 117418 h 2063"/>
                  <a:gd name="T14" fmla="*/ 217536 w 4469"/>
                  <a:gd name="T15" fmla="*/ 145979 h 2063"/>
                  <a:gd name="T16" fmla="*/ 179428 w 4469"/>
                  <a:gd name="T17" fmla="*/ 158673 h 2063"/>
                  <a:gd name="T18" fmla="*/ 113532 w 4469"/>
                  <a:gd name="T19" fmla="*/ 180887 h 2063"/>
                  <a:gd name="T20" fmla="*/ 93683 w 4469"/>
                  <a:gd name="T21" fmla="*/ 180887 h 2063"/>
                  <a:gd name="T22" fmla="*/ 52399 w 4469"/>
                  <a:gd name="T23" fmla="*/ 209448 h 2063"/>
                  <a:gd name="T24" fmla="*/ 34933 w 4469"/>
                  <a:gd name="T25" fmla="*/ 184061 h 2063"/>
                  <a:gd name="T26" fmla="*/ 27787 w 4469"/>
                  <a:gd name="T27" fmla="*/ 142806 h 2063"/>
                  <a:gd name="T28" fmla="*/ 14291 w 4469"/>
                  <a:gd name="T29" fmla="*/ 180887 h 2063"/>
                  <a:gd name="T30" fmla="*/ 14291 w 4469"/>
                  <a:gd name="T31" fmla="*/ 246737 h 2063"/>
                  <a:gd name="T32" fmla="*/ 3970 w 4469"/>
                  <a:gd name="T33" fmla="*/ 279265 h 2063"/>
                  <a:gd name="T34" fmla="*/ 21436 w 4469"/>
                  <a:gd name="T35" fmla="*/ 307826 h 2063"/>
                  <a:gd name="T36" fmla="*/ 38109 w 4469"/>
                  <a:gd name="T37" fmla="*/ 330040 h 2063"/>
                  <a:gd name="T38" fmla="*/ 55575 w 4469"/>
                  <a:gd name="T39" fmla="*/ 341940 h 2063"/>
                  <a:gd name="T40" fmla="*/ 69072 w 4469"/>
                  <a:gd name="T41" fmla="*/ 370502 h 2063"/>
                  <a:gd name="T42" fmla="*/ 86538 w 4469"/>
                  <a:gd name="T43" fmla="*/ 396683 h 2063"/>
                  <a:gd name="T44" fmla="*/ 110356 w 4469"/>
                  <a:gd name="T45" fmla="*/ 399063 h 2063"/>
                  <a:gd name="T46" fmla="*/ 117501 w 4469"/>
                  <a:gd name="T47" fmla="*/ 374468 h 2063"/>
                  <a:gd name="T48" fmla="*/ 120677 w 4469"/>
                  <a:gd name="T49" fmla="*/ 349081 h 2063"/>
                  <a:gd name="T50" fmla="*/ 161961 w 4469"/>
                  <a:gd name="T51" fmla="*/ 339560 h 2063"/>
                  <a:gd name="T52" fmla="*/ 182603 w 4469"/>
                  <a:gd name="T53" fmla="*/ 326867 h 2063"/>
                  <a:gd name="T54" fmla="*/ 237384 w 4469"/>
                  <a:gd name="T55" fmla="*/ 303859 h 2063"/>
                  <a:gd name="T56" fmla="*/ 265172 w 4469"/>
                  <a:gd name="T57" fmla="*/ 313379 h 2063"/>
                  <a:gd name="T58" fmla="*/ 316777 w 4469"/>
                  <a:gd name="T59" fmla="*/ 349081 h 2063"/>
                  <a:gd name="T60" fmla="*/ 350916 w 4469"/>
                  <a:gd name="T61" fmla="*/ 341940 h 2063"/>
                  <a:gd name="T62" fmla="*/ 406491 w 4469"/>
                  <a:gd name="T63" fmla="*/ 336387 h 2063"/>
                  <a:gd name="T64" fmla="*/ 474769 w 4469"/>
                  <a:gd name="T65" fmla="*/ 345907 h 2063"/>
                  <a:gd name="T66" fmla="*/ 505732 w 4469"/>
                  <a:gd name="T67" fmla="*/ 330040 h 2063"/>
                  <a:gd name="T68" fmla="*/ 564483 w 4469"/>
                  <a:gd name="T69" fmla="*/ 358601 h 2063"/>
                  <a:gd name="T70" fmla="*/ 564483 w 4469"/>
                  <a:gd name="T71" fmla="*/ 387162 h 2063"/>
                  <a:gd name="T72" fmla="*/ 585125 w 4469"/>
                  <a:gd name="T73" fmla="*/ 396683 h 2063"/>
                  <a:gd name="T74" fmla="*/ 605767 w 4469"/>
                  <a:gd name="T75" fmla="*/ 320520 h 2063"/>
                  <a:gd name="T76" fmla="*/ 598621 w 4469"/>
                  <a:gd name="T77" fmla="*/ 298305 h 2063"/>
                  <a:gd name="T78" fmla="*/ 674045 w 4469"/>
                  <a:gd name="T79" fmla="*/ 265777 h 2063"/>
                  <a:gd name="T80" fmla="*/ 722474 w 4469"/>
                  <a:gd name="T81" fmla="*/ 241183 h 2063"/>
                  <a:gd name="T82" fmla="*/ 739941 w 4469"/>
                  <a:gd name="T83" fmla="*/ 253877 h 2063"/>
                  <a:gd name="T84" fmla="*/ 719298 w 4469"/>
                  <a:gd name="T85" fmla="*/ 322900 h 2063"/>
                  <a:gd name="T86" fmla="*/ 739941 w 4469"/>
                  <a:gd name="T87" fmla="*/ 298305 h 2063"/>
                  <a:gd name="T88" fmla="*/ 739941 w 4469"/>
                  <a:gd name="T89" fmla="*/ 269744 h 2063"/>
                  <a:gd name="T90" fmla="*/ 778049 w 4469"/>
                  <a:gd name="T91" fmla="*/ 263397 h 2063"/>
                  <a:gd name="T92" fmla="*/ 818540 w 4469"/>
                  <a:gd name="T93" fmla="*/ 209448 h 2063"/>
                  <a:gd name="T94" fmla="*/ 846327 w 4469"/>
                  <a:gd name="T95" fmla="*/ 199928 h 2063"/>
                  <a:gd name="T96" fmla="*/ 877290 w 4469"/>
                  <a:gd name="T97" fmla="*/ 184061 h 2063"/>
                  <a:gd name="T98" fmla="*/ 767728 w 4469"/>
                  <a:gd name="T99" fmla="*/ 152326 h 2063"/>
                  <a:gd name="T100" fmla="*/ 725650 w 4469"/>
                  <a:gd name="T101" fmla="*/ 145979 h 2063"/>
                  <a:gd name="T102" fmla="*/ 670869 w 4469"/>
                  <a:gd name="T103" fmla="*/ 120592 h 2063"/>
                  <a:gd name="T104" fmla="*/ 595446 w 4469"/>
                  <a:gd name="T105" fmla="*/ 117418 h 2063"/>
                  <a:gd name="T106" fmla="*/ 557337 w 4469"/>
                  <a:gd name="T107" fmla="*/ 98377 h 2063"/>
                  <a:gd name="T108" fmla="*/ 499381 w 4469"/>
                  <a:gd name="T109" fmla="*/ 82510 h 206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469"/>
                  <a:gd name="T166" fmla="*/ 0 h 2063"/>
                  <a:gd name="T167" fmla="*/ 4469 w 4469"/>
                  <a:gd name="T168" fmla="*/ 2063 h 206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469" h="2063">
                    <a:moveTo>
                      <a:pt x="2269" y="384"/>
                    </a:moveTo>
                    <a:lnTo>
                      <a:pt x="2269" y="384"/>
                    </a:lnTo>
                    <a:lnTo>
                      <a:pt x="2252" y="401"/>
                    </a:lnTo>
                    <a:lnTo>
                      <a:pt x="2269" y="432"/>
                    </a:lnTo>
                    <a:lnTo>
                      <a:pt x="2200" y="465"/>
                    </a:lnTo>
                    <a:lnTo>
                      <a:pt x="2183" y="465"/>
                    </a:lnTo>
                    <a:lnTo>
                      <a:pt x="2200" y="417"/>
                    </a:lnTo>
                    <a:lnTo>
                      <a:pt x="2375" y="273"/>
                    </a:lnTo>
                    <a:lnTo>
                      <a:pt x="2375" y="177"/>
                    </a:lnTo>
                    <a:lnTo>
                      <a:pt x="2304" y="113"/>
                    </a:lnTo>
                    <a:lnTo>
                      <a:pt x="2218" y="113"/>
                    </a:lnTo>
                    <a:lnTo>
                      <a:pt x="2218" y="144"/>
                    </a:lnTo>
                    <a:lnTo>
                      <a:pt x="2166" y="144"/>
                    </a:lnTo>
                    <a:lnTo>
                      <a:pt x="2200" y="81"/>
                    </a:lnTo>
                    <a:lnTo>
                      <a:pt x="2114" y="65"/>
                    </a:lnTo>
                    <a:lnTo>
                      <a:pt x="2166" y="33"/>
                    </a:lnTo>
                    <a:lnTo>
                      <a:pt x="2114" y="0"/>
                    </a:lnTo>
                    <a:lnTo>
                      <a:pt x="2028" y="81"/>
                    </a:lnTo>
                    <a:lnTo>
                      <a:pt x="2028" y="144"/>
                    </a:lnTo>
                    <a:lnTo>
                      <a:pt x="1976" y="144"/>
                    </a:lnTo>
                    <a:lnTo>
                      <a:pt x="1820" y="177"/>
                    </a:lnTo>
                    <a:lnTo>
                      <a:pt x="1682" y="257"/>
                    </a:lnTo>
                    <a:lnTo>
                      <a:pt x="1630" y="321"/>
                    </a:lnTo>
                    <a:lnTo>
                      <a:pt x="1647" y="401"/>
                    </a:lnTo>
                    <a:lnTo>
                      <a:pt x="1455" y="432"/>
                    </a:lnTo>
                    <a:lnTo>
                      <a:pt x="1473" y="528"/>
                    </a:lnTo>
                    <a:lnTo>
                      <a:pt x="1525" y="576"/>
                    </a:lnTo>
                    <a:lnTo>
                      <a:pt x="1490" y="593"/>
                    </a:lnTo>
                    <a:lnTo>
                      <a:pt x="1438" y="528"/>
                    </a:lnTo>
                    <a:lnTo>
                      <a:pt x="1386" y="512"/>
                    </a:lnTo>
                    <a:lnTo>
                      <a:pt x="1369" y="528"/>
                    </a:lnTo>
                    <a:lnTo>
                      <a:pt x="1334" y="497"/>
                    </a:lnTo>
                    <a:lnTo>
                      <a:pt x="1300" y="465"/>
                    </a:lnTo>
                    <a:lnTo>
                      <a:pt x="1300" y="480"/>
                    </a:lnTo>
                    <a:lnTo>
                      <a:pt x="1317" y="528"/>
                    </a:lnTo>
                    <a:lnTo>
                      <a:pt x="1265" y="608"/>
                    </a:lnTo>
                    <a:lnTo>
                      <a:pt x="1300" y="672"/>
                    </a:lnTo>
                    <a:lnTo>
                      <a:pt x="1283" y="737"/>
                    </a:lnTo>
                    <a:lnTo>
                      <a:pt x="1283" y="785"/>
                    </a:lnTo>
                    <a:lnTo>
                      <a:pt x="1334" y="785"/>
                    </a:lnTo>
                    <a:lnTo>
                      <a:pt x="1300" y="800"/>
                    </a:lnTo>
                    <a:lnTo>
                      <a:pt x="1317" y="881"/>
                    </a:lnTo>
                    <a:lnTo>
                      <a:pt x="1214" y="960"/>
                    </a:lnTo>
                    <a:lnTo>
                      <a:pt x="1196" y="944"/>
                    </a:lnTo>
                    <a:lnTo>
                      <a:pt x="1265" y="864"/>
                    </a:lnTo>
                    <a:lnTo>
                      <a:pt x="1283" y="816"/>
                    </a:lnTo>
                    <a:lnTo>
                      <a:pt x="1248" y="785"/>
                    </a:lnTo>
                    <a:lnTo>
                      <a:pt x="1248" y="624"/>
                    </a:lnTo>
                    <a:lnTo>
                      <a:pt x="1231" y="593"/>
                    </a:lnTo>
                    <a:lnTo>
                      <a:pt x="1248" y="497"/>
                    </a:lnTo>
                    <a:lnTo>
                      <a:pt x="1214" y="480"/>
                    </a:lnTo>
                    <a:lnTo>
                      <a:pt x="1231" y="465"/>
                    </a:lnTo>
                    <a:lnTo>
                      <a:pt x="1214" y="432"/>
                    </a:lnTo>
                    <a:lnTo>
                      <a:pt x="1179" y="449"/>
                    </a:lnTo>
                    <a:lnTo>
                      <a:pt x="1093" y="656"/>
                    </a:lnTo>
                    <a:lnTo>
                      <a:pt x="1093" y="737"/>
                    </a:lnTo>
                    <a:lnTo>
                      <a:pt x="1144" y="800"/>
                    </a:lnTo>
                    <a:lnTo>
                      <a:pt x="1144" y="833"/>
                    </a:lnTo>
                    <a:lnTo>
                      <a:pt x="1093" y="800"/>
                    </a:lnTo>
                    <a:lnTo>
                      <a:pt x="885" y="672"/>
                    </a:lnTo>
                    <a:lnTo>
                      <a:pt x="868" y="704"/>
                    </a:lnTo>
                    <a:lnTo>
                      <a:pt x="937" y="785"/>
                    </a:lnTo>
                    <a:lnTo>
                      <a:pt x="903" y="800"/>
                    </a:lnTo>
                    <a:lnTo>
                      <a:pt x="885" y="785"/>
                    </a:lnTo>
                    <a:lnTo>
                      <a:pt x="780" y="816"/>
                    </a:lnTo>
                    <a:lnTo>
                      <a:pt x="762" y="848"/>
                    </a:lnTo>
                    <a:lnTo>
                      <a:pt x="745" y="816"/>
                    </a:lnTo>
                    <a:lnTo>
                      <a:pt x="745" y="785"/>
                    </a:lnTo>
                    <a:lnTo>
                      <a:pt x="572" y="881"/>
                    </a:lnTo>
                    <a:lnTo>
                      <a:pt x="572" y="912"/>
                    </a:lnTo>
                    <a:lnTo>
                      <a:pt x="538" y="929"/>
                    </a:lnTo>
                    <a:lnTo>
                      <a:pt x="486" y="896"/>
                    </a:lnTo>
                    <a:lnTo>
                      <a:pt x="538" y="864"/>
                    </a:lnTo>
                    <a:lnTo>
                      <a:pt x="521" y="816"/>
                    </a:lnTo>
                    <a:lnTo>
                      <a:pt x="451" y="800"/>
                    </a:lnTo>
                    <a:lnTo>
                      <a:pt x="469" y="833"/>
                    </a:lnTo>
                    <a:lnTo>
                      <a:pt x="469" y="912"/>
                    </a:lnTo>
                    <a:lnTo>
                      <a:pt x="486" y="944"/>
                    </a:lnTo>
                    <a:lnTo>
                      <a:pt x="469" y="977"/>
                    </a:lnTo>
                    <a:lnTo>
                      <a:pt x="417" y="960"/>
                    </a:lnTo>
                    <a:lnTo>
                      <a:pt x="348" y="1008"/>
                    </a:lnTo>
                    <a:lnTo>
                      <a:pt x="382" y="1073"/>
                    </a:lnTo>
                    <a:lnTo>
                      <a:pt x="279" y="1040"/>
                    </a:lnTo>
                    <a:lnTo>
                      <a:pt x="261" y="1056"/>
                    </a:lnTo>
                    <a:lnTo>
                      <a:pt x="296" y="1103"/>
                    </a:lnTo>
                    <a:lnTo>
                      <a:pt x="261" y="1103"/>
                    </a:lnTo>
                    <a:lnTo>
                      <a:pt x="210" y="1073"/>
                    </a:lnTo>
                    <a:lnTo>
                      <a:pt x="210" y="977"/>
                    </a:lnTo>
                    <a:lnTo>
                      <a:pt x="158" y="944"/>
                    </a:lnTo>
                    <a:lnTo>
                      <a:pt x="140" y="912"/>
                    </a:lnTo>
                    <a:lnTo>
                      <a:pt x="175" y="929"/>
                    </a:lnTo>
                    <a:lnTo>
                      <a:pt x="313" y="977"/>
                    </a:lnTo>
                    <a:lnTo>
                      <a:pt x="400" y="929"/>
                    </a:lnTo>
                    <a:lnTo>
                      <a:pt x="382" y="881"/>
                    </a:lnTo>
                    <a:lnTo>
                      <a:pt x="279" y="785"/>
                    </a:lnTo>
                    <a:lnTo>
                      <a:pt x="175" y="752"/>
                    </a:lnTo>
                    <a:lnTo>
                      <a:pt x="175" y="737"/>
                    </a:lnTo>
                    <a:lnTo>
                      <a:pt x="140" y="720"/>
                    </a:lnTo>
                    <a:lnTo>
                      <a:pt x="106" y="737"/>
                    </a:lnTo>
                    <a:lnTo>
                      <a:pt x="106" y="752"/>
                    </a:lnTo>
                    <a:lnTo>
                      <a:pt x="87" y="752"/>
                    </a:lnTo>
                    <a:lnTo>
                      <a:pt x="52" y="785"/>
                    </a:lnTo>
                    <a:lnTo>
                      <a:pt x="52" y="833"/>
                    </a:lnTo>
                    <a:lnTo>
                      <a:pt x="87" y="864"/>
                    </a:lnTo>
                    <a:lnTo>
                      <a:pt x="69" y="912"/>
                    </a:lnTo>
                    <a:lnTo>
                      <a:pt x="87" y="992"/>
                    </a:lnTo>
                    <a:lnTo>
                      <a:pt x="69" y="1040"/>
                    </a:lnTo>
                    <a:lnTo>
                      <a:pt x="106" y="1088"/>
                    </a:lnTo>
                    <a:lnTo>
                      <a:pt x="87" y="1121"/>
                    </a:lnTo>
                    <a:lnTo>
                      <a:pt x="123" y="1151"/>
                    </a:lnTo>
                    <a:lnTo>
                      <a:pt x="123" y="1169"/>
                    </a:lnTo>
                    <a:lnTo>
                      <a:pt x="69" y="1247"/>
                    </a:lnTo>
                    <a:lnTo>
                      <a:pt x="18" y="1280"/>
                    </a:lnTo>
                    <a:lnTo>
                      <a:pt x="35" y="1280"/>
                    </a:lnTo>
                    <a:lnTo>
                      <a:pt x="69" y="1313"/>
                    </a:lnTo>
                    <a:lnTo>
                      <a:pt x="35" y="1343"/>
                    </a:lnTo>
                    <a:lnTo>
                      <a:pt x="18" y="1361"/>
                    </a:lnTo>
                    <a:lnTo>
                      <a:pt x="0" y="1361"/>
                    </a:lnTo>
                    <a:lnTo>
                      <a:pt x="18" y="1409"/>
                    </a:lnTo>
                    <a:lnTo>
                      <a:pt x="18" y="1424"/>
                    </a:lnTo>
                    <a:lnTo>
                      <a:pt x="18" y="1439"/>
                    </a:lnTo>
                    <a:lnTo>
                      <a:pt x="18" y="1457"/>
                    </a:lnTo>
                    <a:lnTo>
                      <a:pt x="35" y="1487"/>
                    </a:lnTo>
                    <a:lnTo>
                      <a:pt x="87" y="1505"/>
                    </a:lnTo>
                    <a:lnTo>
                      <a:pt x="106" y="1520"/>
                    </a:lnTo>
                    <a:lnTo>
                      <a:pt x="106" y="1553"/>
                    </a:lnTo>
                    <a:lnTo>
                      <a:pt x="140" y="1600"/>
                    </a:lnTo>
                    <a:lnTo>
                      <a:pt x="158" y="1600"/>
                    </a:lnTo>
                    <a:lnTo>
                      <a:pt x="140" y="1631"/>
                    </a:lnTo>
                    <a:lnTo>
                      <a:pt x="123" y="1616"/>
                    </a:lnTo>
                    <a:lnTo>
                      <a:pt x="123" y="1631"/>
                    </a:lnTo>
                    <a:lnTo>
                      <a:pt x="140" y="1664"/>
                    </a:lnTo>
                    <a:lnTo>
                      <a:pt x="192" y="1664"/>
                    </a:lnTo>
                    <a:lnTo>
                      <a:pt x="210" y="1679"/>
                    </a:lnTo>
                    <a:lnTo>
                      <a:pt x="192" y="1679"/>
                    </a:lnTo>
                    <a:lnTo>
                      <a:pt x="210" y="1696"/>
                    </a:lnTo>
                    <a:lnTo>
                      <a:pt x="227" y="1696"/>
                    </a:lnTo>
                    <a:lnTo>
                      <a:pt x="244" y="1727"/>
                    </a:lnTo>
                    <a:lnTo>
                      <a:pt x="261" y="1744"/>
                    </a:lnTo>
                    <a:lnTo>
                      <a:pt x="279" y="1727"/>
                    </a:lnTo>
                    <a:lnTo>
                      <a:pt x="365" y="1775"/>
                    </a:lnTo>
                    <a:lnTo>
                      <a:pt x="348" y="1840"/>
                    </a:lnTo>
                    <a:lnTo>
                      <a:pt x="330" y="1823"/>
                    </a:lnTo>
                    <a:lnTo>
                      <a:pt x="313" y="1840"/>
                    </a:lnTo>
                    <a:lnTo>
                      <a:pt x="313" y="1871"/>
                    </a:lnTo>
                    <a:lnTo>
                      <a:pt x="330" y="1856"/>
                    </a:lnTo>
                    <a:lnTo>
                      <a:pt x="348" y="1871"/>
                    </a:lnTo>
                    <a:lnTo>
                      <a:pt x="296" y="1888"/>
                    </a:lnTo>
                    <a:lnTo>
                      <a:pt x="313" y="1904"/>
                    </a:lnTo>
                    <a:lnTo>
                      <a:pt x="279" y="1936"/>
                    </a:lnTo>
                    <a:lnTo>
                      <a:pt x="261" y="1936"/>
                    </a:lnTo>
                    <a:lnTo>
                      <a:pt x="279" y="1936"/>
                    </a:lnTo>
                    <a:lnTo>
                      <a:pt x="348" y="2000"/>
                    </a:lnTo>
                    <a:lnTo>
                      <a:pt x="434" y="2000"/>
                    </a:lnTo>
                    <a:lnTo>
                      <a:pt x="469" y="2015"/>
                    </a:lnTo>
                    <a:lnTo>
                      <a:pt x="503" y="2015"/>
                    </a:lnTo>
                    <a:lnTo>
                      <a:pt x="538" y="2048"/>
                    </a:lnTo>
                    <a:lnTo>
                      <a:pt x="555" y="2063"/>
                    </a:lnTo>
                    <a:lnTo>
                      <a:pt x="572" y="2063"/>
                    </a:lnTo>
                    <a:lnTo>
                      <a:pt x="590" y="2048"/>
                    </a:lnTo>
                    <a:lnTo>
                      <a:pt x="555" y="2015"/>
                    </a:lnTo>
                    <a:lnTo>
                      <a:pt x="555" y="1984"/>
                    </a:lnTo>
                    <a:lnTo>
                      <a:pt x="538" y="1952"/>
                    </a:lnTo>
                    <a:lnTo>
                      <a:pt x="572" y="1904"/>
                    </a:lnTo>
                    <a:lnTo>
                      <a:pt x="590" y="1919"/>
                    </a:lnTo>
                    <a:lnTo>
                      <a:pt x="607" y="1904"/>
                    </a:lnTo>
                    <a:lnTo>
                      <a:pt x="607" y="1888"/>
                    </a:lnTo>
                    <a:lnTo>
                      <a:pt x="590" y="1888"/>
                    </a:lnTo>
                    <a:lnTo>
                      <a:pt x="607" y="1871"/>
                    </a:lnTo>
                    <a:lnTo>
                      <a:pt x="590" y="1840"/>
                    </a:lnTo>
                    <a:lnTo>
                      <a:pt x="555" y="1840"/>
                    </a:lnTo>
                    <a:lnTo>
                      <a:pt x="538" y="1808"/>
                    </a:lnTo>
                    <a:lnTo>
                      <a:pt x="555" y="1727"/>
                    </a:lnTo>
                    <a:lnTo>
                      <a:pt x="590" y="1760"/>
                    </a:lnTo>
                    <a:lnTo>
                      <a:pt x="607" y="1760"/>
                    </a:lnTo>
                    <a:lnTo>
                      <a:pt x="590" y="1727"/>
                    </a:lnTo>
                    <a:lnTo>
                      <a:pt x="641" y="1679"/>
                    </a:lnTo>
                    <a:lnTo>
                      <a:pt x="676" y="1696"/>
                    </a:lnTo>
                    <a:lnTo>
                      <a:pt x="693" y="1679"/>
                    </a:lnTo>
                    <a:lnTo>
                      <a:pt x="728" y="1696"/>
                    </a:lnTo>
                    <a:lnTo>
                      <a:pt x="780" y="1727"/>
                    </a:lnTo>
                    <a:lnTo>
                      <a:pt x="814" y="1712"/>
                    </a:lnTo>
                    <a:lnTo>
                      <a:pt x="851" y="1712"/>
                    </a:lnTo>
                    <a:lnTo>
                      <a:pt x="868" y="1727"/>
                    </a:lnTo>
                    <a:lnTo>
                      <a:pt x="937" y="1727"/>
                    </a:lnTo>
                    <a:lnTo>
                      <a:pt x="954" y="1696"/>
                    </a:lnTo>
                    <a:lnTo>
                      <a:pt x="903" y="1679"/>
                    </a:lnTo>
                    <a:lnTo>
                      <a:pt x="937" y="1664"/>
                    </a:lnTo>
                    <a:lnTo>
                      <a:pt x="920" y="1648"/>
                    </a:lnTo>
                    <a:lnTo>
                      <a:pt x="937" y="1631"/>
                    </a:lnTo>
                    <a:lnTo>
                      <a:pt x="937" y="1583"/>
                    </a:lnTo>
                    <a:lnTo>
                      <a:pt x="972" y="1600"/>
                    </a:lnTo>
                    <a:lnTo>
                      <a:pt x="1127" y="1553"/>
                    </a:lnTo>
                    <a:lnTo>
                      <a:pt x="1127" y="1535"/>
                    </a:lnTo>
                    <a:lnTo>
                      <a:pt x="1144" y="1535"/>
                    </a:lnTo>
                    <a:lnTo>
                      <a:pt x="1196" y="1535"/>
                    </a:lnTo>
                    <a:lnTo>
                      <a:pt x="1214" y="1568"/>
                    </a:lnTo>
                    <a:lnTo>
                      <a:pt x="1214" y="1583"/>
                    </a:lnTo>
                    <a:lnTo>
                      <a:pt x="1231" y="1583"/>
                    </a:lnTo>
                    <a:lnTo>
                      <a:pt x="1265" y="1600"/>
                    </a:lnTo>
                    <a:lnTo>
                      <a:pt x="1265" y="1616"/>
                    </a:lnTo>
                    <a:lnTo>
                      <a:pt x="1300" y="1616"/>
                    </a:lnTo>
                    <a:lnTo>
                      <a:pt x="1334" y="1583"/>
                    </a:lnTo>
                    <a:lnTo>
                      <a:pt x="1369" y="1568"/>
                    </a:lnTo>
                    <a:lnTo>
                      <a:pt x="1386" y="1616"/>
                    </a:lnTo>
                    <a:lnTo>
                      <a:pt x="1455" y="1727"/>
                    </a:lnTo>
                    <a:lnTo>
                      <a:pt x="1473" y="1696"/>
                    </a:lnTo>
                    <a:lnTo>
                      <a:pt x="1490" y="1727"/>
                    </a:lnTo>
                    <a:lnTo>
                      <a:pt x="1542" y="1712"/>
                    </a:lnTo>
                    <a:lnTo>
                      <a:pt x="1596" y="1760"/>
                    </a:lnTo>
                    <a:lnTo>
                      <a:pt x="1630" y="1775"/>
                    </a:lnTo>
                    <a:lnTo>
                      <a:pt x="1630" y="1760"/>
                    </a:lnTo>
                    <a:lnTo>
                      <a:pt x="1647" y="1792"/>
                    </a:lnTo>
                    <a:lnTo>
                      <a:pt x="1630" y="1808"/>
                    </a:lnTo>
                    <a:lnTo>
                      <a:pt x="1665" y="1792"/>
                    </a:lnTo>
                    <a:lnTo>
                      <a:pt x="1682" y="1775"/>
                    </a:lnTo>
                    <a:lnTo>
                      <a:pt x="1768" y="1727"/>
                    </a:lnTo>
                    <a:lnTo>
                      <a:pt x="1837" y="1744"/>
                    </a:lnTo>
                    <a:lnTo>
                      <a:pt x="1872" y="1760"/>
                    </a:lnTo>
                    <a:lnTo>
                      <a:pt x="1941" y="1760"/>
                    </a:lnTo>
                    <a:lnTo>
                      <a:pt x="1941" y="1727"/>
                    </a:lnTo>
                    <a:lnTo>
                      <a:pt x="1941" y="1696"/>
                    </a:lnTo>
                    <a:lnTo>
                      <a:pt x="1976" y="1679"/>
                    </a:lnTo>
                    <a:lnTo>
                      <a:pt x="2045" y="1696"/>
                    </a:lnTo>
                    <a:lnTo>
                      <a:pt x="2079" y="1744"/>
                    </a:lnTo>
                    <a:lnTo>
                      <a:pt x="2097" y="1744"/>
                    </a:lnTo>
                    <a:lnTo>
                      <a:pt x="2131" y="1727"/>
                    </a:lnTo>
                    <a:lnTo>
                      <a:pt x="2235" y="1775"/>
                    </a:lnTo>
                    <a:lnTo>
                      <a:pt x="2287" y="1792"/>
                    </a:lnTo>
                    <a:lnTo>
                      <a:pt x="2358" y="1775"/>
                    </a:lnTo>
                    <a:lnTo>
                      <a:pt x="2392" y="1744"/>
                    </a:lnTo>
                    <a:lnTo>
                      <a:pt x="2444" y="1760"/>
                    </a:lnTo>
                    <a:lnTo>
                      <a:pt x="2479" y="1775"/>
                    </a:lnTo>
                    <a:lnTo>
                      <a:pt x="2530" y="1760"/>
                    </a:lnTo>
                    <a:lnTo>
                      <a:pt x="2548" y="1696"/>
                    </a:lnTo>
                    <a:lnTo>
                      <a:pt x="2565" y="1679"/>
                    </a:lnTo>
                    <a:lnTo>
                      <a:pt x="2565" y="1664"/>
                    </a:lnTo>
                    <a:lnTo>
                      <a:pt x="2548" y="1664"/>
                    </a:lnTo>
                    <a:lnTo>
                      <a:pt x="2565" y="1631"/>
                    </a:lnTo>
                    <a:lnTo>
                      <a:pt x="2634" y="1616"/>
                    </a:lnTo>
                    <a:lnTo>
                      <a:pt x="2686" y="1631"/>
                    </a:lnTo>
                    <a:lnTo>
                      <a:pt x="2721" y="1664"/>
                    </a:lnTo>
                    <a:lnTo>
                      <a:pt x="2755" y="1775"/>
                    </a:lnTo>
                    <a:lnTo>
                      <a:pt x="2790" y="1775"/>
                    </a:lnTo>
                    <a:lnTo>
                      <a:pt x="2841" y="1808"/>
                    </a:lnTo>
                    <a:lnTo>
                      <a:pt x="2841" y="1840"/>
                    </a:lnTo>
                    <a:lnTo>
                      <a:pt x="2876" y="1840"/>
                    </a:lnTo>
                    <a:lnTo>
                      <a:pt x="2945" y="1823"/>
                    </a:lnTo>
                    <a:lnTo>
                      <a:pt x="2945" y="1856"/>
                    </a:lnTo>
                    <a:lnTo>
                      <a:pt x="2893" y="1952"/>
                    </a:lnTo>
                    <a:lnTo>
                      <a:pt x="2876" y="1936"/>
                    </a:lnTo>
                    <a:lnTo>
                      <a:pt x="2841" y="1952"/>
                    </a:lnTo>
                    <a:lnTo>
                      <a:pt x="2859" y="2000"/>
                    </a:lnTo>
                    <a:lnTo>
                      <a:pt x="2841" y="2032"/>
                    </a:lnTo>
                    <a:lnTo>
                      <a:pt x="2859" y="2000"/>
                    </a:lnTo>
                    <a:lnTo>
                      <a:pt x="2876" y="2000"/>
                    </a:lnTo>
                    <a:lnTo>
                      <a:pt x="2876" y="2015"/>
                    </a:lnTo>
                    <a:lnTo>
                      <a:pt x="2893" y="2032"/>
                    </a:lnTo>
                    <a:lnTo>
                      <a:pt x="2945" y="2000"/>
                    </a:lnTo>
                    <a:lnTo>
                      <a:pt x="3103" y="1823"/>
                    </a:lnTo>
                    <a:lnTo>
                      <a:pt x="3103" y="1712"/>
                    </a:lnTo>
                    <a:lnTo>
                      <a:pt x="3120" y="1679"/>
                    </a:lnTo>
                    <a:lnTo>
                      <a:pt x="3120" y="1631"/>
                    </a:lnTo>
                    <a:lnTo>
                      <a:pt x="3085" y="1583"/>
                    </a:lnTo>
                    <a:lnTo>
                      <a:pt x="3068" y="1583"/>
                    </a:lnTo>
                    <a:lnTo>
                      <a:pt x="3049" y="1616"/>
                    </a:lnTo>
                    <a:lnTo>
                      <a:pt x="3014" y="1616"/>
                    </a:lnTo>
                    <a:lnTo>
                      <a:pt x="3032" y="1583"/>
                    </a:lnTo>
                    <a:lnTo>
                      <a:pt x="3014" y="1583"/>
                    </a:lnTo>
                    <a:lnTo>
                      <a:pt x="2997" y="1568"/>
                    </a:lnTo>
                    <a:lnTo>
                      <a:pt x="2962" y="1568"/>
                    </a:lnTo>
                    <a:lnTo>
                      <a:pt x="2962" y="1553"/>
                    </a:lnTo>
                    <a:lnTo>
                      <a:pt x="3014" y="1505"/>
                    </a:lnTo>
                    <a:lnTo>
                      <a:pt x="3172" y="1361"/>
                    </a:lnTo>
                    <a:lnTo>
                      <a:pt x="3241" y="1343"/>
                    </a:lnTo>
                    <a:lnTo>
                      <a:pt x="3258" y="1361"/>
                    </a:lnTo>
                    <a:lnTo>
                      <a:pt x="3275" y="1343"/>
                    </a:lnTo>
                    <a:lnTo>
                      <a:pt x="3327" y="1361"/>
                    </a:lnTo>
                    <a:lnTo>
                      <a:pt x="3344" y="1328"/>
                    </a:lnTo>
                    <a:lnTo>
                      <a:pt x="3396" y="1343"/>
                    </a:lnTo>
                    <a:lnTo>
                      <a:pt x="3414" y="1343"/>
                    </a:lnTo>
                    <a:lnTo>
                      <a:pt x="3396" y="1361"/>
                    </a:lnTo>
                    <a:lnTo>
                      <a:pt x="3396" y="1376"/>
                    </a:lnTo>
                    <a:lnTo>
                      <a:pt x="3500" y="1361"/>
                    </a:lnTo>
                    <a:lnTo>
                      <a:pt x="3483" y="1343"/>
                    </a:lnTo>
                    <a:lnTo>
                      <a:pt x="3552" y="1232"/>
                    </a:lnTo>
                    <a:lnTo>
                      <a:pt x="3638" y="1217"/>
                    </a:lnTo>
                    <a:lnTo>
                      <a:pt x="3638" y="1247"/>
                    </a:lnTo>
                    <a:lnTo>
                      <a:pt x="3638" y="1280"/>
                    </a:lnTo>
                    <a:lnTo>
                      <a:pt x="3725" y="1232"/>
                    </a:lnTo>
                    <a:lnTo>
                      <a:pt x="3725" y="1184"/>
                    </a:lnTo>
                    <a:lnTo>
                      <a:pt x="3759" y="1184"/>
                    </a:lnTo>
                    <a:lnTo>
                      <a:pt x="3742" y="1199"/>
                    </a:lnTo>
                    <a:lnTo>
                      <a:pt x="3725" y="1280"/>
                    </a:lnTo>
                    <a:lnTo>
                      <a:pt x="3690" y="1295"/>
                    </a:lnTo>
                    <a:lnTo>
                      <a:pt x="3586" y="1409"/>
                    </a:lnTo>
                    <a:lnTo>
                      <a:pt x="3552" y="1424"/>
                    </a:lnTo>
                    <a:lnTo>
                      <a:pt x="3517" y="1535"/>
                    </a:lnTo>
                    <a:lnTo>
                      <a:pt x="3552" y="1727"/>
                    </a:lnTo>
                    <a:lnTo>
                      <a:pt x="3586" y="1696"/>
                    </a:lnTo>
                    <a:lnTo>
                      <a:pt x="3621" y="1631"/>
                    </a:lnTo>
                    <a:lnTo>
                      <a:pt x="3638" y="1631"/>
                    </a:lnTo>
                    <a:lnTo>
                      <a:pt x="3638" y="1583"/>
                    </a:lnTo>
                    <a:lnTo>
                      <a:pt x="3655" y="1583"/>
                    </a:lnTo>
                    <a:lnTo>
                      <a:pt x="3690" y="1568"/>
                    </a:lnTo>
                    <a:lnTo>
                      <a:pt x="3673" y="1520"/>
                    </a:lnTo>
                    <a:lnTo>
                      <a:pt x="3707" y="1505"/>
                    </a:lnTo>
                    <a:lnTo>
                      <a:pt x="3725" y="1505"/>
                    </a:lnTo>
                    <a:lnTo>
                      <a:pt x="3725" y="1472"/>
                    </a:lnTo>
                    <a:lnTo>
                      <a:pt x="3707" y="1472"/>
                    </a:lnTo>
                    <a:lnTo>
                      <a:pt x="3725" y="1424"/>
                    </a:lnTo>
                    <a:lnTo>
                      <a:pt x="3707" y="1424"/>
                    </a:lnTo>
                    <a:lnTo>
                      <a:pt x="3690" y="1424"/>
                    </a:lnTo>
                    <a:lnTo>
                      <a:pt x="3690" y="1409"/>
                    </a:lnTo>
                    <a:lnTo>
                      <a:pt x="3725" y="1361"/>
                    </a:lnTo>
                    <a:lnTo>
                      <a:pt x="3725" y="1328"/>
                    </a:lnTo>
                    <a:lnTo>
                      <a:pt x="3759" y="1328"/>
                    </a:lnTo>
                    <a:lnTo>
                      <a:pt x="3813" y="1295"/>
                    </a:lnTo>
                    <a:lnTo>
                      <a:pt x="3813" y="1328"/>
                    </a:lnTo>
                    <a:lnTo>
                      <a:pt x="3830" y="1313"/>
                    </a:lnTo>
                    <a:lnTo>
                      <a:pt x="3882" y="1295"/>
                    </a:lnTo>
                    <a:lnTo>
                      <a:pt x="3917" y="1328"/>
                    </a:lnTo>
                    <a:lnTo>
                      <a:pt x="3934" y="1295"/>
                    </a:lnTo>
                    <a:lnTo>
                      <a:pt x="4107" y="1184"/>
                    </a:lnTo>
                    <a:lnTo>
                      <a:pt x="4158" y="1199"/>
                    </a:lnTo>
                    <a:lnTo>
                      <a:pt x="4176" y="1184"/>
                    </a:lnTo>
                    <a:lnTo>
                      <a:pt x="4141" y="1088"/>
                    </a:lnTo>
                    <a:lnTo>
                      <a:pt x="4124" y="1088"/>
                    </a:lnTo>
                    <a:lnTo>
                      <a:pt x="4124" y="1056"/>
                    </a:lnTo>
                    <a:lnTo>
                      <a:pt x="4141" y="1056"/>
                    </a:lnTo>
                    <a:lnTo>
                      <a:pt x="4176" y="1040"/>
                    </a:lnTo>
                    <a:lnTo>
                      <a:pt x="4210" y="1008"/>
                    </a:lnTo>
                    <a:lnTo>
                      <a:pt x="4193" y="977"/>
                    </a:lnTo>
                    <a:lnTo>
                      <a:pt x="4210" y="960"/>
                    </a:lnTo>
                    <a:lnTo>
                      <a:pt x="4228" y="1008"/>
                    </a:lnTo>
                    <a:lnTo>
                      <a:pt x="4262" y="1008"/>
                    </a:lnTo>
                    <a:lnTo>
                      <a:pt x="4297" y="1040"/>
                    </a:lnTo>
                    <a:lnTo>
                      <a:pt x="4383" y="1088"/>
                    </a:lnTo>
                    <a:lnTo>
                      <a:pt x="4400" y="1040"/>
                    </a:lnTo>
                    <a:lnTo>
                      <a:pt x="4400" y="1008"/>
                    </a:lnTo>
                    <a:lnTo>
                      <a:pt x="4435" y="1008"/>
                    </a:lnTo>
                    <a:lnTo>
                      <a:pt x="4469" y="977"/>
                    </a:lnTo>
                    <a:lnTo>
                      <a:pt x="4418" y="929"/>
                    </a:lnTo>
                    <a:lnTo>
                      <a:pt x="4331" y="912"/>
                    </a:lnTo>
                    <a:lnTo>
                      <a:pt x="4176" y="785"/>
                    </a:lnTo>
                    <a:lnTo>
                      <a:pt x="4072" y="720"/>
                    </a:lnTo>
                    <a:lnTo>
                      <a:pt x="3934" y="704"/>
                    </a:lnTo>
                    <a:lnTo>
                      <a:pt x="3934" y="785"/>
                    </a:lnTo>
                    <a:lnTo>
                      <a:pt x="3899" y="800"/>
                    </a:lnTo>
                    <a:lnTo>
                      <a:pt x="3865" y="768"/>
                    </a:lnTo>
                    <a:lnTo>
                      <a:pt x="3865" y="737"/>
                    </a:lnTo>
                    <a:lnTo>
                      <a:pt x="3882" y="737"/>
                    </a:lnTo>
                    <a:lnTo>
                      <a:pt x="3899" y="720"/>
                    </a:lnTo>
                    <a:lnTo>
                      <a:pt x="3865" y="720"/>
                    </a:lnTo>
                    <a:lnTo>
                      <a:pt x="3830" y="752"/>
                    </a:lnTo>
                    <a:lnTo>
                      <a:pt x="3742" y="737"/>
                    </a:lnTo>
                    <a:lnTo>
                      <a:pt x="3655" y="737"/>
                    </a:lnTo>
                    <a:lnTo>
                      <a:pt x="3621" y="720"/>
                    </a:lnTo>
                    <a:lnTo>
                      <a:pt x="3638" y="689"/>
                    </a:lnTo>
                    <a:lnTo>
                      <a:pt x="3604" y="641"/>
                    </a:lnTo>
                    <a:lnTo>
                      <a:pt x="3535" y="624"/>
                    </a:lnTo>
                    <a:lnTo>
                      <a:pt x="3431" y="656"/>
                    </a:lnTo>
                    <a:lnTo>
                      <a:pt x="3414" y="608"/>
                    </a:lnTo>
                    <a:lnTo>
                      <a:pt x="3379" y="608"/>
                    </a:lnTo>
                    <a:lnTo>
                      <a:pt x="3362" y="593"/>
                    </a:lnTo>
                    <a:lnTo>
                      <a:pt x="3362" y="545"/>
                    </a:lnTo>
                    <a:lnTo>
                      <a:pt x="3241" y="512"/>
                    </a:lnTo>
                    <a:lnTo>
                      <a:pt x="3103" y="480"/>
                    </a:lnTo>
                    <a:lnTo>
                      <a:pt x="3068" y="545"/>
                    </a:lnTo>
                    <a:lnTo>
                      <a:pt x="3103" y="593"/>
                    </a:lnTo>
                    <a:lnTo>
                      <a:pt x="2997" y="593"/>
                    </a:lnTo>
                    <a:lnTo>
                      <a:pt x="2980" y="593"/>
                    </a:lnTo>
                    <a:lnTo>
                      <a:pt x="2945" y="608"/>
                    </a:lnTo>
                    <a:lnTo>
                      <a:pt x="2893" y="560"/>
                    </a:lnTo>
                    <a:lnTo>
                      <a:pt x="2859" y="656"/>
                    </a:lnTo>
                    <a:lnTo>
                      <a:pt x="2824" y="641"/>
                    </a:lnTo>
                    <a:lnTo>
                      <a:pt x="2790" y="576"/>
                    </a:lnTo>
                    <a:lnTo>
                      <a:pt x="2807" y="497"/>
                    </a:lnTo>
                    <a:lnTo>
                      <a:pt x="2772" y="449"/>
                    </a:lnTo>
                    <a:lnTo>
                      <a:pt x="2669" y="417"/>
                    </a:lnTo>
                    <a:lnTo>
                      <a:pt x="2634" y="417"/>
                    </a:lnTo>
                    <a:lnTo>
                      <a:pt x="2617" y="449"/>
                    </a:lnTo>
                    <a:lnTo>
                      <a:pt x="2634" y="480"/>
                    </a:lnTo>
                    <a:lnTo>
                      <a:pt x="2496" y="465"/>
                    </a:lnTo>
                    <a:lnTo>
                      <a:pt x="2513" y="417"/>
                    </a:lnTo>
                    <a:lnTo>
                      <a:pt x="2427" y="401"/>
                    </a:lnTo>
                    <a:lnTo>
                      <a:pt x="2375" y="432"/>
                    </a:lnTo>
                    <a:lnTo>
                      <a:pt x="2269" y="384"/>
                    </a:lnTo>
                    <a:close/>
                  </a:path>
                </a:pathLst>
              </a:custGeom>
              <a:pattFill prst="pct50">
                <a:fgClr>
                  <a:schemeClr val="accent6"/>
                </a:fgClr>
                <a:bgClr>
                  <a:schemeClr val="bg1"/>
                </a:bgClr>
              </a:patt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2" name="Freeform 186">
                <a:extLst>
                  <a:ext uri="{FF2B5EF4-FFF2-40B4-BE49-F238E27FC236}">
                    <a16:creationId xmlns:a16="http://schemas.microsoft.com/office/drawing/2014/main" id="{BFE036F8-04A8-4521-9647-6FE8F71AD3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96926" y="2569185"/>
                <a:ext cx="910889" cy="465308"/>
              </a:xfrm>
              <a:custGeom>
                <a:avLst/>
                <a:gdLst>
                  <a:gd name="T0" fmla="*/ 216889 w 1109"/>
                  <a:gd name="T1" fmla="*/ 54869 h 545"/>
                  <a:gd name="T2" fmla="*/ 209739 w 1109"/>
                  <a:gd name="T3" fmla="*/ 66797 h 545"/>
                  <a:gd name="T4" fmla="*/ 196233 w 1109"/>
                  <a:gd name="T5" fmla="*/ 66797 h 545"/>
                  <a:gd name="T6" fmla="*/ 182727 w 1109"/>
                  <a:gd name="T7" fmla="*/ 80316 h 545"/>
                  <a:gd name="T8" fmla="*/ 185905 w 1109"/>
                  <a:gd name="T9" fmla="*/ 95425 h 545"/>
                  <a:gd name="T10" fmla="*/ 175577 w 1109"/>
                  <a:gd name="T11" fmla="*/ 95425 h 545"/>
                  <a:gd name="T12" fmla="*/ 148565 w 1109"/>
                  <a:gd name="T13" fmla="*/ 93039 h 545"/>
                  <a:gd name="T14" fmla="*/ 144593 w 1109"/>
                  <a:gd name="T15" fmla="*/ 99401 h 545"/>
                  <a:gd name="T16" fmla="*/ 131087 w 1109"/>
                  <a:gd name="T17" fmla="*/ 99401 h 545"/>
                  <a:gd name="T18" fmla="*/ 117581 w 1109"/>
                  <a:gd name="T19" fmla="*/ 104967 h 545"/>
                  <a:gd name="T20" fmla="*/ 110431 w 1109"/>
                  <a:gd name="T21" fmla="*/ 102582 h 545"/>
                  <a:gd name="T22" fmla="*/ 107253 w 1109"/>
                  <a:gd name="T23" fmla="*/ 95425 h 545"/>
                  <a:gd name="T24" fmla="*/ 82624 w 1109"/>
                  <a:gd name="T25" fmla="*/ 89858 h 545"/>
                  <a:gd name="T26" fmla="*/ 65146 w 1109"/>
                  <a:gd name="T27" fmla="*/ 76340 h 545"/>
                  <a:gd name="T28" fmla="*/ 51640 w 1109"/>
                  <a:gd name="T29" fmla="*/ 104967 h 545"/>
                  <a:gd name="T30" fmla="*/ 41312 w 1109"/>
                  <a:gd name="T31" fmla="*/ 99401 h 545"/>
                  <a:gd name="T32" fmla="*/ 30984 w 1109"/>
                  <a:gd name="T33" fmla="*/ 95425 h 545"/>
                  <a:gd name="T34" fmla="*/ 24628 w 1109"/>
                  <a:gd name="T35" fmla="*/ 85882 h 545"/>
                  <a:gd name="T36" fmla="*/ 27806 w 1109"/>
                  <a:gd name="T37" fmla="*/ 85882 h 545"/>
                  <a:gd name="T38" fmla="*/ 27806 w 1109"/>
                  <a:gd name="T39" fmla="*/ 80316 h 545"/>
                  <a:gd name="T40" fmla="*/ 38134 w 1109"/>
                  <a:gd name="T41" fmla="*/ 70773 h 545"/>
                  <a:gd name="T42" fmla="*/ 24628 w 1109"/>
                  <a:gd name="T43" fmla="*/ 64412 h 545"/>
                  <a:gd name="T44" fmla="*/ 10328 w 1109"/>
                  <a:gd name="T45" fmla="*/ 70773 h 545"/>
                  <a:gd name="T46" fmla="*/ 10328 w 1109"/>
                  <a:gd name="T47" fmla="*/ 61231 h 545"/>
                  <a:gd name="T48" fmla="*/ 0 w 1109"/>
                  <a:gd name="T49" fmla="*/ 54869 h 545"/>
                  <a:gd name="T50" fmla="*/ 10328 w 1109"/>
                  <a:gd name="T51" fmla="*/ 45327 h 545"/>
                  <a:gd name="T52" fmla="*/ 10328 w 1109"/>
                  <a:gd name="T53" fmla="*/ 38170 h 545"/>
                  <a:gd name="T54" fmla="*/ 27806 w 1109"/>
                  <a:gd name="T55" fmla="*/ 32603 h 545"/>
                  <a:gd name="T56" fmla="*/ 38134 w 1109"/>
                  <a:gd name="T57" fmla="*/ 32603 h 545"/>
                  <a:gd name="T58" fmla="*/ 54818 w 1109"/>
                  <a:gd name="T59" fmla="*/ 35784 h 545"/>
                  <a:gd name="T60" fmla="*/ 65146 w 1109"/>
                  <a:gd name="T61" fmla="*/ 38170 h 545"/>
                  <a:gd name="T62" fmla="*/ 82624 w 1109"/>
                  <a:gd name="T63" fmla="*/ 32603 h 545"/>
                  <a:gd name="T64" fmla="*/ 79447 w 1109"/>
                  <a:gd name="T65" fmla="*/ 26242 h 545"/>
                  <a:gd name="T66" fmla="*/ 79447 w 1109"/>
                  <a:gd name="T67" fmla="*/ 19085 h 545"/>
                  <a:gd name="T68" fmla="*/ 85802 w 1109"/>
                  <a:gd name="T69" fmla="*/ 13519 h 545"/>
                  <a:gd name="T70" fmla="*/ 117581 w 1109"/>
                  <a:gd name="T71" fmla="*/ 0 h 545"/>
                  <a:gd name="T72" fmla="*/ 131087 w 1109"/>
                  <a:gd name="T73" fmla="*/ 0 h 545"/>
                  <a:gd name="T74" fmla="*/ 134265 w 1109"/>
                  <a:gd name="T75" fmla="*/ 9542 h 545"/>
                  <a:gd name="T76" fmla="*/ 144593 w 1109"/>
                  <a:gd name="T77" fmla="*/ 13519 h 545"/>
                  <a:gd name="T78" fmla="*/ 151743 w 1109"/>
                  <a:gd name="T79" fmla="*/ 16699 h 545"/>
                  <a:gd name="T80" fmla="*/ 165249 w 1109"/>
                  <a:gd name="T81" fmla="*/ 7157 h 545"/>
                  <a:gd name="T82" fmla="*/ 182727 w 1109"/>
                  <a:gd name="T83" fmla="*/ 38170 h 545"/>
                  <a:gd name="T84" fmla="*/ 189083 w 1109"/>
                  <a:gd name="T85" fmla="*/ 38170 h 545"/>
                  <a:gd name="T86" fmla="*/ 209739 w 1109"/>
                  <a:gd name="T87" fmla="*/ 45327 h 545"/>
                  <a:gd name="T88" fmla="*/ 216889 w 1109"/>
                  <a:gd name="T89" fmla="*/ 45327 h 545"/>
                  <a:gd name="T90" fmla="*/ 216889 w 1109"/>
                  <a:gd name="T91" fmla="*/ 54869 h 545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109"/>
                  <a:gd name="T139" fmla="*/ 0 h 545"/>
                  <a:gd name="T140" fmla="*/ 1109 w 1109"/>
                  <a:gd name="T141" fmla="*/ 545 h 545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109" h="545">
                    <a:moveTo>
                      <a:pt x="1092" y="273"/>
                    </a:moveTo>
                    <a:lnTo>
                      <a:pt x="1092" y="273"/>
                    </a:lnTo>
                    <a:lnTo>
                      <a:pt x="1075" y="288"/>
                    </a:lnTo>
                    <a:lnTo>
                      <a:pt x="1056" y="336"/>
                    </a:lnTo>
                    <a:lnTo>
                      <a:pt x="1038" y="336"/>
                    </a:lnTo>
                    <a:lnTo>
                      <a:pt x="987" y="336"/>
                    </a:lnTo>
                    <a:lnTo>
                      <a:pt x="969" y="401"/>
                    </a:lnTo>
                    <a:lnTo>
                      <a:pt x="917" y="401"/>
                    </a:lnTo>
                    <a:lnTo>
                      <a:pt x="917" y="417"/>
                    </a:lnTo>
                    <a:lnTo>
                      <a:pt x="935" y="480"/>
                    </a:lnTo>
                    <a:lnTo>
                      <a:pt x="917" y="497"/>
                    </a:lnTo>
                    <a:lnTo>
                      <a:pt x="883" y="480"/>
                    </a:lnTo>
                    <a:lnTo>
                      <a:pt x="779" y="480"/>
                    </a:lnTo>
                    <a:lnTo>
                      <a:pt x="745" y="465"/>
                    </a:lnTo>
                    <a:lnTo>
                      <a:pt x="727" y="480"/>
                    </a:lnTo>
                    <a:lnTo>
                      <a:pt x="727" y="497"/>
                    </a:lnTo>
                    <a:lnTo>
                      <a:pt x="676" y="480"/>
                    </a:lnTo>
                    <a:lnTo>
                      <a:pt x="658" y="497"/>
                    </a:lnTo>
                    <a:lnTo>
                      <a:pt x="606" y="545"/>
                    </a:lnTo>
                    <a:lnTo>
                      <a:pt x="589" y="528"/>
                    </a:lnTo>
                    <a:lnTo>
                      <a:pt x="555" y="528"/>
                    </a:lnTo>
                    <a:lnTo>
                      <a:pt x="555" y="513"/>
                    </a:lnTo>
                    <a:lnTo>
                      <a:pt x="537" y="513"/>
                    </a:lnTo>
                    <a:lnTo>
                      <a:pt x="537" y="480"/>
                    </a:lnTo>
                    <a:lnTo>
                      <a:pt x="501" y="449"/>
                    </a:lnTo>
                    <a:lnTo>
                      <a:pt x="414" y="449"/>
                    </a:lnTo>
                    <a:lnTo>
                      <a:pt x="363" y="401"/>
                    </a:lnTo>
                    <a:lnTo>
                      <a:pt x="328" y="384"/>
                    </a:lnTo>
                    <a:lnTo>
                      <a:pt x="259" y="401"/>
                    </a:lnTo>
                    <a:lnTo>
                      <a:pt x="259" y="528"/>
                    </a:lnTo>
                    <a:lnTo>
                      <a:pt x="242" y="528"/>
                    </a:lnTo>
                    <a:lnTo>
                      <a:pt x="207" y="497"/>
                    </a:lnTo>
                    <a:lnTo>
                      <a:pt x="155" y="513"/>
                    </a:lnTo>
                    <a:lnTo>
                      <a:pt x="155" y="480"/>
                    </a:lnTo>
                    <a:lnTo>
                      <a:pt x="138" y="480"/>
                    </a:lnTo>
                    <a:lnTo>
                      <a:pt x="121" y="432"/>
                    </a:lnTo>
                    <a:lnTo>
                      <a:pt x="103" y="432"/>
                    </a:lnTo>
                    <a:lnTo>
                      <a:pt x="138" y="432"/>
                    </a:lnTo>
                    <a:lnTo>
                      <a:pt x="121" y="417"/>
                    </a:lnTo>
                    <a:lnTo>
                      <a:pt x="138" y="401"/>
                    </a:lnTo>
                    <a:lnTo>
                      <a:pt x="207" y="401"/>
                    </a:lnTo>
                    <a:lnTo>
                      <a:pt x="190" y="353"/>
                    </a:lnTo>
                    <a:lnTo>
                      <a:pt x="155" y="336"/>
                    </a:lnTo>
                    <a:lnTo>
                      <a:pt x="121" y="321"/>
                    </a:lnTo>
                    <a:lnTo>
                      <a:pt x="69" y="353"/>
                    </a:lnTo>
                    <a:lnTo>
                      <a:pt x="52" y="353"/>
                    </a:lnTo>
                    <a:lnTo>
                      <a:pt x="69" y="336"/>
                    </a:lnTo>
                    <a:lnTo>
                      <a:pt x="52" y="305"/>
                    </a:lnTo>
                    <a:lnTo>
                      <a:pt x="17" y="305"/>
                    </a:lnTo>
                    <a:lnTo>
                      <a:pt x="0" y="273"/>
                    </a:lnTo>
                    <a:lnTo>
                      <a:pt x="17" y="192"/>
                    </a:lnTo>
                    <a:lnTo>
                      <a:pt x="52" y="225"/>
                    </a:lnTo>
                    <a:lnTo>
                      <a:pt x="69" y="225"/>
                    </a:lnTo>
                    <a:lnTo>
                      <a:pt x="52" y="192"/>
                    </a:lnTo>
                    <a:lnTo>
                      <a:pt x="103" y="144"/>
                    </a:lnTo>
                    <a:lnTo>
                      <a:pt x="138" y="161"/>
                    </a:lnTo>
                    <a:lnTo>
                      <a:pt x="155" y="144"/>
                    </a:lnTo>
                    <a:lnTo>
                      <a:pt x="190" y="161"/>
                    </a:lnTo>
                    <a:lnTo>
                      <a:pt x="242" y="192"/>
                    </a:lnTo>
                    <a:lnTo>
                      <a:pt x="276" y="177"/>
                    </a:lnTo>
                    <a:lnTo>
                      <a:pt x="311" y="177"/>
                    </a:lnTo>
                    <a:lnTo>
                      <a:pt x="328" y="192"/>
                    </a:lnTo>
                    <a:lnTo>
                      <a:pt x="397" y="192"/>
                    </a:lnTo>
                    <a:lnTo>
                      <a:pt x="414" y="161"/>
                    </a:lnTo>
                    <a:lnTo>
                      <a:pt x="363" y="144"/>
                    </a:lnTo>
                    <a:lnTo>
                      <a:pt x="397" y="129"/>
                    </a:lnTo>
                    <a:lnTo>
                      <a:pt x="380" y="113"/>
                    </a:lnTo>
                    <a:lnTo>
                      <a:pt x="397" y="96"/>
                    </a:lnTo>
                    <a:lnTo>
                      <a:pt x="397" y="48"/>
                    </a:lnTo>
                    <a:lnTo>
                      <a:pt x="432" y="65"/>
                    </a:lnTo>
                    <a:lnTo>
                      <a:pt x="589" y="18"/>
                    </a:lnTo>
                    <a:lnTo>
                      <a:pt x="589" y="0"/>
                    </a:lnTo>
                    <a:lnTo>
                      <a:pt x="606" y="0"/>
                    </a:lnTo>
                    <a:lnTo>
                      <a:pt x="658" y="0"/>
                    </a:lnTo>
                    <a:lnTo>
                      <a:pt x="676" y="33"/>
                    </a:lnTo>
                    <a:lnTo>
                      <a:pt x="676" y="48"/>
                    </a:lnTo>
                    <a:lnTo>
                      <a:pt x="693" y="48"/>
                    </a:lnTo>
                    <a:lnTo>
                      <a:pt x="727" y="65"/>
                    </a:lnTo>
                    <a:lnTo>
                      <a:pt x="727" y="81"/>
                    </a:lnTo>
                    <a:lnTo>
                      <a:pt x="762" y="81"/>
                    </a:lnTo>
                    <a:lnTo>
                      <a:pt x="796" y="48"/>
                    </a:lnTo>
                    <a:lnTo>
                      <a:pt x="831" y="33"/>
                    </a:lnTo>
                    <a:lnTo>
                      <a:pt x="848" y="81"/>
                    </a:lnTo>
                    <a:lnTo>
                      <a:pt x="917" y="192"/>
                    </a:lnTo>
                    <a:lnTo>
                      <a:pt x="935" y="161"/>
                    </a:lnTo>
                    <a:lnTo>
                      <a:pt x="952" y="192"/>
                    </a:lnTo>
                    <a:lnTo>
                      <a:pt x="1004" y="177"/>
                    </a:lnTo>
                    <a:lnTo>
                      <a:pt x="1056" y="225"/>
                    </a:lnTo>
                    <a:lnTo>
                      <a:pt x="1092" y="240"/>
                    </a:lnTo>
                    <a:lnTo>
                      <a:pt x="1092" y="225"/>
                    </a:lnTo>
                    <a:lnTo>
                      <a:pt x="1109" y="257"/>
                    </a:lnTo>
                    <a:lnTo>
                      <a:pt x="1092" y="273"/>
                    </a:lnTo>
                    <a:close/>
                  </a:path>
                </a:pathLst>
              </a:custGeom>
              <a:pattFill prst="pct50">
                <a:fgClr>
                  <a:schemeClr val="accent6"/>
                </a:fgClr>
                <a:bgClr>
                  <a:schemeClr val="bg1"/>
                </a:bgClr>
              </a:patt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3" name="Freeform 187">
                <a:extLst>
                  <a:ext uri="{FF2B5EF4-FFF2-40B4-BE49-F238E27FC236}">
                    <a16:creationId xmlns:a16="http://schemas.microsoft.com/office/drawing/2014/main" id="{CB867047-B82F-42EF-978C-7A01056118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24942" y="2978245"/>
                <a:ext cx="326607" cy="204530"/>
              </a:xfrm>
              <a:custGeom>
                <a:avLst/>
                <a:gdLst>
                  <a:gd name="T0" fmla="*/ 75029 w 400"/>
                  <a:gd name="T1" fmla="*/ 38100 h 240"/>
                  <a:gd name="T2" fmla="*/ 75029 w 400"/>
                  <a:gd name="T3" fmla="*/ 38100 h 240"/>
                  <a:gd name="T4" fmla="*/ 71870 w 400"/>
                  <a:gd name="T5" fmla="*/ 34925 h 240"/>
                  <a:gd name="T6" fmla="*/ 71870 w 400"/>
                  <a:gd name="T7" fmla="*/ 38100 h 240"/>
                  <a:gd name="T8" fmla="*/ 67921 w 400"/>
                  <a:gd name="T9" fmla="*/ 38100 h 240"/>
                  <a:gd name="T10" fmla="*/ 64762 w 400"/>
                  <a:gd name="T11" fmla="*/ 44450 h 240"/>
                  <a:gd name="T12" fmla="*/ 57654 w 400"/>
                  <a:gd name="T13" fmla="*/ 44450 h 240"/>
                  <a:gd name="T14" fmla="*/ 57654 w 400"/>
                  <a:gd name="T15" fmla="*/ 47625 h 240"/>
                  <a:gd name="T16" fmla="*/ 47387 w 400"/>
                  <a:gd name="T17" fmla="*/ 47625 h 240"/>
                  <a:gd name="T18" fmla="*/ 47387 w 400"/>
                  <a:gd name="T19" fmla="*/ 44450 h 240"/>
                  <a:gd name="T20" fmla="*/ 47387 w 400"/>
                  <a:gd name="T21" fmla="*/ 42069 h 240"/>
                  <a:gd name="T22" fmla="*/ 26853 w 400"/>
                  <a:gd name="T23" fmla="*/ 32544 h 240"/>
                  <a:gd name="T24" fmla="*/ 16585 w 400"/>
                  <a:gd name="T25" fmla="*/ 32544 h 240"/>
                  <a:gd name="T26" fmla="*/ 10267 w 400"/>
                  <a:gd name="T27" fmla="*/ 34925 h 240"/>
                  <a:gd name="T28" fmla="*/ 10267 w 400"/>
                  <a:gd name="T29" fmla="*/ 26194 h 240"/>
                  <a:gd name="T30" fmla="*/ 6318 w 400"/>
                  <a:gd name="T31" fmla="*/ 26194 h 240"/>
                  <a:gd name="T32" fmla="*/ 6318 w 400"/>
                  <a:gd name="T33" fmla="*/ 19050 h 240"/>
                  <a:gd name="T34" fmla="*/ 3159 w 400"/>
                  <a:gd name="T35" fmla="*/ 19050 h 240"/>
                  <a:gd name="T36" fmla="*/ 3159 w 400"/>
                  <a:gd name="T37" fmla="*/ 16669 h 240"/>
                  <a:gd name="T38" fmla="*/ 10267 w 400"/>
                  <a:gd name="T39" fmla="*/ 16669 h 240"/>
                  <a:gd name="T40" fmla="*/ 13426 w 400"/>
                  <a:gd name="T41" fmla="*/ 13494 h 240"/>
                  <a:gd name="T42" fmla="*/ 6318 w 400"/>
                  <a:gd name="T43" fmla="*/ 7144 h 240"/>
                  <a:gd name="T44" fmla="*/ 3159 w 400"/>
                  <a:gd name="T45" fmla="*/ 7144 h 240"/>
                  <a:gd name="T46" fmla="*/ 3159 w 400"/>
                  <a:gd name="T47" fmla="*/ 13494 h 240"/>
                  <a:gd name="T48" fmla="*/ 0 w 400"/>
                  <a:gd name="T49" fmla="*/ 7144 h 240"/>
                  <a:gd name="T50" fmla="*/ 10267 w 400"/>
                  <a:gd name="T51" fmla="*/ 3969 h 240"/>
                  <a:gd name="T52" fmla="*/ 16585 w 400"/>
                  <a:gd name="T53" fmla="*/ 9525 h 240"/>
                  <a:gd name="T54" fmla="*/ 20534 w 400"/>
                  <a:gd name="T55" fmla="*/ 9525 h 240"/>
                  <a:gd name="T56" fmla="*/ 23693 w 400"/>
                  <a:gd name="T57" fmla="*/ 9525 h 240"/>
                  <a:gd name="T58" fmla="*/ 23693 w 400"/>
                  <a:gd name="T59" fmla="*/ 7144 h 240"/>
                  <a:gd name="T60" fmla="*/ 30802 w 400"/>
                  <a:gd name="T61" fmla="*/ 3969 h 240"/>
                  <a:gd name="T62" fmla="*/ 33961 w 400"/>
                  <a:gd name="T63" fmla="*/ 3969 h 240"/>
                  <a:gd name="T64" fmla="*/ 30802 w 400"/>
                  <a:gd name="T65" fmla="*/ 0 h 240"/>
                  <a:gd name="T66" fmla="*/ 33961 w 400"/>
                  <a:gd name="T67" fmla="*/ 0 h 240"/>
                  <a:gd name="T68" fmla="*/ 40279 w 400"/>
                  <a:gd name="T69" fmla="*/ 3969 h 240"/>
                  <a:gd name="T70" fmla="*/ 40279 w 400"/>
                  <a:gd name="T71" fmla="*/ 9525 h 240"/>
                  <a:gd name="T72" fmla="*/ 50546 w 400"/>
                  <a:gd name="T73" fmla="*/ 9525 h 240"/>
                  <a:gd name="T74" fmla="*/ 54495 w 400"/>
                  <a:gd name="T75" fmla="*/ 19050 h 240"/>
                  <a:gd name="T76" fmla="*/ 71870 w 400"/>
                  <a:gd name="T77" fmla="*/ 28575 h 240"/>
                  <a:gd name="T78" fmla="*/ 78188 w 400"/>
                  <a:gd name="T79" fmla="*/ 32544 h 240"/>
                  <a:gd name="T80" fmla="*/ 75029 w 400"/>
                  <a:gd name="T81" fmla="*/ 38100 h 240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400"/>
                  <a:gd name="T124" fmla="*/ 0 h 240"/>
                  <a:gd name="T125" fmla="*/ 400 w 400"/>
                  <a:gd name="T126" fmla="*/ 240 h 240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400" h="240">
                    <a:moveTo>
                      <a:pt x="382" y="192"/>
                    </a:moveTo>
                    <a:lnTo>
                      <a:pt x="382" y="192"/>
                    </a:lnTo>
                    <a:lnTo>
                      <a:pt x="365" y="176"/>
                    </a:lnTo>
                    <a:lnTo>
                      <a:pt x="365" y="192"/>
                    </a:lnTo>
                    <a:lnTo>
                      <a:pt x="348" y="192"/>
                    </a:lnTo>
                    <a:lnTo>
                      <a:pt x="330" y="224"/>
                    </a:lnTo>
                    <a:lnTo>
                      <a:pt x="296" y="224"/>
                    </a:lnTo>
                    <a:lnTo>
                      <a:pt x="296" y="240"/>
                    </a:lnTo>
                    <a:lnTo>
                      <a:pt x="242" y="240"/>
                    </a:lnTo>
                    <a:lnTo>
                      <a:pt x="242" y="224"/>
                    </a:lnTo>
                    <a:lnTo>
                      <a:pt x="242" y="209"/>
                    </a:lnTo>
                    <a:lnTo>
                      <a:pt x="139" y="161"/>
                    </a:lnTo>
                    <a:lnTo>
                      <a:pt x="87" y="161"/>
                    </a:lnTo>
                    <a:lnTo>
                      <a:pt x="52" y="176"/>
                    </a:lnTo>
                    <a:lnTo>
                      <a:pt x="52" y="129"/>
                    </a:lnTo>
                    <a:lnTo>
                      <a:pt x="35" y="129"/>
                    </a:lnTo>
                    <a:lnTo>
                      <a:pt x="35" y="96"/>
                    </a:lnTo>
                    <a:lnTo>
                      <a:pt x="18" y="96"/>
                    </a:lnTo>
                    <a:lnTo>
                      <a:pt x="18" y="81"/>
                    </a:lnTo>
                    <a:lnTo>
                      <a:pt x="52" y="81"/>
                    </a:lnTo>
                    <a:lnTo>
                      <a:pt x="69" y="65"/>
                    </a:lnTo>
                    <a:lnTo>
                      <a:pt x="35" y="33"/>
                    </a:lnTo>
                    <a:lnTo>
                      <a:pt x="18" y="33"/>
                    </a:lnTo>
                    <a:lnTo>
                      <a:pt x="18" y="65"/>
                    </a:lnTo>
                    <a:lnTo>
                      <a:pt x="0" y="33"/>
                    </a:lnTo>
                    <a:lnTo>
                      <a:pt x="52" y="17"/>
                    </a:lnTo>
                    <a:lnTo>
                      <a:pt x="87" y="48"/>
                    </a:lnTo>
                    <a:lnTo>
                      <a:pt x="104" y="48"/>
                    </a:lnTo>
                    <a:lnTo>
                      <a:pt x="121" y="48"/>
                    </a:lnTo>
                    <a:lnTo>
                      <a:pt x="121" y="33"/>
                    </a:lnTo>
                    <a:lnTo>
                      <a:pt x="156" y="17"/>
                    </a:lnTo>
                    <a:lnTo>
                      <a:pt x="173" y="17"/>
                    </a:lnTo>
                    <a:lnTo>
                      <a:pt x="156" y="0"/>
                    </a:lnTo>
                    <a:lnTo>
                      <a:pt x="173" y="0"/>
                    </a:lnTo>
                    <a:lnTo>
                      <a:pt x="208" y="17"/>
                    </a:lnTo>
                    <a:lnTo>
                      <a:pt x="208" y="48"/>
                    </a:lnTo>
                    <a:lnTo>
                      <a:pt x="259" y="48"/>
                    </a:lnTo>
                    <a:lnTo>
                      <a:pt x="279" y="96"/>
                    </a:lnTo>
                    <a:lnTo>
                      <a:pt x="365" y="144"/>
                    </a:lnTo>
                    <a:lnTo>
                      <a:pt x="400" y="161"/>
                    </a:lnTo>
                    <a:lnTo>
                      <a:pt x="382" y="192"/>
                    </a:lnTo>
                    <a:close/>
                  </a:path>
                </a:pathLst>
              </a:custGeom>
              <a:pattFill prst="pct50">
                <a:fgClr>
                  <a:schemeClr val="accent6"/>
                </a:fgClr>
                <a:bgClr>
                  <a:schemeClr val="bg1"/>
                </a:bgClr>
              </a:patt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4" name="Freeform 188">
                <a:extLst>
                  <a:ext uri="{FF2B5EF4-FFF2-40B4-BE49-F238E27FC236}">
                    <a16:creationId xmlns:a16="http://schemas.microsoft.com/office/drawing/2014/main" id="{B03C692E-3DAC-4437-B4F4-BB75C4347F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8646" y="2896434"/>
                <a:ext cx="385692" cy="245437"/>
              </a:xfrm>
              <a:custGeom>
                <a:avLst/>
                <a:gdLst>
                  <a:gd name="T0" fmla="*/ 55800 w 468"/>
                  <a:gd name="T1" fmla="*/ 57150 h 288"/>
                  <a:gd name="T2" fmla="*/ 55800 w 468"/>
                  <a:gd name="T3" fmla="*/ 57150 h 288"/>
                  <a:gd name="T4" fmla="*/ 62177 w 468"/>
                  <a:gd name="T5" fmla="*/ 57150 h 288"/>
                  <a:gd name="T6" fmla="*/ 66163 w 468"/>
                  <a:gd name="T7" fmla="*/ 51594 h 288"/>
                  <a:gd name="T8" fmla="*/ 66163 w 468"/>
                  <a:gd name="T9" fmla="*/ 44450 h 288"/>
                  <a:gd name="T10" fmla="*/ 62177 w 468"/>
                  <a:gd name="T11" fmla="*/ 41275 h 288"/>
                  <a:gd name="T12" fmla="*/ 69351 w 468"/>
                  <a:gd name="T13" fmla="*/ 41275 h 288"/>
                  <a:gd name="T14" fmla="*/ 72540 w 468"/>
                  <a:gd name="T15" fmla="*/ 34925 h 288"/>
                  <a:gd name="T16" fmla="*/ 72540 w 468"/>
                  <a:gd name="T17" fmla="*/ 31750 h 288"/>
                  <a:gd name="T18" fmla="*/ 79714 w 468"/>
                  <a:gd name="T19" fmla="*/ 31750 h 288"/>
                  <a:gd name="T20" fmla="*/ 79714 w 468"/>
                  <a:gd name="T21" fmla="*/ 34925 h 288"/>
                  <a:gd name="T22" fmla="*/ 86889 w 468"/>
                  <a:gd name="T23" fmla="*/ 34925 h 288"/>
                  <a:gd name="T24" fmla="*/ 94063 w 468"/>
                  <a:gd name="T25" fmla="*/ 31750 h 288"/>
                  <a:gd name="T26" fmla="*/ 86889 w 468"/>
                  <a:gd name="T27" fmla="*/ 28575 h 288"/>
                  <a:gd name="T28" fmla="*/ 83700 w 468"/>
                  <a:gd name="T29" fmla="*/ 28575 h 288"/>
                  <a:gd name="T30" fmla="*/ 76526 w 468"/>
                  <a:gd name="T31" fmla="*/ 28575 h 288"/>
                  <a:gd name="T32" fmla="*/ 83700 w 468"/>
                  <a:gd name="T33" fmla="*/ 22225 h 288"/>
                  <a:gd name="T34" fmla="*/ 79714 w 468"/>
                  <a:gd name="T35" fmla="*/ 22225 h 288"/>
                  <a:gd name="T36" fmla="*/ 69351 w 468"/>
                  <a:gd name="T37" fmla="*/ 31750 h 288"/>
                  <a:gd name="T38" fmla="*/ 66163 w 468"/>
                  <a:gd name="T39" fmla="*/ 28575 h 288"/>
                  <a:gd name="T40" fmla="*/ 58989 w 468"/>
                  <a:gd name="T41" fmla="*/ 28575 h 288"/>
                  <a:gd name="T42" fmla="*/ 58989 w 468"/>
                  <a:gd name="T43" fmla="*/ 26194 h 288"/>
                  <a:gd name="T44" fmla="*/ 55800 w 468"/>
                  <a:gd name="T45" fmla="*/ 26194 h 288"/>
                  <a:gd name="T46" fmla="*/ 55800 w 468"/>
                  <a:gd name="T47" fmla="*/ 19050 h 288"/>
                  <a:gd name="T48" fmla="*/ 48626 w 468"/>
                  <a:gd name="T49" fmla="*/ 13494 h 288"/>
                  <a:gd name="T50" fmla="*/ 31089 w 468"/>
                  <a:gd name="T51" fmla="*/ 13494 h 288"/>
                  <a:gd name="T52" fmla="*/ 20726 w 468"/>
                  <a:gd name="T53" fmla="*/ 3969 h 288"/>
                  <a:gd name="T54" fmla="*/ 14349 w 468"/>
                  <a:gd name="T55" fmla="*/ 0 h 288"/>
                  <a:gd name="T56" fmla="*/ 0 w 468"/>
                  <a:gd name="T57" fmla="*/ 3969 h 288"/>
                  <a:gd name="T58" fmla="*/ 0 w 468"/>
                  <a:gd name="T59" fmla="*/ 28575 h 288"/>
                  <a:gd name="T60" fmla="*/ 3986 w 468"/>
                  <a:gd name="T61" fmla="*/ 28575 h 288"/>
                  <a:gd name="T62" fmla="*/ 3986 w 468"/>
                  <a:gd name="T63" fmla="*/ 26194 h 288"/>
                  <a:gd name="T64" fmla="*/ 10363 w 468"/>
                  <a:gd name="T65" fmla="*/ 22225 h 288"/>
                  <a:gd name="T66" fmla="*/ 14349 w 468"/>
                  <a:gd name="T67" fmla="*/ 22225 h 288"/>
                  <a:gd name="T68" fmla="*/ 10363 w 468"/>
                  <a:gd name="T69" fmla="*/ 19050 h 288"/>
                  <a:gd name="T70" fmla="*/ 14349 w 468"/>
                  <a:gd name="T71" fmla="*/ 19050 h 288"/>
                  <a:gd name="T72" fmla="*/ 20726 w 468"/>
                  <a:gd name="T73" fmla="*/ 22225 h 288"/>
                  <a:gd name="T74" fmla="*/ 20726 w 468"/>
                  <a:gd name="T75" fmla="*/ 28575 h 288"/>
                  <a:gd name="T76" fmla="*/ 31089 w 468"/>
                  <a:gd name="T77" fmla="*/ 28575 h 288"/>
                  <a:gd name="T78" fmla="*/ 35074 w 468"/>
                  <a:gd name="T79" fmla="*/ 38100 h 288"/>
                  <a:gd name="T80" fmla="*/ 51814 w 468"/>
                  <a:gd name="T81" fmla="*/ 47625 h 288"/>
                  <a:gd name="T82" fmla="*/ 58989 w 468"/>
                  <a:gd name="T83" fmla="*/ 51594 h 288"/>
                  <a:gd name="T84" fmla="*/ 55800 w 468"/>
                  <a:gd name="T85" fmla="*/ 57150 h 28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468"/>
                  <a:gd name="T130" fmla="*/ 0 h 288"/>
                  <a:gd name="T131" fmla="*/ 468 w 468"/>
                  <a:gd name="T132" fmla="*/ 288 h 28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468" h="288">
                    <a:moveTo>
                      <a:pt x="276" y="288"/>
                    </a:moveTo>
                    <a:lnTo>
                      <a:pt x="276" y="288"/>
                    </a:lnTo>
                    <a:lnTo>
                      <a:pt x="311" y="288"/>
                    </a:lnTo>
                    <a:lnTo>
                      <a:pt x="328" y="257"/>
                    </a:lnTo>
                    <a:lnTo>
                      <a:pt x="328" y="225"/>
                    </a:lnTo>
                    <a:lnTo>
                      <a:pt x="311" y="209"/>
                    </a:lnTo>
                    <a:lnTo>
                      <a:pt x="346" y="209"/>
                    </a:lnTo>
                    <a:lnTo>
                      <a:pt x="363" y="177"/>
                    </a:lnTo>
                    <a:lnTo>
                      <a:pt x="363" y="161"/>
                    </a:lnTo>
                    <a:lnTo>
                      <a:pt x="399" y="161"/>
                    </a:lnTo>
                    <a:lnTo>
                      <a:pt x="399" y="177"/>
                    </a:lnTo>
                    <a:lnTo>
                      <a:pt x="434" y="177"/>
                    </a:lnTo>
                    <a:lnTo>
                      <a:pt x="468" y="161"/>
                    </a:lnTo>
                    <a:lnTo>
                      <a:pt x="434" y="144"/>
                    </a:lnTo>
                    <a:lnTo>
                      <a:pt x="417" y="144"/>
                    </a:lnTo>
                    <a:lnTo>
                      <a:pt x="380" y="144"/>
                    </a:lnTo>
                    <a:lnTo>
                      <a:pt x="417" y="113"/>
                    </a:lnTo>
                    <a:lnTo>
                      <a:pt x="399" y="113"/>
                    </a:lnTo>
                    <a:lnTo>
                      <a:pt x="346" y="161"/>
                    </a:lnTo>
                    <a:lnTo>
                      <a:pt x="328" y="144"/>
                    </a:lnTo>
                    <a:lnTo>
                      <a:pt x="294" y="144"/>
                    </a:lnTo>
                    <a:lnTo>
                      <a:pt x="294" y="129"/>
                    </a:lnTo>
                    <a:lnTo>
                      <a:pt x="276" y="129"/>
                    </a:lnTo>
                    <a:lnTo>
                      <a:pt x="276" y="96"/>
                    </a:lnTo>
                    <a:lnTo>
                      <a:pt x="242" y="65"/>
                    </a:lnTo>
                    <a:lnTo>
                      <a:pt x="155" y="65"/>
                    </a:lnTo>
                    <a:lnTo>
                      <a:pt x="104" y="17"/>
                    </a:lnTo>
                    <a:lnTo>
                      <a:pt x="69" y="0"/>
                    </a:lnTo>
                    <a:lnTo>
                      <a:pt x="0" y="17"/>
                    </a:lnTo>
                    <a:lnTo>
                      <a:pt x="0" y="144"/>
                    </a:lnTo>
                    <a:lnTo>
                      <a:pt x="17" y="144"/>
                    </a:lnTo>
                    <a:lnTo>
                      <a:pt x="17" y="129"/>
                    </a:lnTo>
                    <a:lnTo>
                      <a:pt x="52" y="113"/>
                    </a:lnTo>
                    <a:lnTo>
                      <a:pt x="69" y="113"/>
                    </a:lnTo>
                    <a:lnTo>
                      <a:pt x="52" y="96"/>
                    </a:lnTo>
                    <a:lnTo>
                      <a:pt x="69" y="96"/>
                    </a:lnTo>
                    <a:lnTo>
                      <a:pt x="104" y="113"/>
                    </a:lnTo>
                    <a:lnTo>
                      <a:pt x="104" y="144"/>
                    </a:lnTo>
                    <a:lnTo>
                      <a:pt x="155" y="144"/>
                    </a:lnTo>
                    <a:lnTo>
                      <a:pt x="173" y="192"/>
                    </a:lnTo>
                    <a:lnTo>
                      <a:pt x="259" y="240"/>
                    </a:lnTo>
                    <a:lnTo>
                      <a:pt x="294" y="257"/>
                    </a:lnTo>
                    <a:lnTo>
                      <a:pt x="276" y="288"/>
                    </a:lnTo>
                    <a:close/>
                  </a:path>
                </a:pathLst>
              </a:custGeom>
              <a:pattFill prst="pct50">
                <a:fgClr>
                  <a:schemeClr val="accent6"/>
                </a:fgClr>
                <a:bgClr>
                  <a:schemeClr val="bg1"/>
                </a:bgClr>
              </a:patt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12" name="Freeform 193">
              <a:extLst>
                <a:ext uri="{FF2B5EF4-FFF2-40B4-BE49-F238E27FC236}">
                  <a16:creationId xmlns:a16="http://schemas.microsoft.com/office/drawing/2014/main" id="{1AA00373-4CA2-436F-9689-E834457B1A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6623" y="3395810"/>
              <a:ext cx="495235" cy="443089"/>
            </a:xfrm>
            <a:custGeom>
              <a:avLst/>
              <a:gdLst>
                <a:gd name="T0" fmla="*/ 96044 w 520"/>
                <a:gd name="T1" fmla="*/ 88702 h 449"/>
                <a:gd name="T2" fmla="*/ 96044 w 520"/>
                <a:gd name="T3" fmla="*/ 88702 h 449"/>
                <a:gd name="T4" fmla="*/ 72231 w 520"/>
                <a:gd name="T5" fmla="*/ 85534 h 449"/>
                <a:gd name="T6" fmla="*/ 68262 w 520"/>
                <a:gd name="T7" fmla="*/ 79198 h 449"/>
                <a:gd name="T8" fmla="*/ 57944 w 520"/>
                <a:gd name="T9" fmla="*/ 82366 h 449"/>
                <a:gd name="T10" fmla="*/ 51594 w 520"/>
                <a:gd name="T11" fmla="*/ 82366 h 449"/>
                <a:gd name="T12" fmla="*/ 40481 w 520"/>
                <a:gd name="T13" fmla="*/ 72862 h 449"/>
                <a:gd name="T14" fmla="*/ 34131 w 520"/>
                <a:gd name="T15" fmla="*/ 63359 h 449"/>
                <a:gd name="T16" fmla="*/ 26987 w 520"/>
                <a:gd name="T17" fmla="*/ 60191 h 449"/>
                <a:gd name="T18" fmla="*/ 23812 w 520"/>
                <a:gd name="T19" fmla="*/ 60191 h 449"/>
                <a:gd name="T20" fmla="*/ 19844 w 520"/>
                <a:gd name="T21" fmla="*/ 57023 h 449"/>
                <a:gd name="T22" fmla="*/ 16669 w 520"/>
                <a:gd name="T23" fmla="*/ 47519 h 449"/>
                <a:gd name="T24" fmla="*/ 10319 w 520"/>
                <a:gd name="T25" fmla="*/ 44351 h 449"/>
                <a:gd name="T26" fmla="*/ 6350 w 520"/>
                <a:gd name="T27" fmla="*/ 38015 h 449"/>
                <a:gd name="T28" fmla="*/ 10319 w 520"/>
                <a:gd name="T29" fmla="*/ 31679 h 449"/>
                <a:gd name="T30" fmla="*/ 10319 w 520"/>
                <a:gd name="T31" fmla="*/ 25343 h 449"/>
                <a:gd name="T32" fmla="*/ 6350 w 520"/>
                <a:gd name="T33" fmla="*/ 25343 h 449"/>
                <a:gd name="T34" fmla="*/ 3175 w 520"/>
                <a:gd name="T35" fmla="*/ 19008 h 449"/>
                <a:gd name="T36" fmla="*/ 0 w 520"/>
                <a:gd name="T37" fmla="*/ 3168 h 449"/>
                <a:gd name="T38" fmla="*/ 3175 w 520"/>
                <a:gd name="T39" fmla="*/ 0 h 449"/>
                <a:gd name="T40" fmla="*/ 6350 w 520"/>
                <a:gd name="T41" fmla="*/ 6336 h 449"/>
                <a:gd name="T42" fmla="*/ 10319 w 520"/>
                <a:gd name="T43" fmla="*/ 6336 h 449"/>
                <a:gd name="T44" fmla="*/ 13494 w 520"/>
                <a:gd name="T45" fmla="*/ 6336 h 449"/>
                <a:gd name="T46" fmla="*/ 19844 w 520"/>
                <a:gd name="T47" fmla="*/ 3168 h 449"/>
                <a:gd name="T48" fmla="*/ 23812 w 520"/>
                <a:gd name="T49" fmla="*/ 3168 h 449"/>
                <a:gd name="T50" fmla="*/ 19844 w 520"/>
                <a:gd name="T51" fmla="*/ 6336 h 449"/>
                <a:gd name="T52" fmla="*/ 26987 w 520"/>
                <a:gd name="T53" fmla="*/ 9504 h 449"/>
                <a:gd name="T54" fmla="*/ 26987 w 520"/>
                <a:gd name="T55" fmla="*/ 15840 h 449"/>
                <a:gd name="T56" fmla="*/ 40481 w 520"/>
                <a:gd name="T57" fmla="*/ 22176 h 449"/>
                <a:gd name="T58" fmla="*/ 54769 w 520"/>
                <a:gd name="T59" fmla="*/ 22176 h 449"/>
                <a:gd name="T60" fmla="*/ 54769 w 520"/>
                <a:gd name="T61" fmla="*/ 15840 h 449"/>
                <a:gd name="T62" fmla="*/ 61119 w 520"/>
                <a:gd name="T63" fmla="*/ 12672 h 449"/>
                <a:gd name="T64" fmla="*/ 72231 w 520"/>
                <a:gd name="T65" fmla="*/ 12672 h 449"/>
                <a:gd name="T66" fmla="*/ 92869 w 520"/>
                <a:gd name="T67" fmla="*/ 22176 h 449"/>
                <a:gd name="T68" fmla="*/ 92869 w 520"/>
                <a:gd name="T69" fmla="*/ 25343 h 449"/>
                <a:gd name="T70" fmla="*/ 92869 w 520"/>
                <a:gd name="T71" fmla="*/ 28511 h 449"/>
                <a:gd name="T72" fmla="*/ 92869 w 520"/>
                <a:gd name="T73" fmla="*/ 31679 h 449"/>
                <a:gd name="T74" fmla="*/ 88900 w 520"/>
                <a:gd name="T75" fmla="*/ 38015 h 449"/>
                <a:gd name="T76" fmla="*/ 88900 w 520"/>
                <a:gd name="T77" fmla="*/ 50687 h 449"/>
                <a:gd name="T78" fmla="*/ 96044 w 520"/>
                <a:gd name="T79" fmla="*/ 53855 h 449"/>
                <a:gd name="T80" fmla="*/ 96044 w 520"/>
                <a:gd name="T81" fmla="*/ 57023 h 449"/>
                <a:gd name="T82" fmla="*/ 92869 w 520"/>
                <a:gd name="T83" fmla="*/ 63359 h 449"/>
                <a:gd name="T84" fmla="*/ 96044 w 520"/>
                <a:gd name="T85" fmla="*/ 69694 h 449"/>
                <a:gd name="T86" fmla="*/ 99219 w 520"/>
                <a:gd name="T87" fmla="*/ 72862 h 449"/>
                <a:gd name="T88" fmla="*/ 103188 w 520"/>
                <a:gd name="T89" fmla="*/ 79198 h 449"/>
                <a:gd name="T90" fmla="*/ 96044 w 520"/>
                <a:gd name="T91" fmla="*/ 82366 h 449"/>
                <a:gd name="T92" fmla="*/ 96044 w 520"/>
                <a:gd name="T93" fmla="*/ 88702 h 449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0"/>
                <a:gd name="T142" fmla="*/ 0 h 449"/>
                <a:gd name="T143" fmla="*/ 520 w 520"/>
                <a:gd name="T144" fmla="*/ 449 h 449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0" h="449">
                  <a:moveTo>
                    <a:pt x="485" y="449"/>
                  </a:moveTo>
                  <a:lnTo>
                    <a:pt x="485" y="449"/>
                  </a:lnTo>
                  <a:lnTo>
                    <a:pt x="364" y="432"/>
                  </a:lnTo>
                  <a:lnTo>
                    <a:pt x="345" y="401"/>
                  </a:lnTo>
                  <a:lnTo>
                    <a:pt x="293" y="416"/>
                  </a:lnTo>
                  <a:lnTo>
                    <a:pt x="259" y="416"/>
                  </a:lnTo>
                  <a:lnTo>
                    <a:pt x="207" y="368"/>
                  </a:lnTo>
                  <a:lnTo>
                    <a:pt x="172" y="320"/>
                  </a:lnTo>
                  <a:lnTo>
                    <a:pt x="138" y="305"/>
                  </a:lnTo>
                  <a:lnTo>
                    <a:pt x="121" y="305"/>
                  </a:lnTo>
                  <a:lnTo>
                    <a:pt x="103" y="288"/>
                  </a:lnTo>
                  <a:lnTo>
                    <a:pt x="86" y="240"/>
                  </a:lnTo>
                  <a:lnTo>
                    <a:pt x="52" y="224"/>
                  </a:lnTo>
                  <a:lnTo>
                    <a:pt x="34" y="192"/>
                  </a:lnTo>
                  <a:lnTo>
                    <a:pt x="52" y="161"/>
                  </a:lnTo>
                  <a:lnTo>
                    <a:pt x="52" y="128"/>
                  </a:lnTo>
                  <a:lnTo>
                    <a:pt x="34" y="128"/>
                  </a:lnTo>
                  <a:lnTo>
                    <a:pt x="17" y="96"/>
                  </a:lnTo>
                  <a:lnTo>
                    <a:pt x="0" y="17"/>
                  </a:lnTo>
                  <a:lnTo>
                    <a:pt x="17" y="0"/>
                  </a:lnTo>
                  <a:lnTo>
                    <a:pt x="34" y="33"/>
                  </a:lnTo>
                  <a:lnTo>
                    <a:pt x="52" y="33"/>
                  </a:lnTo>
                  <a:lnTo>
                    <a:pt x="69" y="33"/>
                  </a:lnTo>
                  <a:lnTo>
                    <a:pt x="103" y="17"/>
                  </a:lnTo>
                  <a:lnTo>
                    <a:pt x="121" y="17"/>
                  </a:lnTo>
                  <a:lnTo>
                    <a:pt x="103" y="33"/>
                  </a:lnTo>
                  <a:lnTo>
                    <a:pt x="138" y="48"/>
                  </a:lnTo>
                  <a:lnTo>
                    <a:pt x="138" y="80"/>
                  </a:lnTo>
                  <a:lnTo>
                    <a:pt x="207" y="113"/>
                  </a:lnTo>
                  <a:lnTo>
                    <a:pt x="276" y="113"/>
                  </a:lnTo>
                  <a:lnTo>
                    <a:pt x="276" y="80"/>
                  </a:lnTo>
                  <a:lnTo>
                    <a:pt x="311" y="65"/>
                  </a:lnTo>
                  <a:lnTo>
                    <a:pt x="364" y="65"/>
                  </a:lnTo>
                  <a:lnTo>
                    <a:pt x="468" y="113"/>
                  </a:lnTo>
                  <a:lnTo>
                    <a:pt x="468" y="128"/>
                  </a:lnTo>
                  <a:lnTo>
                    <a:pt x="468" y="144"/>
                  </a:lnTo>
                  <a:lnTo>
                    <a:pt x="468" y="161"/>
                  </a:lnTo>
                  <a:lnTo>
                    <a:pt x="451" y="192"/>
                  </a:lnTo>
                  <a:lnTo>
                    <a:pt x="451" y="257"/>
                  </a:lnTo>
                  <a:lnTo>
                    <a:pt x="485" y="272"/>
                  </a:lnTo>
                  <a:lnTo>
                    <a:pt x="485" y="288"/>
                  </a:lnTo>
                  <a:lnTo>
                    <a:pt x="468" y="320"/>
                  </a:lnTo>
                  <a:lnTo>
                    <a:pt x="485" y="353"/>
                  </a:lnTo>
                  <a:lnTo>
                    <a:pt x="503" y="368"/>
                  </a:lnTo>
                  <a:lnTo>
                    <a:pt x="520" y="401"/>
                  </a:lnTo>
                  <a:lnTo>
                    <a:pt x="485" y="416"/>
                  </a:lnTo>
                  <a:lnTo>
                    <a:pt x="485" y="449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13" name="Freeform 194">
              <a:extLst>
                <a:ext uri="{FF2B5EF4-FFF2-40B4-BE49-F238E27FC236}">
                  <a16:creationId xmlns:a16="http://schemas.microsoft.com/office/drawing/2014/main" id="{56937E95-D02B-4CC1-BF43-7B8BB1F577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0430" y="3285036"/>
              <a:ext cx="182855" cy="63299"/>
            </a:xfrm>
            <a:custGeom>
              <a:avLst/>
              <a:gdLst>
                <a:gd name="T0" fmla="*/ 10319 w 192"/>
                <a:gd name="T1" fmla="*/ 12902 h 63"/>
                <a:gd name="T2" fmla="*/ 10319 w 192"/>
                <a:gd name="T3" fmla="*/ 12902 h 63"/>
                <a:gd name="T4" fmla="*/ 10319 w 192"/>
                <a:gd name="T5" fmla="*/ 9676 h 63"/>
                <a:gd name="T6" fmla="*/ 10319 w 192"/>
                <a:gd name="T7" fmla="*/ 6451 h 63"/>
                <a:gd name="T8" fmla="*/ 0 w 192"/>
                <a:gd name="T9" fmla="*/ 0 h 63"/>
                <a:gd name="T10" fmla="*/ 17463 w 192"/>
                <a:gd name="T11" fmla="*/ 0 h 63"/>
                <a:gd name="T12" fmla="*/ 23812 w 192"/>
                <a:gd name="T13" fmla="*/ 3225 h 63"/>
                <a:gd name="T14" fmla="*/ 31750 w 192"/>
                <a:gd name="T15" fmla="*/ 3225 h 63"/>
                <a:gd name="T16" fmla="*/ 38100 w 192"/>
                <a:gd name="T17" fmla="*/ 9676 h 63"/>
                <a:gd name="T18" fmla="*/ 34925 w 192"/>
                <a:gd name="T19" fmla="*/ 9676 h 63"/>
                <a:gd name="T20" fmla="*/ 38100 w 192"/>
                <a:gd name="T21" fmla="*/ 12902 h 63"/>
                <a:gd name="T22" fmla="*/ 31750 w 192"/>
                <a:gd name="T23" fmla="*/ 12902 h 63"/>
                <a:gd name="T24" fmla="*/ 27781 w 192"/>
                <a:gd name="T25" fmla="*/ 12902 h 63"/>
                <a:gd name="T26" fmla="*/ 20637 w 192"/>
                <a:gd name="T27" fmla="*/ 12902 h 63"/>
                <a:gd name="T28" fmla="*/ 10319 w 192"/>
                <a:gd name="T29" fmla="*/ 12902 h 6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92"/>
                <a:gd name="T46" fmla="*/ 0 h 63"/>
                <a:gd name="T47" fmla="*/ 192 w 192"/>
                <a:gd name="T48" fmla="*/ 63 h 6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92" h="63">
                  <a:moveTo>
                    <a:pt x="54" y="63"/>
                  </a:moveTo>
                  <a:lnTo>
                    <a:pt x="54" y="63"/>
                  </a:lnTo>
                  <a:lnTo>
                    <a:pt x="54" y="48"/>
                  </a:lnTo>
                  <a:lnTo>
                    <a:pt x="54" y="32"/>
                  </a:lnTo>
                  <a:lnTo>
                    <a:pt x="0" y="0"/>
                  </a:lnTo>
                  <a:lnTo>
                    <a:pt x="88" y="0"/>
                  </a:lnTo>
                  <a:lnTo>
                    <a:pt x="123" y="15"/>
                  </a:lnTo>
                  <a:lnTo>
                    <a:pt x="157" y="15"/>
                  </a:lnTo>
                  <a:lnTo>
                    <a:pt x="192" y="48"/>
                  </a:lnTo>
                  <a:lnTo>
                    <a:pt x="175" y="48"/>
                  </a:lnTo>
                  <a:lnTo>
                    <a:pt x="192" y="63"/>
                  </a:lnTo>
                  <a:lnTo>
                    <a:pt x="157" y="63"/>
                  </a:lnTo>
                  <a:lnTo>
                    <a:pt x="140" y="63"/>
                  </a:lnTo>
                  <a:lnTo>
                    <a:pt x="105" y="63"/>
                  </a:lnTo>
                  <a:lnTo>
                    <a:pt x="54" y="63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14" name="Freeform 195">
              <a:extLst>
                <a:ext uri="{FF2B5EF4-FFF2-40B4-BE49-F238E27FC236}">
                  <a16:creationId xmlns:a16="http://schemas.microsoft.com/office/drawing/2014/main" id="{DD347D07-8516-47AB-9119-EA120E34FD1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1384" y="3348336"/>
              <a:ext cx="81905" cy="79123"/>
            </a:xfrm>
            <a:custGeom>
              <a:avLst/>
              <a:gdLst>
                <a:gd name="T0" fmla="*/ 16477 w 87"/>
                <a:gd name="T1" fmla="*/ 15679 h 81"/>
                <a:gd name="T2" fmla="*/ 16477 w 87"/>
                <a:gd name="T3" fmla="*/ 15679 h 81"/>
                <a:gd name="T4" fmla="*/ 16477 w 87"/>
                <a:gd name="T5" fmla="*/ 12543 h 81"/>
                <a:gd name="T6" fmla="*/ 13339 w 87"/>
                <a:gd name="T7" fmla="*/ 9407 h 81"/>
                <a:gd name="T8" fmla="*/ 13339 w 87"/>
                <a:gd name="T9" fmla="*/ 6272 h 81"/>
                <a:gd name="T10" fmla="*/ 6277 w 87"/>
                <a:gd name="T11" fmla="*/ 0 h 81"/>
                <a:gd name="T12" fmla="*/ 0 w 87"/>
                <a:gd name="T13" fmla="*/ 0 h 81"/>
                <a:gd name="T14" fmla="*/ 3139 w 87"/>
                <a:gd name="T15" fmla="*/ 9407 h 81"/>
                <a:gd name="T16" fmla="*/ 6277 w 87"/>
                <a:gd name="T17" fmla="*/ 9407 h 81"/>
                <a:gd name="T18" fmla="*/ 13339 w 87"/>
                <a:gd name="T19" fmla="*/ 12543 h 81"/>
                <a:gd name="T20" fmla="*/ 13339 w 87"/>
                <a:gd name="T21" fmla="*/ 15679 h 81"/>
                <a:gd name="T22" fmla="*/ 16477 w 87"/>
                <a:gd name="T23" fmla="*/ 15679 h 8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7"/>
                <a:gd name="T37" fmla="*/ 0 h 81"/>
                <a:gd name="T38" fmla="*/ 87 w 87"/>
                <a:gd name="T39" fmla="*/ 81 h 8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7" h="81">
                  <a:moveTo>
                    <a:pt x="87" y="81"/>
                  </a:moveTo>
                  <a:lnTo>
                    <a:pt x="87" y="81"/>
                  </a:lnTo>
                  <a:lnTo>
                    <a:pt x="87" y="65"/>
                  </a:lnTo>
                  <a:lnTo>
                    <a:pt x="70" y="48"/>
                  </a:lnTo>
                  <a:lnTo>
                    <a:pt x="70" y="33"/>
                  </a:lnTo>
                  <a:lnTo>
                    <a:pt x="35" y="0"/>
                  </a:lnTo>
                  <a:lnTo>
                    <a:pt x="0" y="0"/>
                  </a:lnTo>
                  <a:lnTo>
                    <a:pt x="18" y="48"/>
                  </a:lnTo>
                  <a:lnTo>
                    <a:pt x="35" y="48"/>
                  </a:lnTo>
                  <a:lnTo>
                    <a:pt x="70" y="65"/>
                  </a:lnTo>
                  <a:lnTo>
                    <a:pt x="70" y="81"/>
                  </a:lnTo>
                  <a:lnTo>
                    <a:pt x="87" y="81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15" name="Freeform 196">
              <a:extLst>
                <a:ext uri="{FF2B5EF4-FFF2-40B4-BE49-F238E27FC236}">
                  <a16:creationId xmlns:a16="http://schemas.microsoft.com/office/drawing/2014/main" id="{40D5580E-4051-457B-A5F3-1A8A2D19BC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3763" y="3332510"/>
              <a:ext cx="150476" cy="110772"/>
            </a:xfrm>
            <a:custGeom>
              <a:avLst/>
              <a:gdLst>
                <a:gd name="T0" fmla="*/ 10385 w 157"/>
                <a:gd name="T1" fmla="*/ 19222 h 111"/>
                <a:gd name="T2" fmla="*/ 10385 w 157"/>
                <a:gd name="T3" fmla="*/ 19222 h 111"/>
                <a:gd name="T4" fmla="*/ 17574 w 157"/>
                <a:gd name="T5" fmla="*/ 16018 h 111"/>
                <a:gd name="T6" fmla="*/ 20769 w 157"/>
                <a:gd name="T7" fmla="*/ 16018 h 111"/>
                <a:gd name="T8" fmla="*/ 17574 w 157"/>
                <a:gd name="T9" fmla="*/ 19222 h 111"/>
                <a:gd name="T10" fmla="*/ 24763 w 157"/>
                <a:gd name="T11" fmla="*/ 22425 h 111"/>
                <a:gd name="T12" fmla="*/ 20769 w 157"/>
                <a:gd name="T13" fmla="*/ 19222 h 111"/>
                <a:gd name="T14" fmla="*/ 24763 w 157"/>
                <a:gd name="T15" fmla="*/ 19222 h 111"/>
                <a:gd name="T16" fmla="*/ 24763 w 157"/>
                <a:gd name="T17" fmla="*/ 12814 h 111"/>
                <a:gd name="T18" fmla="*/ 31952 w 157"/>
                <a:gd name="T19" fmla="*/ 9611 h 111"/>
                <a:gd name="T20" fmla="*/ 24763 w 157"/>
                <a:gd name="T21" fmla="*/ 6407 h 111"/>
                <a:gd name="T22" fmla="*/ 20769 w 157"/>
                <a:gd name="T23" fmla="*/ 0 h 111"/>
                <a:gd name="T24" fmla="*/ 17574 w 157"/>
                <a:gd name="T25" fmla="*/ 3204 h 111"/>
                <a:gd name="T26" fmla="*/ 14379 w 157"/>
                <a:gd name="T27" fmla="*/ 3204 h 111"/>
                <a:gd name="T28" fmla="*/ 10385 w 157"/>
                <a:gd name="T29" fmla="*/ 0 h 111"/>
                <a:gd name="T30" fmla="*/ 7189 w 157"/>
                <a:gd name="T31" fmla="*/ 0 h 111"/>
                <a:gd name="T32" fmla="*/ 10385 w 157"/>
                <a:gd name="T33" fmla="*/ 3204 h 111"/>
                <a:gd name="T34" fmla="*/ 3994 w 157"/>
                <a:gd name="T35" fmla="*/ 3204 h 111"/>
                <a:gd name="T36" fmla="*/ 0 w 157"/>
                <a:gd name="T37" fmla="*/ 3204 h 111"/>
                <a:gd name="T38" fmla="*/ 7189 w 157"/>
                <a:gd name="T39" fmla="*/ 9611 h 111"/>
                <a:gd name="T40" fmla="*/ 7189 w 157"/>
                <a:gd name="T41" fmla="*/ 12814 h 111"/>
                <a:gd name="T42" fmla="*/ 10385 w 157"/>
                <a:gd name="T43" fmla="*/ 16018 h 111"/>
                <a:gd name="T44" fmla="*/ 10385 w 157"/>
                <a:gd name="T45" fmla="*/ 19222 h 11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57"/>
                <a:gd name="T70" fmla="*/ 0 h 111"/>
                <a:gd name="T71" fmla="*/ 157 w 157"/>
                <a:gd name="T72" fmla="*/ 111 h 11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57" h="111">
                  <a:moveTo>
                    <a:pt x="52" y="96"/>
                  </a:moveTo>
                  <a:lnTo>
                    <a:pt x="52" y="96"/>
                  </a:lnTo>
                  <a:lnTo>
                    <a:pt x="86" y="80"/>
                  </a:lnTo>
                  <a:lnTo>
                    <a:pt x="104" y="80"/>
                  </a:lnTo>
                  <a:lnTo>
                    <a:pt x="86" y="96"/>
                  </a:lnTo>
                  <a:lnTo>
                    <a:pt x="121" y="111"/>
                  </a:lnTo>
                  <a:lnTo>
                    <a:pt x="104" y="96"/>
                  </a:lnTo>
                  <a:lnTo>
                    <a:pt x="121" y="96"/>
                  </a:lnTo>
                  <a:lnTo>
                    <a:pt x="121" y="63"/>
                  </a:lnTo>
                  <a:lnTo>
                    <a:pt x="157" y="48"/>
                  </a:lnTo>
                  <a:lnTo>
                    <a:pt x="121" y="32"/>
                  </a:lnTo>
                  <a:lnTo>
                    <a:pt x="104" y="0"/>
                  </a:lnTo>
                  <a:lnTo>
                    <a:pt x="86" y="15"/>
                  </a:lnTo>
                  <a:lnTo>
                    <a:pt x="69" y="15"/>
                  </a:lnTo>
                  <a:lnTo>
                    <a:pt x="52" y="0"/>
                  </a:lnTo>
                  <a:lnTo>
                    <a:pt x="35" y="0"/>
                  </a:lnTo>
                  <a:lnTo>
                    <a:pt x="52" y="15"/>
                  </a:lnTo>
                  <a:lnTo>
                    <a:pt x="17" y="15"/>
                  </a:lnTo>
                  <a:lnTo>
                    <a:pt x="0" y="15"/>
                  </a:lnTo>
                  <a:lnTo>
                    <a:pt x="35" y="48"/>
                  </a:lnTo>
                  <a:lnTo>
                    <a:pt x="35" y="63"/>
                  </a:lnTo>
                  <a:lnTo>
                    <a:pt x="52" y="80"/>
                  </a:lnTo>
                  <a:lnTo>
                    <a:pt x="52" y="96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16" name="Freeform 197">
              <a:extLst>
                <a:ext uri="{FF2B5EF4-FFF2-40B4-BE49-F238E27FC236}">
                  <a16:creationId xmlns:a16="http://schemas.microsoft.com/office/drawing/2014/main" id="{0F45ABC3-FF46-46DA-8F08-A98D244938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1860" y="3712301"/>
              <a:ext cx="49524" cy="31649"/>
            </a:xfrm>
            <a:custGeom>
              <a:avLst/>
              <a:gdLst>
                <a:gd name="T0" fmla="*/ 0 w 52"/>
                <a:gd name="T1" fmla="*/ 3079 h 33"/>
                <a:gd name="T2" fmla="*/ 0 w 52"/>
                <a:gd name="T3" fmla="*/ 3079 h 33"/>
                <a:gd name="T4" fmla="*/ 3969 w 52"/>
                <a:gd name="T5" fmla="*/ 0 h 33"/>
                <a:gd name="T6" fmla="*/ 10319 w 52"/>
                <a:gd name="T7" fmla="*/ 3079 h 33"/>
                <a:gd name="T8" fmla="*/ 3969 w 52"/>
                <a:gd name="T9" fmla="*/ 6158 h 33"/>
                <a:gd name="T10" fmla="*/ 0 w 52"/>
                <a:gd name="T11" fmla="*/ 3079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"/>
                <a:gd name="T19" fmla="*/ 0 h 33"/>
                <a:gd name="T20" fmla="*/ 52 w 52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" h="33">
                  <a:moveTo>
                    <a:pt x="0" y="16"/>
                  </a:moveTo>
                  <a:lnTo>
                    <a:pt x="0" y="16"/>
                  </a:lnTo>
                  <a:lnTo>
                    <a:pt x="17" y="0"/>
                  </a:lnTo>
                  <a:lnTo>
                    <a:pt x="52" y="16"/>
                  </a:lnTo>
                  <a:lnTo>
                    <a:pt x="17" y="33"/>
                  </a:lnTo>
                  <a:lnTo>
                    <a:pt x="0" y="16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17" name="Freeform 199">
              <a:extLst>
                <a:ext uri="{FF2B5EF4-FFF2-40B4-BE49-F238E27FC236}">
                  <a16:creationId xmlns:a16="http://schemas.microsoft.com/office/drawing/2014/main" id="{575C6C0F-58A9-4EEF-822B-3F6CF84233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2334" y="3823073"/>
              <a:ext cx="32381" cy="47475"/>
            </a:xfrm>
            <a:custGeom>
              <a:avLst/>
              <a:gdLst>
                <a:gd name="T0" fmla="*/ 3084 w 35"/>
                <a:gd name="T1" fmla="*/ 9525 h 48"/>
                <a:gd name="T2" fmla="*/ 3084 w 35"/>
                <a:gd name="T3" fmla="*/ 9525 h 48"/>
                <a:gd name="T4" fmla="*/ 0 w 35"/>
                <a:gd name="T5" fmla="*/ 3969 h 48"/>
                <a:gd name="T6" fmla="*/ 3084 w 35"/>
                <a:gd name="T7" fmla="*/ 0 h 48"/>
                <a:gd name="T8" fmla="*/ 6169 w 35"/>
                <a:gd name="T9" fmla="*/ 0 h 48"/>
                <a:gd name="T10" fmla="*/ 3084 w 35"/>
                <a:gd name="T11" fmla="*/ 9525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"/>
                <a:gd name="T19" fmla="*/ 0 h 48"/>
                <a:gd name="T20" fmla="*/ 35 w 35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" h="48">
                  <a:moveTo>
                    <a:pt x="18" y="48"/>
                  </a:moveTo>
                  <a:lnTo>
                    <a:pt x="18" y="48"/>
                  </a:lnTo>
                  <a:lnTo>
                    <a:pt x="0" y="17"/>
                  </a:lnTo>
                  <a:lnTo>
                    <a:pt x="18" y="0"/>
                  </a:lnTo>
                  <a:lnTo>
                    <a:pt x="35" y="0"/>
                  </a:lnTo>
                  <a:lnTo>
                    <a:pt x="18" y="48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18" name="Freeform 201">
              <a:extLst>
                <a:ext uri="{FF2B5EF4-FFF2-40B4-BE49-F238E27FC236}">
                  <a16:creationId xmlns:a16="http://schemas.microsoft.com/office/drawing/2014/main" id="{7068F3C2-1882-4B48-99ED-6A4B2C8DBBD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5189" y="3443283"/>
              <a:ext cx="380950" cy="284842"/>
            </a:xfrm>
            <a:custGeom>
              <a:avLst/>
              <a:gdLst>
                <a:gd name="T0" fmla="*/ 76391 w 399"/>
                <a:gd name="T1" fmla="*/ 9525 h 288"/>
                <a:gd name="T2" fmla="*/ 76391 w 399"/>
                <a:gd name="T3" fmla="*/ 9525 h 288"/>
                <a:gd name="T4" fmla="*/ 73208 w 399"/>
                <a:gd name="T5" fmla="*/ 9525 h 288"/>
                <a:gd name="T6" fmla="*/ 66046 w 399"/>
                <a:gd name="T7" fmla="*/ 13494 h 288"/>
                <a:gd name="T8" fmla="*/ 58885 w 399"/>
                <a:gd name="T9" fmla="*/ 15875 h 288"/>
                <a:gd name="T10" fmla="*/ 58885 w 399"/>
                <a:gd name="T11" fmla="*/ 22225 h 288"/>
                <a:gd name="T12" fmla="*/ 55702 w 399"/>
                <a:gd name="T13" fmla="*/ 28575 h 288"/>
                <a:gd name="T14" fmla="*/ 52519 w 399"/>
                <a:gd name="T15" fmla="*/ 28575 h 288"/>
                <a:gd name="T16" fmla="*/ 52519 w 399"/>
                <a:gd name="T17" fmla="*/ 31750 h 288"/>
                <a:gd name="T18" fmla="*/ 48540 w 399"/>
                <a:gd name="T19" fmla="*/ 34925 h 288"/>
                <a:gd name="T20" fmla="*/ 48540 w 399"/>
                <a:gd name="T21" fmla="*/ 41275 h 288"/>
                <a:gd name="T22" fmla="*/ 35013 w 399"/>
                <a:gd name="T23" fmla="*/ 44450 h 288"/>
                <a:gd name="T24" fmla="*/ 31830 w 399"/>
                <a:gd name="T25" fmla="*/ 47625 h 288"/>
                <a:gd name="T26" fmla="*/ 31830 w 399"/>
                <a:gd name="T27" fmla="*/ 53975 h 288"/>
                <a:gd name="T28" fmla="*/ 11140 w 399"/>
                <a:gd name="T29" fmla="*/ 57150 h 288"/>
                <a:gd name="T30" fmla="*/ 3979 w 399"/>
                <a:gd name="T31" fmla="*/ 53975 h 288"/>
                <a:gd name="T32" fmla="*/ 7162 w 399"/>
                <a:gd name="T33" fmla="*/ 47625 h 288"/>
                <a:gd name="T34" fmla="*/ 7162 w 399"/>
                <a:gd name="T35" fmla="*/ 44450 h 288"/>
                <a:gd name="T36" fmla="*/ 0 w 399"/>
                <a:gd name="T37" fmla="*/ 41275 h 288"/>
                <a:gd name="T38" fmla="*/ 0 w 399"/>
                <a:gd name="T39" fmla="*/ 28575 h 288"/>
                <a:gd name="T40" fmla="*/ 3979 w 399"/>
                <a:gd name="T41" fmla="*/ 22225 h 288"/>
                <a:gd name="T42" fmla="*/ 3979 w 399"/>
                <a:gd name="T43" fmla="*/ 19050 h 288"/>
                <a:gd name="T44" fmla="*/ 14323 w 399"/>
                <a:gd name="T45" fmla="*/ 19050 h 288"/>
                <a:gd name="T46" fmla="*/ 14323 w 399"/>
                <a:gd name="T47" fmla="*/ 15875 h 288"/>
                <a:gd name="T48" fmla="*/ 21485 w 399"/>
                <a:gd name="T49" fmla="*/ 15875 h 288"/>
                <a:gd name="T50" fmla="*/ 24668 w 399"/>
                <a:gd name="T51" fmla="*/ 9525 h 288"/>
                <a:gd name="T52" fmla="*/ 27851 w 399"/>
                <a:gd name="T53" fmla="*/ 9525 h 288"/>
                <a:gd name="T54" fmla="*/ 27851 w 399"/>
                <a:gd name="T55" fmla="*/ 6350 h 288"/>
                <a:gd name="T56" fmla="*/ 42174 w 399"/>
                <a:gd name="T57" fmla="*/ 9525 h 288"/>
                <a:gd name="T58" fmla="*/ 48540 w 399"/>
                <a:gd name="T59" fmla="*/ 9525 h 288"/>
                <a:gd name="T60" fmla="*/ 48540 w 399"/>
                <a:gd name="T61" fmla="*/ 6350 h 288"/>
                <a:gd name="T62" fmla="*/ 52519 w 399"/>
                <a:gd name="T63" fmla="*/ 6350 h 288"/>
                <a:gd name="T64" fmla="*/ 55702 w 399"/>
                <a:gd name="T65" fmla="*/ 0 h 288"/>
                <a:gd name="T66" fmla="*/ 58885 w 399"/>
                <a:gd name="T67" fmla="*/ 3969 h 288"/>
                <a:gd name="T68" fmla="*/ 62863 w 399"/>
                <a:gd name="T69" fmla="*/ 13494 h 288"/>
                <a:gd name="T70" fmla="*/ 69229 w 399"/>
                <a:gd name="T71" fmla="*/ 6350 h 288"/>
                <a:gd name="T72" fmla="*/ 79574 w 399"/>
                <a:gd name="T73" fmla="*/ 9525 h 288"/>
                <a:gd name="T74" fmla="*/ 76391 w 399"/>
                <a:gd name="T75" fmla="*/ 9525 h 28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99"/>
                <a:gd name="T115" fmla="*/ 0 h 288"/>
                <a:gd name="T116" fmla="*/ 399 w 399"/>
                <a:gd name="T117" fmla="*/ 288 h 28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99" h="288">
                  <a:moveTo>
                    <a:pt x="382" y="48"/>
                  </a:moveTo>
                  <a:lnTo>
                    <a:pt x="382" y="48"/>
                  </a:lnTo>
                  <a:lnTo>
                    <a:pt x="365" y="48"/>
                  </a:lnTo>
                  <a:lnTo>
                    <a:pt x="330" y="65"/>
                  </a:lnTo>
                  <a:lnTo>
                    <a:pt x="296" y="80"/>
                  </a:lnTo>
                  <a:lnTo>
                    <a:pt x="296" y="113"/>
                  </a:lnTo>
                  <a:lnTo>
                    <a:pt x="278" y="144"/>
                  </a:lnTo>
                  <a:lnTo>
                    <a:pt x="261" y="144"/>
                  </a:lnTo>
                  <a:lnTo>
                    <a:pt x="261" y="161"/>
                  </a:lnTo>
                  <a:lnTo>
                    <a:pt x="244" y="176"/>
                  </a:lnTo>
                  <a:lnTo>
                    <a:pt x="244" y="209"/>
                  </a:lnTo>
                  <a:lnTo>
                    <a:pt x="175" y="224"/>
                  </a:lnTo>
                  <a:lnTo>
                    <a:pt x="157" y="240"/>
                  </a:lnTo>
                  <a:lnTo>
                    <a:pt x="157" y="272"/>
                  </a:lnTo>
                  <a:lnTo>
                    <a:pt x="54" y="288"/>
                  </a:lnTo>
                  <a:lnTo>
                    <a:pt x="19" y="272"/>
                  </a:lnTo>
                  <a:lnTo>
                    <a:pt x="36" y="240"/>
                  </a:lnTo>
                  <a:lnTo>
                    <a:pt x="36" y="224"/>
                  </a:lnTo>
                  <a:lnTo>
                    <a:pt x="0" y="209"/>
                  </a:lnTo>
                  <a:lnTo>
                    <a:pt x="0" y="144"/>
                  </a:lnTo>
                  <a:lnTo>
                    <a:pt x="19" y="113"/>
                  </a:lnTo>
                  <a:lnTo>
                    <a:pt x="19" y="96"/>
                  </a:lnTo>
                  <a:lnTo>
                    <a:pt x="71" y="96"/>
                  </a:lnTo>
                  <a:lnTo>
                    <a:pt x="71" y="80"/>
                  </a:lnTo>
                  <a:lnTo>
                    <a:pt x="105" y="80"/>
                  </a:lnTo>
                  <a:lnTo>
                    <a:pt x="123" y="48"/>
                  </a:lnTo>
                  <a:lnTo>
                    <a:pt x="140" y="48"/>
                  </a:lnTo>
                  <a:lnTo>
                    <a:pt x="140" y="32"/>
                  </a:lnTo>
                  <a:lnTo>
                    <a:pt x="209" y="48"/>
                  </a:lnTo>
                  <a:lnTo>
                    <a:pt x="244" y="48"/>
                  </a:lnTo>
                  <a:lnTo>
                    <a:pt x="244" y="32"/>
                  </a:lnTo>
                  <a:lnTo>
                    <a:pt x="261" y="32"/>
                  </a:lnTo>
                  <a:lnTo>
                    <a:pt x="278" y="0"/>
                  </a:lnTo>
                  <a:lnTo>
                    <a:pt x="296" y="17"/>
                  </a:lnTo>
                  <a:lnTo>
                    <a:pt x="313" y="65"/>
                  </a:lnTo>
                  <a:lnTo>
                    <a:pt x="347" y="32"/>
                  </a:lnTo>
                  <a:lnTo>
                    <a:pt x="399" y="48"/>
                  </a:lnTo>
                  <a:lnTo>
                    <a:pt x="382" y="48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19" name="Freeform 202">
              <a:extLst>
                <a:ext uri="{FF2B5EF4-FFF2-40B4-BE49-F238E27FC236}">
                  <a16:creationId xmlns:a16="http://schemas.microsoft.com/office/drawing/2014/main" id="{D6CB4D46-AE25-4479-9A00-C621528B3F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0430" y="3285036"/>
              <a:ext cx="182855" cy="63299"/>
            </a:xfrm>
            <a:custGeom>
              <a:avLst/>
              <a:gdLst>
                <a:gd name="T0" fmla="*/ 10319 w 192"/>
                <a:gd name="T1" fmla="*/ 12902 h 63"/>
                <a:gd name="T2" fmla="*/ 10319 w 192"/>
                <a:gd name="T3" fmla="*/ 12902 h 63"/>
                <a:gd name="T4" fmla="*/ 10319 w 192"/>
                <a:gd name="T5" fmla="*/ 9676 h 63"/>
                <a:gd name="T6" fmla="*/ 10319 w 192"/>
                <a:gd name="T7" fmla="*/ 6451 h 63"/>
                <a:gd name="T8" fmla="*/ 0 w 192"/>
                <a:gd name="T9" fmla="*/ 0 h 63"/>
                <a:gd name="T10" fmla="*/ 17463 w 192"/>
                <a:gd name="T11" fmla="*/ 0 h 63"/>
                <a:gd name="T12" fmla="*/ 23812 w 192"/>
                <a:gd name="T13" fmla="*/ 3225 h 63"/>
                <a:gd name="T14" fmla="*/ 31750 w 192"/>
                <a:gd name="T15" fmla="*/ 3225 h 63"/>
                <a:gd name="T16" fmla="*/ 38100 w 192"/>
                <a:gd name="T17" fmla="*/ 9676 h 63"/>
                <a:gd name="T18" fmla="*/ 34925 w 192"/>
                <a:gd name="T19" fmla="*/ 9676 h 63"/>
                <a:gd name="T20" fmla="*/ 38100 w 192"/>
                <a:gd name="T21" fmla="*/ 12902 h 63"/>
                <a:gd name="T22" fmla="*/ 31750 w 192"/>
                <a:gd name="T23" fmla="*/ 12902 h 63"/>
                <a:gd name="T24" fmla="*/ 27781 w 192"/>
                <a:gd name="T25" fmla="*/ 12902 h 63"/>
                <a:gd name="T26" fmla="*/ 20637 w 192"/>
                <a:gd name="T27" fmla="*/ 12902 h 63"/>
                <a:gd name="T28" fmla="*/ 10319 w 192"/>
                <a:gd name="T29" fmla="*/ 12902 h 6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92"/>
                <a:gd name="T46" fmla="*/ 0 h 63"/>
                <a:gd name="T47" fmla="*/ 192 w 192"/>
                <a:gd name="T48" fmla="*/ 63 h 6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92" h="63">
                  <a:moveTo>
                    <a:pt x="54" y="63"/>
                  </a:moveTo>
                  <a:lnTo>
                    <a:pt x="54" y="63"/>
                  </a:lnTo>
                  <a:lnTo>
                    <a:pt x="54" y="48"/>
                  </a:lnTo>
                  <a:lnTo>
                    <a:pt x="54" y="32"/>
                  </a:lnTo>
                  <a:lnTo>
                    <a:pt x="0" y="0"/>
                  </a:lnTo>
                  <a:lnTo>
                    <a:pt x="88" y="0"/>
                  </a:lnTo>
                  <a:lnTo>
                    <a:pt x="123" y="15"/>
                  </a:lnTo>
                  <a:lnTo>
                    <a:pt x="157" y="15"/>
                  </a:lnTo>
                  <a:lnTo>
                    <a:pt x="192" y="48"/>
                  </a:lnTo>
                  <a:lnTo>
                    <a:pt x="175" y="48"/>
                  </a:lnTo>
                  <a:lnTo>
                    <a:pt x="192" y="63"/>
                  </a:lnTo>
                  <a:lnTo>
                    <a:pt x="157" y="63"/>
                  </a:lnTo>
                  <a:lnTo>
                    <a:pt x="140" y="63"/>
                  </a:lnTo>
                  <a:lnTo>
                    <a:pt x="105" y="63"/>
                  </a:lnTo>
                  <a:lnTo>
                    <a:pt x="54" y="63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20" name="Freeform 216">
              <a:extLst>
                <a:ext uri="{FF2B5EF4-FFF2-40B4-BE49-F238E27FC236}">
                  <a16:creationId xmlns:a16="http://schemas.microsoft.com/office/drawing/2014/main" id="{C0A4297B-A8B9-48F8-A02F-E157F9CF771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4242" y="3490757"/>
              <a:ext cx="198093" cy="142422"/>
            </a:xfrm>
            <a:custGeom>
              <a:avLst/>
              <a:gdLst>
                <a:gd name="T0" fmla="*/ 0 w 207"/>
                <a:gd name="T1" fmla="*/ 28575 h 144"/>
                <a:gd name="T2" fmla="*/ 0 w 207"/>
                <a:gd name="T3" fmla="*/ 28575 h 144"/>
                <a:gd name="T4" fmla="*/ 3988 w 207"/>
                <a:gd name="T5" fmla="*/ 25400 h 144"/>
                <a:gd name="T6" fmla="*/ 7178 w 207"/>
                <a:gd name="T7" fmla="*/ 19050 h 144"/>
                <a:gd name="T8" fmla="*/ 3988 w 207"/>
                <a:gd name="T9" fmla="*/ 15875 h 144"/>
                <a:gd name="T10" fmla="*/ 3988 w 207"/>
                <a:gd name="T11" fmla="*/ 6350 h 144"/>
                <a:gd name="T12" fmla="*/ 7178 w 207"/>
                <a:gd name="T13" fmla="*/ 6350 h 144"/>
                <a:gd name="T14" fmla="*/ 7178 w 207"/>
                <a:gd name="T15" fmla="*/ 3969 h 144"/>
                <a:gd name="T16" fmla="*/ 17547 w 207"/>
                <a:gd name="T17" fmla="*/ 0 h 144"/>
                <a:gd name="T18" fmla="*/ 20737 w 207"/>
                <a:gd name="T19" fmla="*/ 3969 h 144"/>
                <a:gd name="T20" fmla="*/ 31106 w 207"/>
                <a:gd name="T21" fmla="*/ 0 h 144"/>
                <a:gd name="T22" fmla="*/ 41474 w 207"/>
                <a:gd name="T23" fmla="*/ 0 h 144"/>
                <a:gd name="T24" fmla="*/ 35094 w 207"/>
                <a:gd name="T25" fmla="*/ 3969 h 144"/>
                <a:gd name="T26" fmla="*/ 31106 w 207"/>
                <a:gd name="T27" fmla="*/ 15875 h 144"/>
                <a:gd name="T28" fmla="*/ 20737 w 207"/>
                <a:gd name="T29" fmla="*/ 22225 h 144"/>
                <a:gd name="T30" fmla="*/ 17547 w 207"/>
                <a:gd name="T31" fmla="*/ 22225 h 144"/>
                <a:gd name="T32" fmla="*/ 7178 w 207"/>
                <a:gd name="T33" fmla="*/ 28575 h 144"/>
                <a:gd name="T34" fmla="*/ 0 w 207"/>
                <a:gd name="T35" fmla="*/ 28575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07"/>
                <a:gd name="T55" fmla="*/ 0 h 144"/>
                <a:gd name="T56" fmla="*/ 207 w 207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07" h="144">
                  <a:moveTo>
                    <a:pt x="0" y="144"/>
                  </a:moveTo>
                  <a:lnTo>
                    <a:pt x="0" y="144"/>
                  </a:lnTo>
                  <a:lnTo>
                    <a:pt x="17" y="128"/>
                  </a:lnTo>
                  <a:lnTo>
                    <a:pt x="34" y="96"/>
                  </a:lnTo>
                  <a:lnTo>
                    <a:pt x="17" y="80"/>
                  </a:lnTo>
                  <a:lnTo>
                    <a:pt x="17" y="32"/>
                  </a:lnTo>
                  <a:lnTo>
                    <a:pt x="34" y="32"/>
                  </a:lnTo>
                  <a:lnTo>
                    <a:pt x="34" y="17"/>
                  </a:lnTo>
                  <a:lnTo>
                    <a:pt x="86" y="0"/>
                  </a:lnTo>
                  <a:lnTo>
                    <a:pt x="104" y="17"/>
                  </a:lnTo>
                  <a:lnTo>
                    <a:pt x="155" y="0"/>
                  </a:lnTo>
                  <a:lnTo>
                    <a:pt x="207" y="0"/>
                  </a:lnTo>
                  <a:lnTo>
                    <a:pt x="173" y="17"/>
                  </a:lnTo>
                  <a:lnTo>
                    <a:pt x="155" y="80"/>
                  </a:lnTo>
                  <a:lnTo>
                    <a:pt x="104" y="113"/>
                  </a:lnTo>
                  <a:lnTo>
                    <a:pt x="86" y="113"/>
                  </a:lnTo>
                  <a:lnTo>
                    <a:pt x="34" y="144"/>
                  </a:lnTo>
                  <a:lnTo>
                    <a:pt x="0" y="144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21" name="Freeform 217">
              <a:extLst>
                <a:ext uri="{FF2B5EF4-FFF2-40B4-BE49-F238E27FC236}">
                  <a16:creationId xmlns:a16="http://schemas.microsoft.com/office/drawing/2014/main" id="{77C48AE2-FB15-498A-99A4-A5622C71F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1861" y="3617353"/>
              <a:ext cx="49524" cy="110772"/>
            </a:xfrm>
            <a:custGeom>
              <a:avLst/>
              <a:gdLst>
                <a:gd name="T0" fmla="*/ 7144 w 52"/>
                <a:gd name="T1" fmla="*/ 3175 h 112"/>
                <a:gd name="T2" fmla="*/ 7144 w 52"/>
                <a:gd name="T3" fmla="*/ 3175 h 112"/>
                <a:gd name="T4" fmla="*/ 7144 w 52"/>
                <a:gd name="T5" fmla="*/ 7144 h 112"/>
                <a:gd name="T6" fmla="*/ 7144 w 52"/>
                <a:gd name="T7" fmla="*/ 12700 h 112"/>
                <a:gd name="T8" fmla="*/ 3969 w 52"/>
                <a:gd name="T9" fmla="*/ 22225 h 112"/>
                <a:gd name="T10" fmla="*/ 0 w 52"/>
                <a:gd name="T11" fmla="*/ 9525 h 112"/>
                <a:gd name="T12" fmla="*/ 3969 w 52"/>
                <a:gd name="T13" fmla="*/ 7144 h 112"/>
                <a:gd name="T14" fmla="*/ 7144 w 52"/>
                <a:gd name="T15" fmla="*/ 0 h 112"/>
                <a:gd name="T16" fmla="*/ 10319 w 52"/>
                <a:gd name="T17" fmla="*/ 0 h 112"/>
                <a:gd name="T18" fmla="*/ 7144 w 52"/>
                <a:gd name="T19" fmla="*/ 3175 h 1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2"/>
                <a:gd name="T31" fmla="*/ 0 h 112"/>
                <a:gd name="T32" fmla="*/ 52 w 52"/>
                <a:gd name="T33" fmla="*/ 112 h 1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2" h="112">
                  <a:moveTo>
                    <a:pt x="35" y="16"/>
                  </a:moveTo>
                  <a:lnTo>
                    <a:pt x="35" y="16"/>
                  </a:lnTo>
                  <a:lnTo>
                    <a:pt x="35" y="33"/>
                  </a:lnTo>
                  <a:lnTo>
                    <a:pt x="35" y="64"/>
                  </a:lnTo>
                  <a:lnTo>
                    <a:pt x="18" y="112"/>
                  </a:lnTo>
                  <a:lnTo>
                    <a:pt x="0" y="48"/>
                  </a:lnTo>
                  <a:lnTo>
                    <a:pt x="18" y="33"/>
                  </a:lnTo>
                  <a:lnTo>
                    <a:pt x="35" y="0"/>
                  </a:lnTo>
                  <a:lnTo>
                    <a:pt x="52" y="0"/>
                  </a:lnTo>
                  <a:lnTo>
                    <a:pt x="35" y="16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22" name="Freeform 219">
              <a:extLst>
                <a:ext uri="{FF2B5EF4-FFF2-40B4-BE49-F238E27FC236}">
                  <a16:creationId xmlns:a16="http://schemas.microsoft.com/office/drawing/2014/main" id="{6250B034-0582-4A8F-843C-0520B372B4E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4242" y="3569878"/>
              <a:ext cx="36191" cy="47475"/>
            </a:xfrm>
            <a:custGeom>
              <a:avLst/>
              <a:gdLst>
                <a:gd name="T0" fmla="*/ 4189 w 36"/>
                <a:gd name="T1" fmla="*/ 9525 h 48"/>
                <a:gd name="T2" fmla="*/ 4189 w 36"/>
                <a:gd name="T3" fmla="*/ 9525 h 48"/>
                <a:gd name="T4" fmla="*/ 0 w 36"/>
                <a:gd name="T5" fmla="*/ 9525 h 48"/>
                <a:gd name="T6" fmla="*/ 4189 w 36"/>
                <a:gd name="T7" fmla="*/ 0 h 48"/>
                <a:gd name="T8" fmla="*/ 8379 w 36"/>
                <a:gd name="T9" fmla="*/ 3175 h 48"/>
                <a:gd name="T10" fmla="*/ 4189 w 36"/>
                <a:gd name="T11" fmla="*/ 9525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6"/>
                <a:gd name="T19" fmla="*/ 0 h 48"/>
                <a:gd name="T20" fmla="*/ 36 w 36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6" h="48">
                  <a:moveTo>
                    <a:pt x="17" y="48"/>
                  </a:moveTo>
                  <a:lnTo>
                    <a:pt x="17" y="48"/>
                  </a:lnTo>
                  <a:lnTo>
                    <a:pt x="0" y="48"/>
                  </a:lnTo>
                  <a:lnTo>
                    <a:pt x="17" y="0"/>
                  </a:lnTo>
                  <a:lnTo>
                    <a:pt x="36" y="16"/>
                  </a:lnTo>
                  <a:lnTo>
                    <a:pt x="17" y="48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23" name="Freeform 220">
              <a:extLst>
                <a:ext uri="{FF2B5EF4-FFF2-40B4-BE49-F238E27FC236}">
                  <a16:creationId xmlns:a16="http://schemas.microsoft.com/office/drawing/2014/main" id="{2315D22E-60E5-4102-937F-143CBD6B648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1382" y="3712301"/>
              <a:ext cx="49524" cy="31649"/>
            </a:xfrm>
            <a:custGeom>
              <a:avLst/>
              <a:gdLst>
                <a:gd name="T0" fmla="*/ 0 w 52"/>
                <a:gd name="T1" fmla="*/ 3079 h 33"/>
                <a:gd name="T2" fmla="*/ 0 w 52"/>
                <a:gd name="T3" fmla="*/ 3079 h 33"/>
                <a:gd name="T4" fmla="*/ 3969 w 52"/>
                <a:gd name="T5" fmla="*/ 0 h 33"/>
                <a:gd name="T6" fmla="*/ 10319 w 52"/>
                <a:gd name="T7" fmla="*/ 0 h 33"/>
                <a:gd name="T8" fmla="*/ 7144 w 52"/>
                <a:gd name="T9" fmla="*/ 3079 h 33"/>
                <a:gd name="T10" fmla="*/ 10319 w 52"/>
                <a:gd name="T11" fmla="*/ 6158 h 33"/>
                <a:gd name="T12" fmla="*/ 0 w 52"/>
                <a:gd name="T13" fmla="*/ 3079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33"/>
                <a:gd name="T23" fmla="*/ 52 w 52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33">
                  <a:moveTo>
                    <a:pt x="0" y="16"/>
                  </a:moveTo>
                  <a:lnTo>
                    <a:pt x="0" y="16"/>
                  </a:lnTo>
                  <a:lnTo>
                    <a:pt x="17" y="0"/>
                  </a:lnTo>
                  <a:lnTo>
                    <a:pt x="52" y="0"/>
                  </a:lnTo>
                  <a:lnTo>
                    <a:pt x="34" y="16"/>
                  </a:lnTo>
                  <a:lnTo>
                    <a:pt x="52" y="33"/>
                  </a:lnTo>
                  <a:lnTo>
                    <a:pt x="0" y="16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24" name="Freeform 246">
              <a:extLst>
                <a:ext uri="{FF2B5EF4-FFF2-40B4-BE49-F238E27FC236}">
                  <a16:creationId xmlns:a16="http://schemas.microsoft.com/office/drawing/2014/main" id="{19FEA17C-32D4-4B9A-8F08-C628704663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9967" y="3743950"/>
              <a:ext cx="19048" cy="15825"/>
            </a:xfrm>
            <a:custGeom>
              <a:avLst/>
              <a:gdLst>
                <a:gd name="T0" fmla="*/ 0 w 20"/>
                <a:gd name="T1" fmla="*/ 0 h 15"/>
                <a:gd name="T2" fmla="*/ 0 w 20"/>
                <a:gd name="T3" fmla="*/ 0 h 15"/>
                <a:gd name="T4" fmla="*/ 0 w 20"/>
                <a:gd name="T5" fmla="*/ 3387 h 15"/>
                <a:gd name="T6" fmla="*/ 3969 w 20"/>
                <a:gd name="T7" fmla="*/ 0 h 15"/>
                <a:gd name="T8" fmla="*/ 0 w 20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"/>
                <a:gd name="T16" fmla="*/ 0 h 15"/>
                <a:gd name="T17" fmla="*/ 20 w 20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" h="15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25" name="Freeform 248">
              <a:extLst>
                <a:ext uri="{FF2B5EF4-FFF2-40B4-BE49-F238E27FC236}">
                  <a16:creationId xmlns:a16="http://schemas.microsoft.com/office/drawing/2014/main" id="{BF49A667-4BE8-43B4-8D3B-C15116F95C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8539" y="3743950"/>
              <a:ext cx="13334" cy="15825"/>
            </a:xfrm>
            <a:custGeom>
              <a:avLst/>
              <a:gdLst>
                <a:gd name="T0" fmla="*/ 2084 w 16"/>
                <a:gd name="T1" fmla="*/ 0 h 15"/>
                <a:gd name="T2" fmla="*/ 2084 w 16"/>
                <a:gd name="T3" fmla="*/ 0 h 15"/>
                <a:gd name="T4" fmla="*/ 0 w 16"/>
                <a:gd name="T5" fmla="*/ 3387 h 15"/>
                <a:gd name="T6" fmla="*/ 2084 w 16"/>
                <a:gd name="T7" fmla="*/ 3387 h 15"/>
                <a:gd name="T8" fmla="*/ 2084 w 16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15"/>
                <a:gd name="T17" fmla="*/ 16 w 16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15">
                  <a:moveTo>
                    <a:pt x="16" y="0"/>
                  </a:moveTo>
                  <a:lnTo>
                    <a:pt x="16" y="0"/>
                  </a:lnTo>
                  <a:lnTo>
                    <a:pt x="0" y="15"/>
                  </a:lnTo>
                  <a:lnTo>
                    <a:pt x="16" y="15"/>
                  </a:lnTo>
                  <a:lnTo>
                    <a:pt x="16" y="0"/>
                  </a:lnTo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grpSp>
          <p:nvGrpSpPr>
            <p:cNvPr id="126" name="Group 125">
              <a:extLst>
                <a:ext uri="{FF2B5EF4-FFF2-40B4-BE49-F238E27FC236}">
                  <a16:creationId xmlns:a16="http://schemas.microsoft.com/office/drawing/2014/main" id="{B4CFB398-8129-4968-9A5C-0CF546517ECE}"/>
                </a:ext>
              </a:extLst>
            </p:cNvPr>
            <p:cNvGrpSpPr/>
            <p:nvPr/>
          </p:nvGrpSpPr>
          <p:grpSpPr>
            <a:xfrm>
              <a:off x="5327586" y="1924124"/>
              <a:ext cx="1468557" cy="1645757"/>
              <a:chOff x="5616758" y="1791967"/>
              <a:chExt cx="1265396" cy="1418082"/>
            </a:xfrm>
            <a:pattFill prst="pct50">
              <a:fgClr>
                <a:schemeClr val="accent3"/>
              </a:fgClr>
              <a:bgClr>
                <a:schemeClr val="bg1"/>
              </a:bgClr>
            </a:pattFill>
          </p:grpSpPr>
          <p:sp>
            <p:nvSpPr>
              <p:cNvPr id="265" name="Freeform 179">
                <a:extLst>
                  <a:ext uri="{FF2B5EF4-FFF2-40B4-BE49-F238E27FC236}">
                    <a16:creationId xmlns:a16="http://schemas.microsoft.com/office/drawing/2014/main" id="{4FA83B92-E4A3-4BA2-AF3B-736E7F1882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4742" y="2569185"/>
                <a:ext cx="72214" cy="40907"/>
              </a:xfrm>
              <a:custGeom>
                <a:avLst/>
                <a:gdLst>
                  <a:gd name="T0" fmla="*/ 18681 w 86"/>
                  <a:gd name="T1" fmla="*/ 0 h 48"/>
                  <a:gd name="T2" fmla="*/ 18681 w 86"/>
                  <a:gd name="T3" fmla="*/ 0 h 48"/>
                  <a:gd name="T4" fmla="*/ 18681 w 86"/>
                  <a:gd name="T5" fmla="*/ 9525 h 48"/>
                  <a:gd name="T6" fmla="*/ 11371 w 86"/>
                  <a:gd name="T7" fmla="*/ 9525 h 48"/>
                  <a:gd name="T8" fmla="*/ 0 w 86"/>
                  <a:gd name="T9" fmla="*/ 7144 h 48"/>
                  <a:gd name="T10" fmla="*/ 7310 w 86"/>
                  <a:gd name="T11" fmla="*/ 3969 h 48"/>
                  <a:gd name="T12" fmla="*/ 11371 w 86"/>
                  <a:gd name="T13" fmla="*/ 0 h 48"/>
                  <a:gd name="T14" fmla="*/ 18681 w 86"/>
                  <a:gd name="T15" fmla="*/ 0 h 4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6"/>
                  <a:gd name="T25" fmla="*/ 0 h 48"/>
                  <a:gd name="T26" fmla="*/ 86 w 86"/>
                  <a:gd name="T27" fmla="*/ 48 h 4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6" h="48">
                    <a:moveTo>
                      <a:pt x="86" y="0"/>
                    </a:moveTo>
                    <a:lnTo>
                      <a:pt x="86" y="0"/>
                    </a:lnTo>
                    <a:lnTo>
                      <a:pt x="86" y="48"/>
                    </a:lnTo>
                    <a:lnTo>
                      <a:pt x="52" y="48"/>
                    </a:lnTo>
                    <a:lnTo>
                      <a:pt x="0" y="33"/>
                    </a:lnTo>
                    <a:lnTo>
                      <a:pt x="34" y="18"/>
                    </a:lnTo>
                    <a:lnTo>
                      <a:pt x="52" y="0"/>
                    </a:lnTo>
                    <a:lnTo>
                      <a:pt x="86" y="0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6" name="Freeform 180">
                <a:extLst>
                  <a:ext uri="{FF2B5EF4-FFF2-40B4-BE49-F238E27FC236}">
                    <a16:creationId xmlns:a16="http://schemas.microsoft.com/office/drawing/2014/main" id="{91AD23FC-9868-43DB-8DA5-FC79BD1944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9741" y="2555549"/>
                <a:ext cx="16413" cy="28975"/>
              </a:xfrm>
              <a:custGeom>
                <a:avLst/>
                <a:gdLst>
                  <a:gd name="T0" fmla="*/ 0 w 19"/>
                  <a:gd name="T1" fmla="*/ 3271 h 33"/>
                  <a:gd name="T2" fmla="*/ 0 w 19"/>
                  <a:gd name="T3" fmla="*/ 3271 h 33"/>
                  <a:gd name="T4" fmla="*/ 0 w 19"/>
                  <a:gd name="T5" fmla="*/ 7360 h 33"/>
                  <a:gd name="T6" fmla="*/ 4178 w 19"/>
                  <a:gd name="T7" fmla="*/ 7360 h 33"/>
                  <a:gd name="T8" fmla="*/ 4178 w 19"/>
                  <a:gd name="T9" fmla="*/ 3271 h 33"/>
                  <a:gd name="T10" fmla="*/ 4178 w 19"/>
                  <a:gd name="T11" fmla="*/ 0 h 33"/>
                  <a:gd name="T12" fmla="*/ 0 w 19"/>
                  <a:gd name="T13" fmla="*/ 3271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9"/>
                  <a:gd name="T22" fmla="*/ 0 h 33"/>
                  <a:gd name="T23" fmla="*/ 19 w 19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9" h="33">
                    <a:moveTo>
                      <a:pt x="0" y="15"/>
                    </a:moveTo>
                    <a:lnTo>
                      <a:pt x="0" y="15"/>
                    </a:lnTo>
                    <a:lnTo>
                      <a:pt x="0" y="33"/>
                    </a:lnTo>
                    <a:lnTo>
                      <a:pt x="19" y="33"/>
                    </a:lnTo>
                    <a:lnTo>
                      <a:pt x="19" y="15"/>
                    </a:lnTo>
                    <a:lnTo>
                      <a:pt x="19" y="0"/>
                    </a:lnTo>
                    <a:lnTo>
                      <a:pt x="0" y="15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7" name="Freeform 181">
                <a:extLst>
                  <a:ext uri="{FF2B5EF4-FFF2-40B4-BE49-F238E27FC236}">
                    <a16:creationId xmlns:a16="http://schemas.microsoft.com/office/drawing/2014/main" id="{CE30EE42-4D97-4493-952C-59039B5DC1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9281" y="2543618"/>
                <a:ext cx="29543" cy="25566"/>
              </a:xfrm>
              <a:custGeom>
                <a:avLst/>
                <a:gdLst>
                  <a:gd name="T0" fmla="*/ 0 w 37"/>
                  <a:gd name="T1" fmla="*/ 3175 h 30"/>
                  <a:gd name="T2" fmla="*/ 0 w 37"/>
                  <a:gd name="T3" fmla="*/ 3175 h 30"/>
                  <a:gd name="T4" fmla="*/ 0 w 37"/>
                  <a:gd name="T5" fmla="*/ 6350 h 30"/>
                  <a:gd name="T6" fmla="*/ 6951 w 37"/>
                  <a:gd name="T7" fmla="*/ 6350 h 30"/>
                  <a:gd name="T8" fmla="*/ 6951 w 37"/>
                  <a:gd name="T9" fmla="*/ 3175 h 30"/>
                  <a:gd name="T10" fmla="*/ 6951 w 37"/>
                  <a:gd name="T11" fmla="*/ 0 h 30"/>
                  <a:gd name="T12" fmla="*/ 0 w 37"/>
                  <a:gd name="T13" fmla="*/ 3175 h 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7"/>
                  <a:gd name="T22" fmla="*/ 0 h 30"/>
                  <a:gd name="T23" fmla="*/ 37 w 37"/>
                  <a:gd name="T24" fmla="*/ 30 h 3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7" h="30">
                    <a:moveTo>
                      <a:pt x="0" y="15"/>
                    </a:moveTo>
                    <a:lnTo>
                      <a:pt x="0" y="15"/>
                    </a:lnTo>
                    <a:lnTo>
                      <a:pt x="0" y="30"/>
                    </a:lnTo>
                    <a:lnTo>
                      <a:pt x="37" y="30"/>
                    </a:lnTo>
                    <a:lnTo>
                      <a:pt x="37" y="15"/>
                    </a:lnTo>
                    <a:lnTo>
                      <a:pt x="37" y="0"/>
                    </a:lnTo>
                    <a:lnTo>
                      <a:pt x="0" y="15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8" name="Freeform 182">
                <a:extLst>
                  <a:ext uri="{FF2B5EF4-FFF2-40B4-BE49-F238E27FC236}">
                    <a16:creationId xmlns:a16="http://schemas.microsoft.com/office/drawing/2014/main" id="{7626638F-9C13-4983-BE60-BBD374C8BB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9281" y="2584524"/>
                <a:ext cx="29543" cy="11931"/>
              </a:xfrm>
              <a:custGeom>
                <a:avLst/>
                <a:gdLst>
                  <a:gd name="T0" fmla="*/ 0 w 37"/>
                  <a:gd name="T1" fmla="*/ 0 h 15"/>
                  <a:gd name="T2" fmla="*/ 0 w 37"/>
                  <a:gd name="T3" fmla="*/ 0 h 15"/>
                  <a:gd name="T4" fmla="*/ 0 w 37"/>
                  <a:gd name="T5" fmla="*/ 2223 h 15"/>
                  <a:gd name="T6" fmla="*/ 6951 w 37"/>
                  <a:gd name="T7" fmla="*/ 0 h 15"/>
                  <a:gd name="T8" fmla="*/ 0 w 37"/>
                  <a:gd name="T9" fmla="*/ 0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7"/>
                  <a:gd name="T16" fmla="*/ 0 h 15"/>
                  <a:gd name="T17" fmla="*/ 37 w 37"/>
                  <a:gd name="T18" fmla="*/ 15 h 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7" h="15">
                    <a:moveTo>
                      <a:pt x="0" y="0"/>
                    </a:moveTo>
                    <a:lnTo>
                      <a:pt x="0" y="0"/>
                    </a:lnTo>
                    <a:lnTo>
                      <a:pt x="0" y="15"/>
                    </a:lnTo>
                    <a:lnTo>
                      <a:pt x="37" y="0"/>
                    </a:lnTo>
                    <a:lnTo>
                      <a:pt x="0" y="0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9" name="Freeform 183">
                <a:extLst>
                  <a:ext uri="{FF2B5EF4-FFF2-40B4-BE49-F238E27FC236}">
                    <a16:creationId xmlns:a16="http://schemas.microsoft.com/office/drawing/2014/main" id="{4F990C86-23C2-4FE8-B07C-B3E32489AD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5200" y="2473736"/>
                <a:ext cx="29543" cy="28975"/>
              </a:xfrm>
              <a:custGeom>
                <a:avLst/>
                <a:gdLst>
                  <a:gd name="T0" fmla="*/ 0 w 37"/>
                  <a:gd name="T1" fmla="*/ 3271 h 33"/>
                  <a:gd name="T2" fmla="*/ 0 w 37"/>
                  <a:gd name="T3" fmla="*/ 3271 h 33"/>
                  <a:gd name="T4" fmla="*/ 0 w 37"/>
                  <a:gd name="T5" fmla="*/ 7360 h 33"/>
                  <a:gd name="T6" fmla="*/ 3089 w 37"/>
                  <a:gd name="T7" fmla="*/ 7360 h 33"/>
                  <a:gd name="T8" fmla="*/ 3089 w 37"/>
                  <a:gd name="T9" fmla="*/ 0 h 33"/>
                  <a:gd name="T10" fmla="*/ 6951 w 37"/>
                  <a:gd name="T11" fmla="*/ 0 h 33"/>
                  <a:gd name="T12" fmla="*/ 0 w 37"/>
                  <a:gd name="T13" fmla="*/ 3271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7"/>
                  <a:gd name="T22" fmla="*/ 0 h 33"/>
                  <a:gd name="T23" fmla="*/ 37 w 37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7" h="33">
                    <a:moveTo>
                      <a:pt x="0" y="15"/>
                    </a:moveTo>
                    <a:lnTo>
                      <a:pt x="0" y="15"/>
                    </a:lnTo>
                    <a:lnTo>
                      <a:pt x="0" y="33"/>
                    </a:lnTo>
                    <a:lnTo>
                      <a:pt x="18" y="33"/>
                    </a:lnTo>
                    <a:lnTo>
                      <a:pt x="18" y="0"/>
                    </a:lnTo>
                    <a:lnTo>
                      <a:pt x="37" y="0"/>
                    </a:lnTo>
                    <a:lnTo>
                      <a:pt x="0" y="15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0" name="Freeform 184">
                <a:extLst>
                  <a:ext uri="{FF2B5EF4-FFF2-40B4-BE49-F238E27FC236}">
                    <a16:creationId xmlns:a16="http://schemas.microsoft.com/office/drawing/2014/main" id="{C3C8B2A0-79DF-489D-B32C-131A2C78B9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0545" y="2446465"/>
                <a:ext cx="29543" cy="15340"/>
              </a:xfrm>
              <a:custGeom>
                <a:avLst/>
                <a:gdLst>
                  <a:gd name="T0" fmla="*/ 0 w 37"/>
                  <a:gd name="T1" fmla="*/ 0 h 18"/>
                  <a:gd name="T2" fmla="*/ 0 w 37"/>
                  <a:gd name="T3" fmla="*/ 0 h 18"/>
                  <a:gd name="T4" fmla="*/ 0 w 37"/>
                  <a:gd name="T5" fmla="*/ 3969 h 18"/>
                  <a:gd name="T6" fmla="*/ 6951 w 37"/>
                  <a:gd name="T7" fmla="*/ 0 h 18"/>
                  <a:gd name="T8" fmla="*/ 3089 w 37"/>
                  <a:gd name="T9" fmla="*/ 0 h 18"/>
                  <a:gd name="T10" fmla="*/ 0 w 37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7"/>
                  <a:gd name="T19" fmla="*/ 0 h 18"/>
                  <a:gd name="T20" fmla="*/ 37 w 37"/>
                  <a:gd name="T21" fmla="*/ 18 h 1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7" h="18">
                    <a:moveTo>
                      <a:pt x="0" y="0"/>
                    </a:moveTo>
                    <a:lnTo>
                      <a:pt x="0" y="0"/>
                    </a:lnTo>
                    <a:lnTo>
                      <a:pt x="0" y="18"/>
                    </a:lnTo>
                    <a:lnTo>
                      <a:pt x="37" y="0"/>
                    </a:lnTo>
                    <a:lnTo>
                      <a:pt x="19" y="0"/>
                    </a:lnTo>
                    <a:lnTo>
                      <a:pt x="0" y="0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1" name="Freeform 185">
                <a:extLst>
                  <a:ext uri="{FF2B5EF4-FFF2-40B4-BE49-F238E27FC236}">
                    <a16:creationId xmlns:a16="http://schemas.microsoft.com/office/drawing/2014/main" id="{3A5A2569-D85B-463B-8E01-19970240FF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6956" y="2420901"/>
                <a:ext cx="13130" cy="11931"/>
              </a:xfrm>
              <a:custGeom>
                <a:avLst/>
                <a:gdLst>
                  <a:gd name="T0" fmla="*/ 0 w 18"/>
                  <a:gd name="T1" fmla="*/ 2223 h 15"/>
                  <a:gd name="T2" fmla="*/ 0 w 18"/>
                  <a:gd name="T3" fmla="*/ 2223 h 15"/>
                  <a:gd name="T4" fmla="*/ 2822 w 18"/>
                  <a:gd name="T5" fmla="*/ 2223 h 15"/>
                  <a:gd name="T6" fmla="*/ 0 w 18"/>
                  <a:gd name="T7" fmla="*/ 0 h 15"/>
                  <a:gd name="T8" fmla="*/ 0 w 18"/>
                  <a:gd name="T9" fmla="*/ 2223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"/>
                  <a:gd name="T16" fmla="*/ 0 h 15"/>
                  <a:gd name="T17" fmla="*/ 18 w 18"/>
                  <a:gd name="T18" fmla="*/ 15 h 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" h="15">
                    <a:moveTo>
                      <a:pt x="0" y="15"/>
                    </a:moveTo>
                    <a:lnTo>
                      <a:pt x="0" y="15"/>
                    </a:lnTo>
                    <a:lnTo>
                      <a:pt x="18" y="15"/>
                    </a:lnTo>
                    <a:lnTo>
                      <a:pt x="0" y="0"/>
                    </a:lnTo>
                    <a:lnTo>
                      <a:pt x="0" y="15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2" name="Freeform 203">
                <a:extLst>
                  <a:ext uri="{FF2B5EF4-FFF2-40B4-BE49-F238E27FC236}">
                    <a16:creationId xmlns:a16="http://schemas.microsoft.com/office/drawing/2014/main" id="{5CB7A62A-4F37-4ED9-A691-117FAD5FC8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5889" y="3005516"/>
                <a:ext cx="426724" cy="163625"/>
              </a:xfrm>
              <a:custGeom>
                <a:avLst/>
                <a:gdLst>
                  <a:gd name="T0" fmla="*/ 103188 w 520"/>
                  <a:gd name="T1" fmla="*/ 12766 h 191"/>
                  <a:gd name="T2" fmla="*/ 103188 w 520"/>
                  <a:gd name="T3" fmla="*/ 12766 h 191"/>
                  <a:gd name="T4" fmla="*/ 99219 w 520"/>
                  <a:gd name="T5" fmla="*/ 12766 h 191"/>
                  <a:gd name="T6" fmla="*/ 96044 w 520"/>
                  <a:gd name="T7" fmla="*/ 3192 h 191"/>
                  <a:gd name="T8" fmla="*/ 85725 w 520"/>
                  <a:gd name="T9" fmla="*/ 3192 h 191"/>
                  <a:gd name="T10" fmla="*/ 75406 w 520"/>
                  <a:gd name="T11" fmla="*/ 6383 h 191"/>
                  <a:gd name="T12" fmla="*/ 61912 w 520"/>
                  <a:gd name="T13" fmla="*/ 6383 h 191"/>
                  <a:gd name="T14" fmla="*/ 51594 w 520"/>
                  <a:gd name="T15" fmla="*/ 0 h 191"/>
                  <a:gd name="T16" fmla="*/ 41275 w 520"/>
                  <a:gd name="T17" fmla="*/ 0 h 191"/>
                  <a:gd name="T18" fmla="*/ 30956 w 520"/>
                  <a:gd name="T19" fmla="*/ 6383 h 191"/>
                  <a:gd name="T20" fmla="*/ 23812 w 520"/>
                  <a:gd name="T21" fmla="*/ 6383 h 191"/>
                  <a:gd name="T22" fmla="*/ 17462 w 520"/>
                  <a:gd name="T23" fmla="*/ 6383 h 191"/>
                  <a:gd name="T24" fmla="*/ 13494 w 520"/>
                  <a:gd name="T25" fmla="*/ 0 h 191"/>
                  <a:gd name="T26" fmla="*/ 7144 w 520"/>
                  <a:gd name="T27" fmla="*/ 0 h 191"/>
                  <a:gd name="T28" fmla="*/ 3175 w 520"/>
                  <a:gd name="T29" fmla="*/ 3192 h 191"/>
                  <a:gd name="T30" fmla="*/ 0 w 520"/>
                  <a:gd name="T31" fmla="*/ 9575 h 191"/>
                  <a:gd name="T32" fmla="*/ 3175 w 520"/>
                  <a:gd name="T33" fmla="*/ 9575 h 191"/>
                  <a:gd name="T34" fmla="*/ 3175 w 520"/>
                  <a:gd name="T35" fmla="*/ 12766 h 191"/>
                  <a:gd name="T36" fmla="*/ 10319 w 520"/>
                  <a:gd name="T37" fmla="*/ 6383 h 191"/>
                  <a:gd name="T38" fmla="*/ 17462 w 520"/>
                  <a:gd name="T39" fmla="*/ 6383 h 191"/>
                  <a:gd name="T40" fmla="*/ 20637 w 520"/>
                  <a:gd name="T41" fmla="*/ 9575 h 191"/>
                  <a:gd name="T42" fmla="*/ 17462 w 520"/>
                  <a:gd name="T43" fmla="*/ 9575 h 191"/>
                  <a:gd name="T44" fmla="*/ 17462 w 520"/>
                  <a:gd name="T45" fmla="*/ 12766 h 191"/>
                  <a:gd name="T46" fmla="*/ 7144 w 520"/>
                  <a:gd name="T47" fmla="*/ 12766 h 191"/>
                  <a:gd name="T48" fmla="*/ 3175 w 520"/>
                  <a:gd name="T49" fmla="*/ 12766 h 191"/>
                  <a:gd name="T50" fmla="*/ 3175 w 520"/>
                  <a:gd name="T51" fmla="*/ 19150 h 191"/>
                  <a:gd name="T52" fmla="*/ 7144 w 520"/>
                  <a:gd name="T53" fmla="*/ 15958 h 191"/>
                  <a:gd name="T54" fmla="*/ 7144 w 520"/>
                  <a:gd name="T55" fmla="*/ 22341 h 191"/>
                  <a:gd name="T56" fmla="*/ 3175 w 520"/>
                  <a:gd name="T57" fmla="*/ 22341 h 191"/>
                  <a:gd name="T58" fmla="*/ 3175 w 520"/>
                  <a:gd name="T59" fmla="*/ 25533 h 191"/>
                  <a:gd name="T60" fmla="*/ 7144 w 520"/>
                  <a:gd name="T61" fmla="*/ 25533 h 191"/>
                  <a:gd name="T62" fmla="*/ 7144 w 520"/>
                  <a:gd name="T63" fmla="*/ 28725 h 191"/>
                  <a:gd name="T64" fmla="*/ 10319 w 520"/>
                  <a:gd name="T65" fmla="*/ 31916 h 191"/>
                  <a:gd name="T66" fmla="*/ 7144 w 520"/>
                  <a:gd name="T67" fmla="*/ 31916 h 191"/>
                  <a:gd name="T68" fmla="*/ 13494 w 520"/>
                  <a:gd name="T69" fmla="*/ 31916 h 191"/>
                  <a:gd name="T70" fmla="*/ 13494 w 520"/>
                  <a:gd name="T71" fmla="*/ 35108 h 191"/>
                  <a:gd name="T72" fmla="*/ 20637 w 520"/>
                  <a:gd name="T73" fmla="*/ 38299 h 191"/>
                  <a:gd name="T74" fmla="*/ 27781 w 520"/>
                  <a:gd name="T75" fmla="*/ 35108 h 191"/>
                  <a:gd name="T76" fmla="*/ 30956 w 520"/>
                  <a:gd name="T77" fmla="*/ 35108 h 191"/>
                  <a:gd name="T78" fmla="*/ 38100 w 520"/>
                  <a:gd name="T79" fmla="*/ 38299 h 191"/>
                  <a:gd name="T80" fmla="*/ 41275 w 520"/>
                  <a:gd name="T81" fmla="*/ 38299 h 191"/>
                  <a:gd name="T82" fmla="*/ 48419 w 520"/>
                  <a:gd name="T83" fmla="*/ 35108 h 191"/>
                  <a:gd name="T84" fmla="*/ 54769 w 520"/>
                  <a:gd name="T85" fmla="*/ 35108 h 191"/>
                  <a:gd name="T86" fmla="*/ 54769 w 520"/>
                  <a:gd name="T87" fmla="*/ 31916 h 191"/>
                  <a:gd name="T88" fmla="*/ 54769 w 520"/>
                  <a:gd name="T89" fmla="*/ 38299 h 191"/>
                  <a:gd name="T90" fmla="*/ 57944 w 520"/>
                  <a:gd name="T91" fmla="*/ 38299 h 191"/>
                  <a:gd name="T92" fmla="*/ 57944 w 520"/>
                  <a:gd name="T93" fmla="*/ 35108 h 191"/>
                  <a:gd name="T94" fmla="*/ 68262 w 520"/>
                  <a:gd name="T95" fmla="*/ 31916 h 191"/>
                  <a:gd name="T96" fmla="*/ 72231 w 520"/>
                  <a:gd name="T97" fmla="*/ 35108 h 191"/>
                  <a:gd name="T98" fmla="*/ 82550 w 520"/>
                  <a:gd name="T99" fmla="*/ 31916 h 191"/>
                  <a:gd name="T100" fmla="*/ 92869 w 520"/>
                  <a:gd name="T101" fmla="*/ 31916 h 191"/>
                  <a:gd name="T102" fmla="*/ 92869 w 520"/>
                  <a:gd name="T103" fmla="*/ 28725 h 191"/>
                  <a:gd name="T104" fmla="*/ 103188 w 520"/>
                  <a:gd name="T105" fmla="*/ 31916 h 191"/>
                  <a:gd name="T106" fmla="*/ 99219 w 520"/>
                  <a:gd name="T107" fmla="*/ 15958 h 191"/>
                  <a:gd name="T108" fmla="*/ 103188 w 520"/>
                  <a:gd name="T109" fmla="*/ 12766 h 191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520"/>
                  <a:gd name="T166" fmla="*/ 0 h 191"/>
                  <a:gd name="T167" fmla="*/ 520 w 520"/>
                  <a:gd name="T168" fmla="*/ 191 h 191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520" h="191">
                    <a:moveTo>
                      <a:pt x="520" y="63"/>
                    </a:moveTo>
                    <a:lnTo>
                      <a:pt x="520" y="63"/>
                    </a:lnTo>
                    <a:lnTo>
                      <a:pt x="503" y="63"/>
                    </a:lnTo>
                    <a:lnTo>
                      <a:pt x="485" y="15"/>
                    </a:lnTo>
                    <a:lnTo>
                      <a:pt x="434" y="15"/>
                    </a:lnTo>
                    <a:lnTo>
                      <a:pt x="382" y="32"/>
                    </a:lnTo>
                    <a:lnTo>
                      <a:pt x="313" y="32"/>
                    </a:lnTo>
                    <a:lnTo>
                      <a:pt x="261" y="0"/>
                    </a:lnTo>
                    <a:lnTo>
                      <a:pt x="209" y="0"/>
                    </a:lnTo>
                    <a:lnTo>
                      <a:pt x="157" y="32"/>
                    </a:lnTo>
                    <a:lnTo>
                      <a:pt x="123" y="32"/>
                    </a:lnTo>
                    <a:lnTo>
                      <a:pt x="88" y="32"/>
                    </a:lnTo>
                    <a:lnTo>
                      <a:pt x="71" y="0"/>
                    </a:lnTo>
                    <a:lnTo>
                      <a:pt x="36" y="0"/>
                    </a:lnTo>
                    <a:lnTo>
                      <a:pt x="19" y="15"/>
                    </a:lnTo>
                    <a:lnTo>
                      <a:pt x="0" y="48"/>
                    </a:lnTo>
                    <a:lnTo>
                      <a:pt x="19" y="48"/>
                    </a:lnTo>
                    <a:lnTo>
                      <a:pt x="19" y="63"/>
                    </a:lnTo>
                    <a:lnTo>
                      <a:pt x="54" y="32"/>
                    </a:lnTo>
                    <a:lnTo>
                      <a:pt x="88" y="32"/>
                    </a:lnTo>
                    <a:lnTo>
                      <a:pt x="105" y="48"/>
                    </a:lnTo>
                    <a:lnTo>
                      <a:pt x="88" y="48"/>
                    </a:lnTo>
                    <a:lnTo>
                      <a:pt x="88" y="63"/>
                    </a:lnTo>
                    <a:lnTo>
                      <a:pt x="36" y="63"/>
                    </a:lnTo>
                    <a:lnTo>
                      <a:pt x="19" y="63"/>
                    </a:lnTo>
                    <a:lnTo>
                      <a:pt x="19" y="96"/>
                    </a:lnTo>
                    <a:lnTo>
                      <a:pt x="36" y="80"/>
                    </a:lnTo>
                    <a:lnTo>
                      <a:pt x="36" y="111"/>
                    </a:lnTo>
                    <a:lnTo>
                      <a:pt x="19" y="111"/>
                    </a:lnTo>
                    <a:lnTo>
                      <a:pt x="19" y="128"/>
                    </a:lnTo>
                    <a:lnTo>
                      <a:pt x="36" y="128"/>
                    </a:lnTo>
                    <a:lnTo>
                      <a:pt x="36" y="143"/>
                    </a:lnTo>
                    <a:lnTo>
                      <a:pt x="54" y="159"/>
                    </a:lnTo>
                    <a:lnTo>
                      <a:pt x="36" y="159"/>
                    </a:lnTo>
                    <a:lnTo>
                      <a:pt x="71" y="159"/>
                    </a:lnTo>
                    <a:lnTo>
                      <a:pt x="71" y="176"/>
                    </a:lnTo>
                    <a:lnTo>
                      <a:pt x="105" y="191"/>
                    </a:lnTo>
                    <a:lnTo>
                      <a:pt x="140" y="176"/>
                    </a:lnTo>
                    <a:lnTo>
                      <a:pt x="157" y="176"/>
                    </a:lnTo>
                    <a:lnTo>
                      <a:pt x="192" y="191"/>
                    </a:lnTo>
                    <a:lnTo>
                      <a:pt x="209" y="191"/>
                    </a:lnTo>
                    <a:lnTo>
                      <a:pt x="244" y="176"/>
                    </a:lnTo>
                    <a:lnTo>
                      <a:pt x="278" y="176"/>
                    </a:lnTo>
                    <a:lnTo>
                      <a:pt x="278" y="159"/>
                    </a:lnTo>
                    <a:lnTo>
                      <a:pt x="278" y="191"/>
                    </a:lnTo>
                    <a:lnTo>
                      <a:pt x="295" y="191"/>
                    </a:lnTo>
                    <a:lnTo>
                      <a:pt x="295" y="176"/>
                    </a:lnTo>
                    <a:lnTo>
                      <a:pt x="347" y="159"/>
                    </a:lnTo>
                    <a:lnTo>
                      <a:pt x="365" y="176"/>
                    </a:lnTo>
                    <a:lnTo>
                      <a:pt x="416" y="159"/>
                    </a:lnTo>
                    <a:lnTo>
                      <a:pt x="468" y="159"/>
                    </a:lnTo>
                    <a:lnTo>
                      <a:pt x="468" y="143"/>
                    </a:lnTo>
                    <a:lnTo>
                      <a:pt x="520" y="159"/>
                    </a:lnTo>
                    <a:lnTo>
                      <a:pt x="503" y="80"/>
                    </a:lnTo>
                    <a:lnTo>
                      <a:pt x="520" y="63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3" name="Freeform 208">
                <a:extLst>
                  <a:ext uri="{FF2B5EF4-FFF2-40B4-BE49-F238E27FC236}">
                    <a16:creationId xmlns:a16="http://schemas.microsoft.com/office/drawing/2014/main" id="{8ACC2727-4040-410D-AF5F-C0914B1A49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1839" y="2978245"/>
                <a:ext cx="13130" cy="56246"/>
              </a:xfrm>
              <a:custGeom>
                <a:avLst/>
                <a:gdLst>
                  <a:gd name="T0" fmla="*/ 0 w 18"/>
                  <a:gd name="T1" fmla="*/ 4030 h 65"/>
                  <a:gd name="T2" fmla="*/ 0 w 18"/>
                  <a:gd name="T3" fmla="*/ 4030 h 65"/>
                  <a:gd name="T4" fmla="*/ 0 w 18"/>
                  <a:gd name="T5" fmla="*/ 9672 h 65"/>
                  <a:gd name="T6" fmla="*/ 2822 w 18"/>
                  <a:gd name="T7" fmla="*/ 13701 h 65"/>
                  <a:gd name="T8" fmla="*/ 2822 w 18"/>
                  <a:gd name="T9" fmla="*/ 0 h 65"/>
                  <a:gd name="T10" fmla="*/ 0 w 18"/>
                  <a:gd name="T11" fmla="*/ 4030 h 6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8"/>
                  <a:gd name="T19" fmla="*/ 0 h 65"/>
                  <a:gd name="T20" fmla="*/ 18 w 18"/>
                  <a:gd name="T21" fmla="*/ 65 h 6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8" h="65">
                    <a:moveTo>
                      <a:pt x="0" y="17"/>
                    </a:moveTo>
                    <a:lnTo>
                      <a:pt x="0" y="17"/>
                    </a:lnTo>
                    <a:lnTo>
                      <a:pt x="0" y="48"/>
                    </a:lnTo>
                    <a:lnTo>
                      <a:pt x="18" y="65"/>
                    </a:lnTo>
                    <a:lnTo>
                      <a:pt x="18" y="0"/>
                    </a:lnTo>
                    <a:lnTo>
                      <a:pt x="0" y="17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4" name="Freeform 209">
                <a:extLst>
                  <a:ext uri="{FF2B5EF4-FFF2-40B4-BE49-F238E27FC236}">
                    <a16:creationId xmlns:a16="http://schemas.microsoft.com/office/drawing/2014/main" id="{65CA11AD-ACCE-4543-ABC0-EE003CC63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7068" y="3034491"/>
                <a:ext cx="42673" cy="66473"/>
              </a:xfrm>
              <a:custGeom>
                <a:avLst/>
                <a:gdLst>
                  <a:gd name="T0" fmla="*/ 0 w 52"/>
                  <a:gd name="T1" fmla="*/ 0 h 79"/>
                  <a:gd name="T2" fmla="*/ 0 w 52"/>
                  <a:gd name="T3" fmla="*/ 0 h 79"/>
                  <a:gd name="T4" fmla="*/ 3969 w 52"/>
                  <a:gd name="T5" fmla="*/ 12539 h 79"/>
                  <a:gd name="T6" fmla="*/ 3969 w 52"/>
                  <a:gd name="T7" fmla="*/ 14890 h 79"/>
                  <a:gd name="T8" fmla="*/ 7144 w 52"/>
                  <a:gd name="T9" fmla="*/ 12539 h 79"/>
                  <a:gd name="T10" fmla="*/ 10319 w 52"/>
                  <a:gd name="T11" fmla="*/ 3135 h 79"/>
                  <a:gd name="T12" fmla="*/ 7144 w 52"/>
                  <a:gd name="T13" fmla="*/ 0 h 79"/>
                  <a:gd name="T14" fmla="*/ 0 w 52"/>
                  <a:gd name="T15" fmla="*/ 0 h 7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2"/>
                  <a:gd name="T25" fmla="*/ 0 h 79"/>
                  <a:gd name="T26" fmla="*/ 52 w 52"/>
                  <a:gd name="T27" fmla="*/ 79 h 7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2" h="79">
                    <a:moveTo>
                      <a:pt x="0" y="0"/>
                    </a:moveTo>
                    <a:lnTo>
                      <a:pt x="0" y="0"/>
                    </a:lnTo>
                    <a:lnTo>
                      <a:pt x="17" y="64"/>
                    </a:lnTo>
                    <a:lnTo>
                      <a:pt x="17" y="79"/>
                    </a:lnTo>
                    <a:lnTo>
                      <a:pt x="35" y="64"/>
                    </a:lnTo>
                    <a:lnTo>
                      <a:pt x="52" y="16"/>
                    </a:lnTo>
                    <a:lnTo>
                      <a:pt x="35" y="0"/>
                    </a:lnTo>
                    <a:lnTo>
                      <a:pt x="0" y="0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5" name="Freeform 210">
                <a:extLst>
                  <a:ext uri="{FF2B5EF4-FFF2-40B4-BE49-F238E27FC236}">
                    <a16:creationId xmlns:a16="http://schemas.microsoft.com/office/drawing/2014/main" id="{B71155E9-8591-4E3C-85FD-A77114BFBB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7183" y="3116305"/>
                <a:ext cx="73855" cy="40907"/>
              </a:xfrm>
              <a:custGeom>
                <a:avLst/>
                <a:gdLst>
                  <a:gd name="T0" fmla="*/ 0 w 88"/>
                  <a:gd name="T1" fmla="*/ 0 h 48"/>
                  <a:gd name="T2" fmla="*/ 0 w 88"/>
                  <a:gd name="T3" fmla="*/ 0 h 48"/>
                  <a:gd name="T4" fmla="*/ 0 w 88"/>
                  <a:gd name="T5" fmla="*/ 2381 h 48"/>
                  <a:gd name="T6" fmla="*/ 14612 w 88"/>
                  <a:gd name="T7" fmla="*/ 9525 h 48"/>
                  <a:gd name="T8" fmla="*/ 18671 w 88"/>
                  <a:gd name="T9" fmla="*/ 0 h 48"/>
                  <a:gd name="T10" fmla="*/ 11365 w 88"/>
                  <a:gd name="T11" fmla="*/ 0 h 48"/>
                  <a:gd name="T12" fmla="*/ 4059 w 88"/>
                  <a:gd name="T13" fmla="*/ 0 h 48"/>
                  <a:gd name="T14" fmla="*/ 0 w 88"/>
                  <a:gd name="T15" fmla="*/ 0 h 4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8"/>
                  <a:gd name="T25" fmla="*/ 0 h 48"/>
                  <a:gd name="T26" fmla="*/ 88 w 88"/>
                  <a:gd name="T27" fmla="*/ 48 h 4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8" h="48">
                    <a:moveTo>
                      <a:pt x="0" y="0"/>
                    </a:moveTo>
                    <a:lnTo>
                      <a:pt x="0" y="0"/>
                    </a:lnTo>
                    <a:lnTo>
                      <a:pt x="0" y="15"/>
                    </a:lnTo>
                    <a:lnTo>
                      <a:pt x="69" y="48"/>
                    </a:lnTo>
                    <a:lnTo>
                      <a:pt x="88" y="0"/>
                    </a:lnTo>
                    <a:lnTo>
                      <a:pt x="52" y="0"/>
                    </a:lnTo>
                    <a:lnTo>
                      <a:pt x="17" y="0"/>
                    </a:lnTo>
                    <a:lnTo>
                      <a:pt x="0" y="0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6" name="Freeform 211">
                <a:extLst>
                  <a:ext uri="{FF2B5EF4-FFF2-40B4-BE49-F238E27FC236}">
                    <a16:creationId xmlns:a16="http://schemas.microsoft.com/office/drawing/2014/main" id="{19B0B168-58D5-4434-AEAB-6734668CAF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7416" y="3116305"/>
                <a:ext cx="42673" cy="40907"/>
              </a:xfrm>
              <a:custGeom>
                <a:avLst/>
                <a:gdLst>
                  <a:gd name="T0" fmla="*/ 0 w 52"/>
                  <a:gd name="T1" fmla="*/ 2381 h 48"/>
                  <a:gd name="T2" fmla="*/ 0 w 52"/>
                  <a:gd name="T3" fmla="*/ 2381 h 48"/>
                  <a:gd name="T4" fmla="*/ 3969 w 52"/>
                  <a:gd name="T5" fmla="*/ 2381 h 48"/>
                  <a:gd name="T6" fmla="*/ 3969 w 52"/>
                  <a:gd name="T7" fmla="*/ 9525 h 48"/>
                  <a:gd name="T8" fmla="*/ 7144 w 52"/>
                  <a:gd name="T9" fmla="*/ 9525 h 48"/>
                  <a:gd name="T10" fmla="*/ 10319 w 52"/>
                  <a:gd name="T11" fmla="*/ 9525 h 48"/>
                  <a:gd name="T12" fmla="*/ 7144 w 52"/>
                  <a:gd name="T13" fmla="*/ 2381 h 48"/>
                  <a:gd name="T14" fmla="*/ 10319 w 52"/>
                  <a:gd name="T15" fmla="*/ 5556 h 48"/>
                  <a:gd name="T16" fmla="*/ 10319 w 52"/>
                  <a:gd name="T17" fmla="*/ 2381 h 48"/>
                  <a:gd name="T18" fmla="*/ 3969 w 52"/>
                  <a:gd name="T19" fmla="*/ 0 h 48"/>
                  <a:gd name="T20" fmla="*/ 0 w 52"/>
                  <a:gd name="T21" fmla="*/ 2381 h 4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2"/>
                  <a:gd name="T34" fmla="*/ 0 h 48"/>
                  <a:gd name="T35" fmla="*/ 52 w 52"/>
                  <a:gd name="T36" fmla="*/ 48 h 4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2" h="48">
                    <a:moveTo>
                      <a:pt x="0" y="15"/>
                    </a:moveTo>
                    <a:lnTo>
                      <a:pt x="0" y="15"/>
                    </a:lnTo>
                    <a:lnTo>
                      <a:pt x="17" y="15"/>
                    </a:lnTo>
                    <a:lnTo>
                      <a:pt x="17" y="48"/>
                    </a:lnTo>
                    <a:lnTo>
                      <a:pt x="34" y="48"/>
                    </a:lnTo>
                    <a:lnTo>
                      <a:pt x="52" y="48"/>
                    </a:lnTo>
                    <a:lnTo>
                      <a:pt x="34" y="15"/>
                    </a:lnTo>
                    <a:lnTo>
                      <a:pt x="52" y="31"/>
                    </a:lnTo>
                    <a:lnTo>
                      <a:pt x="52" y="15"/>
                    </a:lnTo>
                    <a:lnTo>
                      <a:pt x="17" y="0"/>
                    </a:lnTo>
                    <a:lnTo>
                      <a:pt x="0" y="15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" name="Freeform 212">
                <a:extLst>
                  <a:ext uri="{FF2B5EF4-FFF2-40B4-BE49-F238E27FC236}">
                    <a16:creationId xmlns:a16="http://schemas.microsoft.com/office/drawing/2014/main" id="{A4FDB05D-B7A3-4996-AE69-5523DBAE62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3217" y="3182778"/>
                <a:ext cx="57444" cy="15340"/>
              </a:xfrm>
              <a:custGeom>
                <a:avLst/>
                <a:gdLst>
                  <a:gd name="T0" fmla="*/ 0 w 71"/>
                  <a:gd name="T1" fmla="*/ 4202 h 17"/>
                  <a:gd name="T2" fmla="*/ 0 w 71"/>
                  <a:gd name="T3" fmla="*/ 4202 h 17"/>
                  <a:gd name="T4" fmla="*/ 7043 w 71"/>
                  <a:gd name="T5" fmla="*/ 4202 h 17"/>
                  <a:gd name="T6" fmla="*/ 13304 w 71"/>
                  <a:gd name="T7" fmla="*/ 4202 h 17"/>
                  <a:gd name="T8" fmla="*/ 10174 w 71"/>
                  <a:gd name="T9" fmla="*/ 4202 h 17"/>
                  <a:gd name="T10" fmla="*/ 0 w 71"/>
                  <a:gd name="T11" fmla="*/ 0 h 17"/>
                  <a:gd name="T12" fmla="*/ 0 w 71"/>
                  <a:gd name="T13" fmla="*/ 4202 h 1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1"/>
                  <a:gd name="T22" fmla="*/ 0 h 17"/>
                  <a:gd name="T23" fmla="*/ 71 w 71"/>
                  <a:gd name="T24" fmla="*/ 17 h 1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1" h="17">
                    <a:moveTo>
                      <a:pt x="0" y="17"/>
                    </a:moveTo>
                    <a:lnTo>
                      <a:pt x="0" y="17"/>
                    </a:lnTo>
                    <a:lnTo>
                      <a:pt x="36" y="17"/>
                    </a:lnTo>
                    <a:lnTo>
                      <a:pt x="71" y="17"/>
                    </a:lnTo>
                    <a:lnTo>
                      <a:pt x="54" y="17"/>
                    </a:lnTo>
                    <a:lnTo>
                      <a:pt x="0" y="0"/>
                    </a:lnTo>
                    <a:lnTo>
                      <a:pt x="0" y="17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8" name="Freeform 213">
                <a:extLst>
                  <a:ext uri="{FF2B5EF4-FFF2-40B4-BE49-F238E27FC236}">
                    <a16:creationId xmlns:a16="http://schemas.microsoft.com/office/drawing/2014/main" id="{5CE8DB8D-91E6-4CC5-9678-6CF12D042C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68677" y="3182778"/>
                <a:ext cx="57444" cy="27271"/>
              </a:xfrm>
              <a:custGeom>
                <a:avLst/>
                <a:gdLst>
                  <a:gd name="T0" fmla="*/ 0 w 70"/>
                  <a:gd name="T1" fmla="*/ 3175 h 32"/>
                  <a:gd name="T2" fmla="*/ 0 w 70"/>
                  <a:gd name="T3" fmla="*/ 3175 h 32"/>
                  <a:gd name="T4" fmla="*/ 3175 w 70"/>
                  <a:gd name="T5" fmla="*/ 6350 h 32"/>
                  <a:gd name="T6" fmla="*/ 7144 w 70"/>
                  <a:gd name="T7" fmla="*/ 6350 h 32"/>
                  <a:gd name="T8" fmla="*/ 10319 w 70"/>
                  <a:gd name="T9" fmla="*/ 3175 h 32"/>
                  <a:gd name="T10" fmla="*/ 14288 w 70"/>
                  <a:gd name="T11" fmla="*/ 0 h 32"/>
                  <a:gd name="T12" fmla="*/ 0 w 70"/>
                  <a:gd name="T13" fmla="*/ 3175 h 3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0"/>
                  <a:gd name="T22" fmla="*/ 0 h 32"/>
                  <a:gd name="T23" fmla="*/ 70 w 70"/>
                  <a:gd name="T24" fmla="*/ 32 h 3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0" h="32">
                    <a:moveTo>
                      <a:pt x="0" y="17"/>
                    </a:moveTo>
                    <a:lnTo>
                      <a:pt x="0" y="17"/>
                    </a:lnTo>
                    <a:lnTo>
                      <a:pt x="18" y="32"/>
                    </a:lnTo>
                    <a:lnTo>
                      <a:pt x="35" y="32"/>
                    </a:lnTo>
                    <a:lnTo>
                      <a:pt x="52" y="17"/>
                    </a:lnTo>
                    <a:lnTo>
                      <a:pt x="70" y="0"/>
                    </a:lnTo>
                    <a:lnTo>
                      <a:pt x="0" y="17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9" name="Line 214">
                <a:extLst>
                  <a:ext uri="{FF2B5EF4-FFF2-40B4-BE49-F238E27FC236}">
                    <a16:creationId xmlns:a16="http://schemas.microsoft.com/office/drawing/2014/main" id="{025F02E9-51E7-4A58-8F38-E513521F811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478408" y="3162323"/>
                <a:ext cx="11489" cy="40907"/>
              </a:xfrm>
              <a:prstGeom prst="line">
                <a:avLst/>
              </a:pr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80" name="Freeform 215">
                <a:extLst>
                  <a:ext uri="{FF2B5EF4-FFF2-40B4-BE49-F238E27FC236}">
                    <a16:creationId xmlns:a16="http://schemas.microsoft.com/office/drawing/2014/main" id="{D47B07B8-15C1-4638-980B-5D0CB61A15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54253" y="3060059"/>
                <a:ext cx="27901" cy="27271"/>
              </a:xfrm>
              <a:custGeom>
                <a:avLst/>
                <a:gdLst>
                  <a:gd name="T0" fmla="*/ 6169 w 35"/>
                  <a:gd name="T1" fmla="*/ 6158 h 33"/>
                  <a:gd name="T2" fmla="*/ 6169 w 35"/>
                  <a:gd name="T3" fmla="*/ 6158 h 33"/>
                  <a:gd name="T4" fmla="*/ 3084 w 35"/>
                  <a:gd name="T5" fmla="*/ 6158 h 33"/>
                  <a:gd name="T6" fmla="*/ 0 w 35"/>
                  <a:gd name="T7" fmla="*/ 0 h 33"/>
                  <a:gd name="T8" fmla="*/ 6169 w 35"/>
                  <a:gd name="T9" fmla="*/ 3079 h 33"/>
                  <a:gd name="T10" fmla="*/ 6169 w 35"/>
                  <a:gd name="T11" fmla="*/ 6158 h 3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5"/>
                  <a:gd name="T19" fmla="*/ 0 h 33"/>
                  <a:gd name="T20" fmla="*/ 35 w 35"/>
                  <a:gd name="T21" fmla="*/ 33 h 3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5" h="33">
                    <a:moveTo>
                      <a:pt x="35" y="33"/>
                    </a:moveTo>
                    <a:lnTo>
                      <a:pt x="35" y="33"/>
                    </a:lnTo>
                    <a:lnTo>
                      <a:pt x="17" y="33"/>
                    </a:lnTo>
                    <a:lnTo>
                      <a:pt x="0" y="0"/>
                    </a:lnTo>
                    <a:lnTo>
                      <a:pt x="35" y="17"/>
                    </a:lnTo>
                    <a:lnTo>
                      <a:pt x="35" y="33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81" name="Freeform 221">
                <a:extLst>
                  <a:ext uri="{FF2B5EF4-FFF2-40B4-BE49-F238E27FC236}">
                    <a16:creationId xmlns:a16="http://schemas.microsoft.com/office/drawing/2014/main" id="{D2242862-ED07-4D2D-9AA3-19A77C821B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3370" y="2528278"/>
                <a:ext cx="213362" cy="178966"/>
              </a:xfrm>
              <a:custGeom>
                <a:avLst/>
                <a:gdLst>
                  <a:gd name="T0" fmla="*/ 48606 w 259"/>
                  <a:gd name="T1" fmla="*/ 35890 h 209"/>
                  <a:gd name="T2" fmla="*/ 48606 w 259"/>
                  <a:gd name="T3" fmla="*/ 35890 h 209"/>
                  <a:gd name="T4" fmla="*/ 44622 w 259"/>
                  <a:gd name="T5" fmla="*/ 28712 h 209"/>
                  <a:gd name="T6" fmla="*/ 44622 w 259"/>
                  <a:gd name="T7" fmla="*/ 26319 h 209"/>
                  <a:gd name="T8" fmla="*/ 48606 w 259"/>
                  <a:gd name="T9" fmla="*/ 28712 h 209"/>
                  <a:gd name="T10" fmla="*/ 51793 w 259"/>
                  <a:gd name="T11" fmla="*/ 23129 h 209"/>
                  <a:gd name="T12" fmla="*/ 48606 w 259"/>
                  <a:gd name="T13" fmla="*/ 23129 h 209"/>
                  <a:gd name="T14" fmla="*/ 41434 w 259"/>
                  <a:gd name="T15" fmla="*/ 13558 h 209"/>
                  <a:gd name="T16" fmla="*/ 41434 w 259"/>
                  <a:gd name="T17" fmla="*/ 7178 h 209"/>
                  <a:gd name="T18" fmla="*/ 38247 w 259"/>
                  <a:gd name="T19" fmla="*/ 3988 h 209"/>
                  <a:gd name="T20" fmla="*/ 27889 w 259"/>
                  <a:gd name="T21" fmla="*/ 0 h 209"/>
                  <a:gd name="T22" fmla="*/ 20717 w 259"/>
                  <a:gd name="T23" fmla="*/ 7178 h 209"/>
                  <a:gd name="T24" fmla="*/ 20717 w 259"/>
                  <a:gd name="T25" fmla="*/ 9571 h 209"/>
                  <a:gd name="T26" fmla="*/ 14343 w 259"/>
                  <a:gd name="T27" fmla="*/ 13558 h 209"/>
                  <a:gd name="T28" fmla="*/ 14343 w 259"/>
                  <a:gd name="T29" fmla="*/ 19141 h 209"/>
                  <a:gd name="T30" fmla="*/ 10359 w 259"/>
                  <a:gd name="T31" fmla="*/ 19141 h 209"/>
                  <a:gd name="T32" fmla="*/ 3984 w 259"/>
                  <a:gd name="T33" fmla="*/ 23129 h 209"/>
                  <a:gd name="T34" fmla="*/ 0 w 259"/>
                  <a:gd name="T35" fmla="*/ 23129 h 209"/>
                  <a:gd name="T36" fmla="*/ 3984 w 259"/>
                  <a:gd name="T37" fmla="*/ 28712 h 209"/>
                  <a:gd name="T38" fmla="*/ 0 w 259"/>
                  <a:gd name="T39" fmla="*/ 35890 h 209"/>
                  <a:gd name="T40" fmla="*/ 0 w 259"/>
                  <a:gd name="T41" fmla="*/ 42270 h 209"/>
                  <a:gd name="T42" fmla="*/ 7171 w 259"/>
                  <a:gd name="T43" fmla="*/ 38282 h 209"/>
                  <a:gd name="T44" fmla="*/ 14343 w 259"/>
                  <a:gd name="T45" fmla="*/ 38282 h 209"/>
                  <a:gd name="T46" fmla="*/ 24701 w 259"/>
                  <a:gd name="T47" fmla="*/ 42270 h 209"/>
                  <a:gd name="T48" fmla="*/ 27889 w 259"/>
                  <a:gd name="T49" fmla="*/ 42270 h 209"/>
                  <a:gd name="T50" fmla="*/ 31076 w 259"/>
                  <a:gd name="T51" fmla="*/ 42270 h 209"/>
                  <a:gd name="T52" fmla="*/ 34263 w 259"/>
                  <a:gd name="T53" fmla="*/ 42270 h 209"/>
                  <a:gd name="T54" fmla="*/ 41434 w 259"/>
                  <a:gd name="T55" fmla="*/ 42270 h 209"/>
                  <a:gd name="T56" fmla="*/ 44622 w 259"/>
                  <a:gd name="T57" fmla="*/ 35890 h 209"/>
                  <a:gd name="T58" fmla="*/ 48606 w 259"/>
                  <a:gd name="T59" fmla="*/ 35890 h 209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259"/>
                  <a:gd name="T91" fmla="*/ 0 h 209"/>
                  <a:gd name="T92" fmla="*/ 259 w 259"/>
                  <a:gd name="T93" fmla="*/ 209 h 209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259" h="209">
                    <a:moveTo>
                      <a:pt x="241" y="177"/>
                    </a:moveTo>
                    <a:lnTo>
                      <a:pt x="241" y="177"/>
                    </a:lnTo>
                    <a:lnTo>
                      <a:pt x="224" y="144"/>
                    </a:lnTo>
                    <a:lnTo>
                      <a:pt x="224" y="129"/>
                    </a:lnTo>
                    <a:lnTo>
                      <a:pt x="241" y="144"/>
                    </a:lnTo>
                    <a:lnTo>
                      <a:pt x="259" y="113"/>
                    </a:lnTo>
                    <a:lnTo>
                      <a:pt x="241" y="113"/>
                    </a:lnTo>
                    <a:lnTo>
                      <a:pt x="207" y="66"/>
                    </a:lnTo>
                    <a:lnTo>
                      <a:pt x="207" y="33"/>
                    </a:lnTo>
                    <a:lnTo>
                      <a:pt x="190" y="18"/>
                    </a:lnTo>
                    <a:lnTo>
                      <a:pt x="138" y="0"/>
                    </a:lnTo>
                    <a:lnTo>
                      <a:pt x="103" y="33"/>
                    </a:lnTo>
                    <a:lnTo>
                      <a:pt x="103" y="48"/>
                    </a:lnTo>
                    <a:lnTo>
                      <a:pt x="69" y="66"/>
                    </a:lnTo>
                    <a:lnTo>
                      <a:pt x="69" y="96"/>
                    </a:lnTo>
                    <a:lnTo>
                      <a:pt x="51" y="96"/>
                    </a:lnTo>
                    <a:lnTo>
                      <a:pt x="17" y="113"/>
                    </a:lnTo>
                    <a:lnTo>
                      <a:pt x="0" y="113"/>
                    </a:lnTo>
                    <a:lnTo>
                      <a:pt x="17" y="144"/>
                    </a:lnTo>
                    <a:lnTo>
                      <a:pt x="0" y="177"/>
                    </a:lnTo>
                    <a:lnTo>
                      <a:pt x="0" y="209"/>
                    </a:lnTo>
                    <a:lnTo>
                      <a:pt x="34" y="192"/>
                    </a:lnTo>
                    <a:lnTo>
                      <a:pt x="69" y="192"/>
                    </a:lnTo>
                    <a:lnTo>
                      <a:pt x="121" y="209"/>
                    </a:lnTo>
                    <a:lnTo>
                      <a:pt x="138" y="209"/>
                    </a:lnTo>
                    <a:lnTo>
                      <a:pt x="155" y="209"/>
                    </a:lnTo>
                    <a:lnTo>
                      <a:pt x="172" y="209"/>
                    </a:lnTo>
                    <a:lnTo>
                      <a:pt x="207" y="209"/>
                    </a:lnTo>
                    <a:lnTo>
                      <a:pt x="224" y="177"/>
                    </a:lnTo>
                    <a:lnTo>
                      <a:pt x="241" y="17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82" name="Freeform 222">
                <a:extLst>
                  <a:ext uri="{FF2B5EF4-FFF2-40B4-BE49-F238E27FC236}">
                    <a16:creationId xmlns:a16="http://schemas.microsoft.com/office/drawing/2014/main" id="{D6CBFB5B-F186-46EB-ABA3-0DB83E3D0A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2185" y="2678268"/>
                <a:ext cx="413593" cy="259073"/>
              </a:xfrm>
              <a:custGeom>
                <a:avLst/>
                <a:gdLst>
                  <a:gd name="T0" fmla="*/ 42152 w 503"/>
                  <a:gd name="T1" fmla="*/ 54153 h 303"/>
                  <a:gd name="T2" fmla="*/ 42152 w 503"/>
                  <a:gd name="T3" fmla="*/ 54153 h 303"/>
                  <a:gd name="T4" fmla="*/ 34994 w 503"/>
                  <a:gd name="T5" fmla="*/ 54153 h 303"/>
                  <a:gd name="T6" fmla="*/ 34994 w 503"/>
                  <a:gd name="T7" fmla="*/ 50968 h 303"/>
                  <a:gd name="T8" fmla="*/ 38176 w 503"/>
                  <a:gd name="T9" fmla="*/ 44597 h 303"/>
                  <a:gd name="T10" fmla="*/ 45334 w 503"/>
                  <a:gd name="T11" fmla="*/ 44597 h 303"/>
                  <a:gd name="T12" fmla="*/ 45334 w 503"/>
                  <a:gd name="T13" fmla="*/ 41411 h 303"/>
                  <a:gd name="T14" fmla="*/ 42152 w 503"/>
                  <a:gd name="T15" fmla="*/ 35040 h 303"/>
                  <a:gd name="T16" fmla="*/ 42152 w 503"/>
                  <a:gd name="T17" fmla="*/ 31855 h 303"/>
                  <a:gd name="T18" fmla="*/ 31018 w 503"/>
                  <a:gd name="T19" fmla="*/ 28669 h 303"/>
                  <a:gd name="T20" fmla="*/ 24655 w 503"/>
                  <a:gd name="T21" fmla="*/ 31855 h 303"/>
                  <a:gd name="T22" fmla="*/ 17497 w 503"/>
                  <a:gd name="T23" fmla="*/ 35040 h 303"/>
                  <a:gd name="T24" fmla="*/ 14316 w 503"/>
                  <a:gd name="T25" fmla="*/ 35040 h 303"/>
                  <a:gd name="T26" fmla="*/ 3977 w 503"/>
                  <a:gd name="T27" fmla="*/ 35040 h 303"/>
                  <a:gd name="T28" fmla="*/ 0 w 503"/>
                  <a:gd name="T29" fmla="*/ 31855 h 303"/>
                  <a:gd name="T30" fmla="*/ 3977 w 503"/>
                  <a:gd name="T31" fmla="*/ 25484 h 303"/>
                  <a:gd name="T32" fmla="*/ 7158 w 503"/>
                  <a:gd name="T33" fmla="*/ 19113 h 303"/>
                  <a:gd name="T34" fmla="*/ 10339 w 503"/>
                  <a:gd name="T35" fmla="*/ 15927 h 303"/>
                  <a:gd name="T36" fmla="*/ 7158 w 503"/>
                  <a:gd name="T37" fmla="*/ 6371 h 303"/>
                  <a:gd name="T38" fmla="*/ 14316 w 503"/>
                  <a:gd name="T39" fmla="*/ 3185 h 303"/>
                  <a:gd name="T40" fmla="*/ 20679 w 503"/>
                  <a:gd name="T41" fmla="*/ 3185 h 303"/>
                  <a:gd name="T42" fmla="*/ 31018 w 503"/>
                  <a:gd name="T43" fmla="*/ 6371 h 303"/>
                  <a:gd name="T44" fmla="*/ 34994 w 503"/>
                  <a:gd name="T45" fmla="*/ 6371 h 303"/>
                  <a:gd name="T46" fmla="*/ 38176 w 503"/>
                  <a:gd name="T47" fmla="*/ 6371 h 303"/>
                  <a:gd name="T48" fmla="*/ 42152 w 503"/>
                  <a:gd name="T49" fmla="*/ 6371 h 303"/>
                  <a:gd name="T50" fmla="*/ 48515 w 503"/>
                  <a:gd name="T51" fmla="*/ 6371 h 303"/>
                  <a:gd name="T52" fmla="*/ 52492 w 503"/>
                  <a:gd name="T53" fmla="*/ 0 h 303"/>
                  <a:gd name="T54" fmla="*/ 55673 w 503"/>
                  <a:gd name="T55" fmla="*/ 0 h 303"/>
                  <a:gd name="T56" fmla="*/ 66012 w 503"/>
                  <a:gd name="T57" fmla="*/ 0 h 303"/>
                  <a:gd name="T58" fmla="*/ 69194 w 503"/>
                  <a:gd name="T59" fmla="*/ 3185 h 303"/>
                  <a:gd name="T60" fmla="*/ 66012 w 503"/>
                  <a:gd name="T61" fmla="*/ 3185 h 303"/>
                  <a:gd name="T62" fmla="*/ 69194 w 503"/>
                  <a:gd name="T63" fmla="*/ 6371 h 303"/>
                  <a:gd name="T64" fmla="*/ 73170 w 503"/>
                  <a:gd name="T65" fmla="*/ 6371 h 303"/>
                  <a:gd name="T66" fmla="*/ 76351 w 503"/>
                  <a:gd name="T67" fmla="*/ 12742 h 303"/>
                  <a:gd name="T68" fmla="*/ 79533 w 503"/>
                  <a:gd name="T69" fmla="*/ 15927 h 303"/>
                  <a:gd name="T70" fmla="*/ 83509 w 503"/>
                  <a:gd name="T71" fmla="*/ 12742 h 303"/>
                  <a:gd name="T72" fmla="*/ 100211 w 503"/>
                  <a:gd name="T73" fmla="*/ 22298 h 303"/>
                  <a:gd name="T74" fmla="*/ 97030 w 503"/>
                  <a:gd name="T75" fmla="*/ 35040 h 303"/>
                  <a:gd name="T76" fmla="*/ 93053 w 503"/>
                  <a:gd name="T77" fmla="*/ 31855 h 303"/>
                  <a:gd name="T78" fmla="*/ 89872 w 503"/>
                  <a:gd name="T79" fmla="*/ 35040 h 303"/>
                  <a:gd name="T80" fmla="*/ 89872 w 503"/>
                  <a:gd name="T81" fmla="*/ 41411 h 303"/>
                  <a:gd name="T82" fmla="*/ 86691 w 503"/>
                  <a:gd name="T83" fmla="*/ 41411 h 303"/>
                  <a:gd name="T84" fmla="*/ 69194 w 503"/>
                  <a:gd name="T85" fmla="*/ 50968 h 303"/>
                  <a:gd name="T86" fmla="*/ 76351 w 503"/>
                  <a:gd name="T87" fmla="*/ 54153 h 303"/>
                  <a:gd name="T88" fmla="*/ 79533 w 503"/>
                  <a:gd name="T89" fmla="*/ 54153 h 303"/>
                  <a:gd name="T90" fmla="*/ 76351 w 503"/>
                  <a:gd name="T91" fmla="*/ 54153 h 303"/>
                  <a:gd name="T92" fmla="*/ 66012 w 503"/>
                  <a:gd name="T93" fmla="*/ 60524 h 303"/>
                  <a:gd name="T94" fmla="*/ 62831 w 503"/>
                  <a:gd name="T95" fmla="*/ 60524 h 303"/>
                  <a:gd name="T96" fmla="*/ 62831 w 503"/>
                  <a:gd name="T97" fmla="*/ 57339 h 303"/>
                  <a:gd name="T98" fmla="*/ 58854 w 503"/>
                  <a:gd name="T99" fmla="*/ 54153 h 303"/>
                  <a:gd name="T100" fmla="*/ 66012 w 503"/>
                  <a:gd name="T101" fmla="*/ 50968 h 303"/>
                  <a:gd name="T102" fmla="*/ 55673 w 503"/>
                  <a:gd name="T103" fmla="*/ 47782 h 303"/>
                  <a:gd name="T104" fmla="*/ 55673 w 503"/>
                  <a:gd name="T105" fmla="*/ 44597 h 303"/>
                  <a:gd name="T106" fmla="*/ 48515 w 503"/>
                  <a:gd name="T107" fmla="*/ 44597 h 303"/>
                  <a:gd name="T108" fmla="*/ 45334 w 503"/>
                  <a:gd name="T109" fmla="*/ 50968 h 303"/>
                  <a:gd name="T110" fmla="*/ 42152 w 503"/>
                  <a:gd name="T111" fmla="*/ 50968 h 303"/>
                  <a:gd name="T112" fmla="*/ 42152 w 503"/>
                  <a:gd name="T113" fmla="*/ 54153 h 303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503"/>
                  <a:gd name="T172" fmla="*/ 0 h 303"/>
                  <a:gd name="T173" fmla="*/ 503 w 503"/>
                  <a:gd name="T174" fmla="*/ 303 h 303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503" h="303">
                    <a:moveTo>
                      <a:pt x="209" y="272"/>
                    </a:moveTo>
                    <a:lnTo>
                      <a:pt x="209" y="272"/>
                    </a:lnTo>
                    <a:lnTo>
                      <a:pt x="173" y="272"/>
                    </a:lnTo>
                    <a:lnTo>
                      <a:pt x="173" y="255"/>
                    </a:lnTo>
                    <a:lnTo>
                      <a:pt x="192" y="224"/>
                    </a:lnTo>
                    <a:lnTo>
                      <a:pt x="227" y="224"/>
                    </a:lnTo>
                    <a:lnTo>
                      <a:pt x="227" y="207"/>
                    </a:lnTo>
                    <a:lnTo>
                      <a:pt x="209" y="176"/>
                    </a:lnTo>
                    <a:lnTo>
                      <a:pt x="209" y="159"/>
                    </a:lnTo>
                    <a:lnTo>
                      <a:pt x="156" y="144"/>
                    </a:lnTo>
                    <a:lnTo>
                      <a:pt x="121" y="159"/>
                    </a:lnTo>
                    <a:lnTo>
                      <a:pt x="86" y="176"/>
                    </a:lnTo>
                    <a:lnTo>
                      <a:pt x="69" y="176"/>
                    </a:lnTo>
                    <a:lnTo>
                      <a:pt x="17" y="176"/>
                    </a:lnTo>
                    <a:lnTo>
                      <a:pt x="0" y="159"/>
                    </a:lnTo>
                    <a:lnTo>
                      <a:pt x="17" y="128"/>
                    </a:lnTo>
                    <a:lnTo>
                      <a:pt x="35" y="96"/>
                    </a:lnTo>
                    <a:lnTo>
                      <a:pt x="52" y="80"/>
                    </a:lnTo>
                    <a:lnTo>
                      <a:pt x="35" y="32"/>
                    </a:lnTo>
                    <a:lnTo>
                      <a:pt x="69" y="15"/>
                    </a:lnTo>
                    <a:lnTo>
                      <a:pt x="104" y="15"/>
                    </a:lnTo>
                    <a:lnTo>
                      <a:pt x="156" y="32"/>
                    </a:lnTo>
                    <a:lnTo>
                      <a:pt x="173" y="32"/>
                    </a:lnTo>
                    <a:lnTo>
                      <a:pt x="192" y="32"/>
                    </a:lnTo>
                    <a:lnTo>
                      <a:pt x="209" y="32"/>
                    </a:lnTo>
                    <a:lnTo>
                      <a:pt x="244" y="32"/>
                    </a:lnTo>
                    <a:lnTo>
                      <a:pt x="261" y="0"/>
                    </a:lnTo>
                    <a:lnTo>
                      <a:pt x="278" y="0"/>
                    </a:lnTo>
                    <a:lnTo>
                      <a:pt x="330" y="0"/>
                    </a:lnTo>
                    <a:lnTo>
                      <a:pt x="348" y="15"/>
                    </a:lnTo>
                    <a:lnTo>
                      <a:pt x="330" y="15"/>
                    </a:lnTo>
                    <a:lnTo>
                      <a:pt x="348" y="32"/>
                    </a:lnTo>
                    <a:lnTo>
                      <a:pt x="365" y="32"/>
                    </a:lnTo>
                    <a:lnTo>
                      <a:pt x="382" y="63"/>
                    </a:lnTo>
                    <a:lnTo>
                      <a:pt x="399" y="80"/>
                    </a:lnTo>
                    <a:lnTo>
                      <a:pt x="417" y="63"/>
                    </a:lnTo>
                    <a:lnTo>
                      <a:pt x="503" y="111"/>
                    </a:lnTo>
                    <a:lnTo>
                      <a:pt x="486" y="176"/>
                    </a:lnTo>
                    <a:lnTo>
                      <a:pt x="468" y="159"/>
                    </a:lnTo>
                    <a:lnTo>
                      <a:pt x="451" y="176"/>
                    </a:lnTo>
                    <a:lnTo>
                      <a:pt x="451" y="207"/>
                    </a:lnTo>
                    <a:lnTo>
                      <a:pt x="434" y="207"/>
                    </a:lnTo>
                    <a:lnTo>
                      <a:pt x="348" y="255"/>
                    </a:lnTo>
                    <a:lnTo>
                      <a:pt x="382" y="272"/>
                    </a:lnTo>
                    <a:lnTo>
                      <a:pt x="399" y="272"/>
                    </a:lnTo>
                    <a:lnTo>
                      <a:pt x="382" y="272"/>
                    </a:lnTo>
                    <a:lnTo>
                      <a:pt x="330" y="303"/>
                    </a:lnTo>
                    <a:lnTo>
                      <a:pt x="313" y="303"/>
                    </a:lnTo>
                    <a:lnTo>
                      <a:pt x="313" y="288"/>
                    </a:lnTo>
                    <a:lnTo>
                      <a:pt x="296" y="272"/>
                    </a:lnTo>
                    <a:lnTo>
                      <a:pt x="330" y="255"/>
                    </a:lnTo>
                    <a:lnTo>
                      <a:pt x="278" y="240"/>
                    </a:lnTo>
                    <a:lnTo>
                      <a:pt x="278" y="224"/>
                    </a:lnTo>
                    <a:lnTo>
                      <a:pt x="244" y="224"/>
                    </a:lnTo>
                    <a:lnTo>
                      <a:pt x="227" y="255"/>
                    </a:lnTo>
                    <a:lnTo>
                      <a:pt x="209" y="255"/>
                    </a:lnTo>
                    <a:lnTo>
                      <a:pt x="209" y="27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83" name="Freeform 223">
                <a:extLst>
                  <a:ext uri="{FF2B5EF4-FFF2-40B4-BE49-F238E27FC236}">
                    <a16:creationId xmlns:a16="http://schemas.microsoft.com/office/drawing/2014/main" id="{522DC911-620E-4AA6-BC7D-BBD9A1505C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2338" y="2461806"/>
                <a:ext cx="155919" cy="93744"/>
              </a:xfrm>
              <a:custGeom>
                <a:avLst/>
                <a:gdLst>
                  <a:gd name="T0" fmla="*/ 17463 w 190"/>
                  <a:gd name="T1" fmla="*/ 0 h 111"/>
                  <a:gd name="T2" fmla="*/ 17463 w 190"/>
                  <a:gd name="T3" fmla="*/ 0 h 111"/>
                  <a:gd name="T4" fmla="*/ 17463 w 190"/>
                  <a:gd name="T5" fmla="*/ 9439 h 111"/>
                  <a:gd name="T6" fmla="*/ 14288 w 190"/>
                  <a:gd name="T7" fmla="*/ 9439 h 111"/>
                  <a:gd name="T8" fmla="*/ 10319 w 190"/>
                  <a:gd name="T9" fmla="*/ 9439 h 111"/>
                  <a:gd name="T10" fmla="*/ 7144 w 190"/>
                  <a:gd name="T11" fmla="*/ 2360 h 111"/>
                  <a:gd name="T12" fmla="*/ 3969 w 190"/>
                  <a:gd name="T13" fmla="*/ 5506 h 111"/>
                  <a:gd name="T14" fmla="*/ 0 w 190"/>
                  <a:gd name="T15" fmla="*/ 11799 h 111"/>
                  <a:gd name="T16" fmla="*/ 0 w 190"/>
                  <a:gd name="T17" fmla="*/ 18878 h 111"/>
                  <a:gd name="T18" fmla="*/ 3969 w 190"/>
                  <a:gd name="T19" fmla="*/ 14945 h 111"/>
                  <a:gd name="T20" fmla="*/ 17463 w 190"/>
                  <a:gd name="T21" fmla="*/ 14945 h 111"/>
                  <a:gd name="T22" fmla="*/ 19844 w 190"/>
                  <a:gd name="T23" fmla="*/ 14945 h 111"/>
                  <a:gd name="T24" fmla="*/ 30956 w 190"/>
                  <a:gd name="T25" fmla="*/ 21238 h 111"/>
                  <a:gd name="T26" fmla="*/ 38100 w 190"/>
                  <a:gd name="T27" fmla="*/ 14945 h 111"/>
                  <a:gd name="T28" fmla="*/ 34925 w 190"/>
                  <a:gd name="T29" fmla="*/ 9439 h 111"/>
                  <a:gd name="T30" fmla="*/ 34925 w 190"/>
                  <a:gd name="T31" fmla="*/ 5506 h 111"/>
                  <a:gd name="T32" fmla="*/ 34925 w 190"/>
                  <a:gd name="T33" fmla="*/ 2360 h 111"/>
                  <a:gd name="T34" fmla="*/ 27781 w 190"/>
                  <a:gd name="T35" fmla="*/ 2360 h 111"/>
                  <a:gd name="T36" fmla="*/ 19844 w 190"/>
                  <a:gd name="T37" fmla="*/ 0 h 111"/>
                  <a:gd name="T38" fmla="*/ 17463 w 190"/>
                  <a:gd name="T39" fmla="*/ 0 h 11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90"/>
                  <a:gd name="T61" fmla="*/ 0 h 111"/>
                  <a:gd name="T62" fmla="*/ 190 w 190"/>
                  <a:gd name="T63" fmla="*/ 111 h 111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90" h="111">
                    <a:moveTo>
                      <a:pt x="86" y="0"/>
                    </a:moveTo>
                    <a:lnTo>
                      <a:pt x="86" y="0"/>
                    </a:lnTo>
                    <a:lnTo>
                      <a:pt x="86" y="48"/>
                    </a:lnTo>
                    <a:lnTo>
                      <a:pt x="69" y="48"/>
                    </a:lnTo>
                    <a:lnTo>
                      <a:pt x="52" y="48"/>
                    </a:lnTo>
                    <a:lnTo>
                      <a:pt x="34" y="15"/>
                    </a:lnTo>
                    <a:lnTo>
                      <a:pt x="17" y="30"/>
                    </a:lnTo>
                    <a:lnTo>
                      <a:pt x="0" y="63"/>
                    </a:lnTo>
                    <a:lnTo>
                      <a:pt x="0" y="96"/>
                    </a:lnTo>
                    <a:lnTo>
                      <a:pt x="17" y="78"/>
                    </a:lnTo>
                    <a:lnTo>
                      <a:pt x="86" y="78"/>
                    </a:lnTo>
                    <a:lnTo>
                      <a:pt x="103" y="78"/>
                    </a:lnTo>
                    <a:lnTo>
                      <a:pt x="155" y="111"/>
                    </a:lnTo>
                    <a:lnTo>
                      <a:pt x="190" y="78"/>
                    </a:lnTo>
                    <a:lnTo>
                      <a:pt x="173" y="48"/>
                    </a:lnTo>
                    <a:lnTo>
                      <a:pt x="173" y="30"/>
                    </a:lnTo>
                    <a:lnTo>
                      <a:pt x="173" y="15"/>
                    </a:lnTo>
                    <a:lnTo>
                      <a:pt x="138" y="15"/>
                    </a:lnTo>
                    <a:lnTo>
                      <a:pt x="103" y="0"/>
                    </a:lnTo>
                    <a:lnTo>
                      <a:pt x="86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84" name="Freeform 224">
                <a:extLst>
                  <a:ext uri="{FF2B5EF4-FFF2-40B4-BE49-F238E27FC236}">
                    <a16:creationId xmlns:a16="http://schemas.microsoft.com/office/drawing/2014/main" id="{9D39877D-A8FE-4FF1-8B74-437653C7E2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0697" y="2528278"/>
                <a:ext cx="128017" cy="97153"/>
              </a:xfrm>
              <a:custGeom>
                <a:avLst/>
                <a:gdLst>
                  <a:gd name="T0" fmla="*/ 0 w 155"/>
                  <a:gd name="T1" fmla="*/ 9609 h 113"/>
                  <a:gd name="T2" fmla="*/ 0 w 155"/>
                  <a:gd name="T3" fmla="*/ 9609 h 113"/>
                  <a:gd name="T4" fmla="*/ 0 w 155"/>
                  <a:gd name="T5" fmla="*/ 7207 h 113"/>
                  <a:gd name="T6" fmla="*/ 0 w 155"/>
                  <a:gd name="T7" fmla="*/ 4004 h 113"/>
                  <a:gd name="T8" fmla="*/ 3994 w 155"/>
                  <a:gd name="T9" fmla="*/ 0 h 113"/>
                  <a:gd name="T10" fmla="*/ 17575 w 155"/>
                  <a:gd name="T11" fmla="*/ 0 h 113"/>
                  <a:gd name="T12" fmla="*/ 20771 w 155"/>
                  <a:gd name="T13" fmla="*/ 0 h 113"/>
                  <a:gd name="T14" fmla="*/ 31156 w 155"/>
                  <a:gd name="T15" fmla="*/ 7207 h 113"/>
                  <a:gd name="T16" fmla="*/ 31156 w 155"/>
                  <a:gd name="T17" fmla="*/ 9609 h 113"/>
                  <a:gd name="T18" fmla="*/ 24765 w 155"/>
                  <a:gd name="T19" fmla="*/ 13613 h 113"/>
                  <a:gd name="T20" fmla="*/ 24765 w 155"/>
                  <a:gd name="T21" fmla="*/ 19219 h 113"/>
                  <a:gd name="T22" fmla="*/ 20771 w 155"/>
                  <a:gd name="T23" fmla="*/ 19219 h 113"/>
                  <a:gd name="T24" fmla="*/ 14380 w 155"/>
                  <a:gd name="T25" fmla="*/ 23223 h 113"/>
                  <a:gd name="T26" fmla="*/ 10385 w 155"/>
                  <a:gd name="T27" fmla="*/ 23223 h 113"/>
                  <a:gd name="T28" fmla="*/ 7190 w 155"/>
                  <a:gd name="T29" fmla="*/ 19219 h 113"/>
                  <a:gd name="T30" fmla="*/ 7190 w 155"/>
                  <a:gd name="T31" fmla="*/ 9609 h 113"/>
                  <a:gd name="T32" fmla="*/ 0 w 155"/>
                  <a:gd name="T33" fmla="*/ 9609 h 11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55"/>
                  <a:gd name="T52" fmla="*/ 0 h 113"/>
                  <a:gd name="T53" fmla="*/ 155 w 155"/>
                  <a:gd name="T54" fmla="*/ 113 h 113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55" h="113">
                    <a:moveTo>
                      <a:pt x="0" y="48"/>
                    </a:moveTo>
                    <a:lnTo>
                      <a:pt x="0" y="48"/>
                    </a:lnTo>
                    <a:lnTo>
                      <a:pt x="0" y="33"/>
                    </a:lnTo>
                    <a:lnTo>
                      <a:pt x="0" y="18"/>
                    </a:lnTo>
                    <a:lnTo>
                      <a:pt x="17" y="0"/>
                    </a:lnTo>
                    <a:lnTo>
                      <a:pt x="86" y="0"/>
                    </a:lnTo>
                    <a:lnTo>
                      <a:pt x="103" y="0"/>
                    </a:lnTo>
                    <a:lnTo>
                      <a:pt x="155" y="33"/>
                    </a:lnTo>
                    <a:lnTo>
                      <a:pt x="155" y="48"/>
                    </a:lnTo>
                    <a:lnTo>
                      <a:pt x="121" y="66"/>
                    </a:lnTo>
                    <a:lnTo>
                      <a:pt x="121" y="96"/>
                    </a:lnTo>
                    <a:lnTo>
                      <a:pt x="103" y="96"/>
                    </a:lnTo>
                    <a:lnTo>
                      <a:pt x="69" y="113"/>
                    </a:lnTo>
                    <a:lnTo>
                      <a:pt x="52" y="113"/>
                    </a:lnTo>
                    <a:lnTo>
                      <a:pt x="34" y="96"/>
                    </a:lnTo>
                    <a:lnTo>
                      <a:pt x="34" y="48"/>
                    </a:lnTo>
                    <a:lnTo>
                      <a:pt x="0" y="4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85" name="Freeform 225">
                <a:extLst>
                  <a:ext uri="{FF2B5EF4-FFF2-40B4-BE49-F238E27FC236}">
                    <a16:creationId xmlns:a16="http://schemas.microsoft.com/office/drawing/2014/main" id="{DB94A5F7-A8A2-4DFD-90CF-335388CA2A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9783" y="2405560"/>
                <a:ext cx="98475" cy="68177"/>
              </a:xfrm>
              <a:custGeom>
                <a:avLst/>
                <a:gdLst>
                  <a:gd name="T0" fmla="*/ 3149 w 121"/>
                  <a:gd name="T1" fmla="*/ 12543 h 81"/>
                  <a:gd name="T2" fmla="*/ 3149 w 121"/>
                  <a:gd name="T3" fmla="*/ 12543 h 81"/>
                  <a:gd name="T4" fmla="*/ 0 w 121"/>
                  <a:gd name="T5" fmla="*/ 9407 h 81"/>
                  <a:gd name="T6" fmla="*/ 0 w 121"/>
                  <a:gd name="T7" fmla="*/ 3136 h 81"/>
                  <a:gd name="T8" fmla="*/ 3149 w 121"/>
                  <a:gd name="T9" fmla="*/ 0 h 81"/>
                  <a:gd name="T10" fmla="*/ 10233 w 121"/>
                  <a:gd name="T11" fmla="*/ 0 h 81"/>
                  <a:gd name="T12" fmla="*/ 23616 w 121"/>
                  <a:gd name="T13" fmla="*/ 0 h 81"/>
                  <a:gd name="T14" fmla="*/ 20467 w 121"/>
                  <a:gd name="T15" fmla="*/ 3136 h 81"/>
                  <a:gd name="T16" fmla="*/ 16531 w 121"/>
                  <a:gd name="T17" fmla="*/ 3136 h 81"/>
                  <a:gd name="T18" fmla="*/ 20467 w 121"/>
                  <a:gd name="T19" fmla="*/ 12543 h 81"/>
                  <a:gd name="T20" fmla="*/ 20467 w 121"/>
                  <a:gd name="T21" fmla="*/ 15679 h 81"/>
                  <a:gd name="T22" fmla="*/ 13382 w 121"/>
                  <a:gd name="T23" fmla="*/ 15679 h 81"/>
                  <a:gd name="T24" fmla="*/ 6298 w 121"/>
                  <a:gd name="T25" fmla="*/ 12543 h 81"/>
                  <a:gd name="T26" fmla="*/ 3149 w 121"/>
                  <a:gd name="T27" fmla="*/ 12543 h 8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21"/>
                  <a:gd name="T43" fmla="*/ 0 h 81"/>
                  <a:gd name="T44" fmla="*/ 121 w 121"/>
                  <a:gd name="T45" fmla="*/ 81 h 81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21" h="81">
                    <a:moveTo>
                      <a:pt x="17" y="66"/>
                    </a:moveTo>
                    <a:lnTo>
                      <a:pt x="17" y="66"/>
                    </a:lnTo>
                    <a:lnTo>
                      <a:pt x="0" y="48"/>
                    </a:lnTo>
                    <a:lnTo>
                      <a:pt x="0" y="18"/>
                    </a:lnTo>
                    <a:lnTo>
                      <a:pt x="17" y="0"/>
                    </a:lnTo>
                    <a:lnTo>
                      <a:pt x="52" y="0"/>
                    </a:lnTo>
                    <a:lnTo>
                      <a:pt x="121" y="0"/>
                    </a:lnTo>
                    <a:lnTo>
                      <a:pt x="104" y="18"/>
                    </a:lnTo>
                    <a:lnTo>
                      <a:pt x="86" y="18"/>
                    </a:lnTo>
                    <a:lnTo>
                      <a:pt x="104" y="66"/>
                    </a:lnTo>
                    <a:lnTo>
                      <a:pt x="104" y="81"/>
                    </a:lnTo>
                    <a:lnTo>
                      <a:pt x="69" y="81"/>
                    </a:lnTo>
                    <a:lnTo>
                      <a:pt x="34" y="66"/>
                    </a:lnTo>
                    <a:lnTo>
                      <a:pt x="17" y="6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86" name="Freeform 226">
                <a:extLst>
                  <a:ext uri="{FF2B5EF4-FFF2-40B4-BE49-F238E27FC236}">
                    <a16:creationId xmlns:a16="http://schemas.microsoft.com/office/drawing/2014/main" id="{C66DA0EE-C783-4697-A2CB-7FF627A7A9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40659" y="2800986"/>
                <a:ext cx="85344" cy="95448"/>
              </a:xfrm>
              <a:custGeom>
                <a:avLst/>
                <a:gdLst>
                  <a:gd name="T0" fmla="*/ 0 w 104"/>
                  <a:gd name="T1" fmla="*/ 3204 h 111"/>
                  <a:gd name="T2" fmla="*/ 0 w 104"/>
                  <a:gd name="T3" fmla="*/ 3204 h 111"/>
                  <a:gd name="T4" fmla="*/ 3969 w 104"/>
                  <a:gd name="T5" fmla="*/ 3204 h 111"/>
                  <a:gd name="T6" fmla="*/ 10319 w 104"/>
                  <a:gd name="T7" fmla="*/ 12814 h 111"/>
                  <a:gd name="T8" fmla="*/ 10319 w 104"/>
                  <a:gd name="T9" fmla="*/ 22425 h 111"/>
                  <a:gd name="T10" fmla="*/ 14288 w 104"/>
                  <a:gd name="T11" fmla="*/ 16018 h 111"/>
                  <a:gd name="T12" fmla="*/ 20638 w 104"/>
                  <a:gd name="T13" fmla="*/ 16018 h 111"/>
                  <a:gd name="T14" fmla="*/ 20638 w 104"/>
                  <a:gd name="T15" fmla="*/ 12814 h 111"/>
                  <a:gd name="T16" fmla="*/ 17463 w 104"/>
                  <a:gd name="T17" fmla="*/ 6407 h 111"/>
                  <a:gd name="T18" fmla="*/ 17463 w 104"/>
                  <a:gd name="T19" fmla="*/ 3204 h 111"/>
                  <a:gd name="T20" fmla="*/ 7144 w 104"/>
                  <a:gd name="T21" fmla="*/ 0 h 111"/>
                  <a:gd name="T22" fmla="*/ 0 w 104"/>
                  <a:gd name="T23" fmla="*/ 3204 h 11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04"/>
                  <a:gd name="T37" fmla="*/ 0 h 111"/>
                  <a:gd name="T38" fmla="*/ 104 w 104"/>
                  <a:gd name="T39" fmla="*/ 111 h 111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04" h="111">
                    <a:moveTo>
                      <a:pt x="0" y="15"/>
                    </a:moveTo>
                    <a:lnTo>
                      <a:pt x="0" y="15"/>
                    </a:lnTo>
                    <a:lnTo>
                      <a:pt x="17" y="15"/>
                    </a:lnTo>
                    <a:lnTo>
                      <a:pt x="52" y="63"/>
                    </a:lnTo>
                    <a:lnTo>
                      <a:pt x="52" y="111"/>
                    </a:lnTo>
                    <a:lnTo>
                      <a:pt x="69" y="80"/>
                    </a:lnTo>
                    <a:lnTo>
                      <a:pt x="104" y="80"/>
                    </a:lnTo>
                    <a:lnTo>
                      <a:pt x="104" y="63"/>
                    </a:lnTo>
                    <a:lnTo>
                      <a:pt x="86" y="32"/>
                    </a:lnTo>
                    <a:lnTo>
                      <a:pt x="86" y="15"/>
                    </a:lnTo>
                    <a:lnTo>
                      <a:pt x="35" y="0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87" name="Freeform 227">
                <a:extLst>
                  <a:ext uri="{FF2B5EF4-FFF2-40B4-BE49-F238E27FC236}">
                    <a16:creationId xmlns:a16="http://schemas.microsoft.com/office/drawing/2014/main" id="{42AF6320-9088-4AFC-86C8-FE3C62D055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73" y="2814622"/>
                <a:ext cx="215003" cy="149989"/>
              </a:xfrm>
              <a:custGeom>
                <a:avLst/>
                <a:gdLst>
                  <a:gd name="T0" fmla="*/ 7171 w 261"/>
                  <a:gd name="T1" fmla="*/ 25257 h 177"/>
                  <a:gd name="T2" fmla="*/ 7171 w 261"/>
                  <a:gd name="T3" fmla="*/ 25257 h 177"/>
                  <a:gd name="T4" fmla="*/ 14342 w 261"/>
                  <a:gd name="T5" fmla="*/ 25257 h 177"/>
                  <a:gd name="T6" fmla="*/ 14342 w 261"/>
                  <a:gd name="T7" fmla="*/ 28414 h 177"/>
                  <a:gd name="T8" fmla="*/ 17529 w 261"/>
                  <a:gd name="T9" fmla="*/ 31571 h 177"/>
                  <a:gd name="T10" fmla="*/ 20717 w 261"/>
                  <a:gd name="T11" fmla="*/ 31571 h 177"/>
                  <a:gd name="T12" fmla="*/ 31075 w 261"/>
                  <a:gd name="T13" fmla="*/ 34728 h 177"/>
                  <a:gd name="T14" fmla="*/ 38246 w 261"/>
                  <a:gd name="T15" fmla="*/ 28414 h 177"/>
                  <a:gd name="T16" fmla="*/ 48604 w 261"/>
                  <a:gd name="T17" fmla="*/ 31571 h 177"/>
                  <a:gd name="T18" fmla="*/ 48604 w 261"/>
                  <a:gd name="T19" fmla="*/ 28414 h 177"/>
                  <a:gd name="T20" fmla="*/ 52588 w 261"/>
                  <a:gd name="T21" fmla="*/ 25257 h 177"/>
                  <a:gd name="T22" fmla="*/ 52588 w 261"/>
                  <a:gd name="T23" fmla="*/ 22099 h 177"/>
                  <a:gd name="T24" fmla="*/ 45417 w 261"/>
                  <a:gd name="T25" fmla="*/ 22099 h 177"/>
                  <a:gd name="T26" fmla="*/ 45417 w 261"/>
                  <a:gd name="T27" fmla="*/ 18942 h 177"/>
                  <a:gd name="T28" fmla="*/ 45417 w 261"/>
                  <a:gd name="T29" fmla="*/ 9471 h 177"/>
                  <a:gd name="T30" fmla="*/ 38246 w 261"/>
                  <a:gd name="T31" fmla="*/ 0 h 177"/>
                  <a:gd name="T32" fmla="*/ 35059 w 261"/>
                  <a:gd name="T33" fmla="*/ 0 h 177"/>
                  <a:gd name="T34" fmla="*/ 27888 w 261"/>
                  <a:gd name="T35" fmla="*/ 3157 h 177"/>
                  <a:gd name="T36" fmla="*/ 24701 w 261"/>
                  <a:gd name="T37" fmla="*/ 3157 h 177"/>
                  <a:gd name="T38" fmla="*/ 14342 w 261"/>
                  <a:gd name="T39" fmla="*/ 3157 h 177"/>
                  <a:gd name="T40" fmla="*/ 10358 w 261"/>
                  <a:gd name="T41" fmla="*/ 3157 h 177"/>
                  <a:gd name="T42" fmla="*/ 7171 w 261"/>
                  <a:gd name="T43" fmla="*/ 15785 h 177"/>
                  <a:gd name="T44" fmla="*/ 0 w 261"/>
                  <a:gd name="T45" fmla="*/ 15785 h 177"/>
                  <a:gd name="T46" fmla="*/ 7171 w 261"/>
                  <a:gd name="T47" fmla="*/ 25257 h 177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261"/>
                  <a:gd name="T73" fmla="*/ 0 h 177"/>
                  <a:gd name="T74" fmla="*/ 261 w 261"/>
                  <a:gd name="T75" fmla="*/ 177 h 177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261" h="177">
                    <a:moveTo>
                      <a:pt x="35" y="129"/>
                    </a:moveTo>
                    <a:lnTo>
                      <a:pt x="35" y="129"/>
                    </a:lnTo>
                    <a:lnTo>
                      <a:pt x="69" y="129"/>
                    </a:lnTo>
                    <a:lnTo>
                      <a:pt x="69" y="144"/>
                    </a:lnTo>
                    <a:lnTo>
                      <a:pt x="87" y="161"/>
                    </a:lnTo>
                    <a:lnTo>
                      <a:pt x="104" y="161"/>
                    </a:lnTo>
                    <a:lnTo>
                      <a:pt x="156" y="177"/>
                    </a:lnTo>
                    <a:lnTo>
                      <a:pt x="190" y="144"/>
                    </a:lnTo>
                    <a:lnTo>
                      <a:pt x="244" y="161"/>
                    </a:lnTo>
                    <a:lnTo>
                      <a:pt x="244" y="144"/>
                    </a:lnTo>
                    <a:lnTo>
                      <a:pt x="261" y="129"/>
                    </a:lnTo>
                    <a:lnTo>
                      <a:pt x="261" y="113"/>
                    </a:lnTo>
                    <a:lnTo>
                      <a:pt x="227" y="113"/>
                    </a:lnTo>
                    <a:lnTo>
                      <a:pt x="227" y="96"/>
                    </a:lnTo>
                    <a:lnTo>
                      <a:pt x="227" y="48"/>
                    </a:lnTo>
                    <a:lnTo>
                      <a:pt x="190" y="0"/>
                    </a:lnTo>
                    <a:lnTo>
                      <a:pt x="173" y="0"/>
                    </a:lnTo>
                    <a:lnTo>
                      <a:pt x="139" y="17"/>
                    </a:lnTo>
                    <a:lnTo>
                      <a:pt x="121" y="17"/>
                    </a:lnTo>
                    <a:lnTo>
                      <a:pt x="69" y="17"/>
                    </a:lnTo>
                    <a:lnTo>
                      <a:pt x="52" y="17"/>
                    </a:lnTo>
                    <a:lnTo>
                      <a:pt x="35" y="81"/>
                    </a:lnTo>
                    <a:lnTo>
                      <a:pt x="0" y="81"/>
                    </a:lnTo>
                    <a:lnTo>
                      <a:pt x="35" y="12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88" name="Freeform 228">
                <a:extLst>
                  <a:ext uri="{FF2B5EF4-FFF2-40B4-BE49-F238E27FC236}">
                    <a16:creationId xmlns:a16="http://schemas.microsoft.com/office/drawing/2014/main" id="{6A67C060-8244-44CC-A473-F8F1F7D888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73" y="3019152"/>
                <a:ext cx="142788" cy="109084"/>
              </a:xfrm>
              <a:custGeom>
                <a:avLst/>
                <a:gdLst>
                  <a:gd name="T0" fmla="*/ 6314 w 175"/>
                  <a:gd name="T1" fmla="*/ 3175 h 128"/>
                  <a:gd name="T2" fmla="*/ 6314 w 175"/>
                  <a:gd name="T3" fmla="*/ 3175 h 128"/>
                  <a:gd name="T4" fmla="*/ 17363 w 175"/>
                  <a:gd name="T5" fmla="*/ 0 h 128"/>
                  <a:gd name="T6" fmla="*/ 23677 w 175"/>
                  <a:gd name="T7" fmla="*/ 0 h 128"/>
                  <a:gd name="T8" fmla="*/ 30779 w 175"/>
                  <a:gd name="T9" fmla="*/ 3175 h 128"/>
                  <a:gd name="T10" fmla="*/ 33936 w 175"/>
                  <a:gd name="T11" fmla="*/ 0 h 128"/>
                  <a:gd name="T12" fmla="*/ 30779 w 175"/>
                  <a:gd name="T13" fmla="*/ 6350 h 128"/>
                  <a:gd name="T14" fmla="*/ 23677 w 175"/>
                  <a:gd name="T15" fmla="*/ 3175 h 128"/>
                  <a:gd name="T16" fmla="*/ 20520 w 175"/>
                  <a:gd name="T17" fmla="*/ 6350 h 128"/>
                  <a:gd name="T18" fmla="*/ 20520 w 175"/>
                  <a:gd name="T19" fmla="*/ 9525 h 128"/>
                  <a:gd name="T20" fmla="*/ 17363 w 175"/>
                  <a:gd name="T21" fmla="*/ 9525 h 128"/>
                  <a:gd name="T22" fmla="*/ 13417 w 175"/>
                  <a:gd name="T23" fmla="*/ 6350 h 128"/>
                  <a:gd name="T24" fmla="*/ 13417 w 175"/>
                  <a:gd name="T25" fmla="*/ 9525 h 128"/>
                  <a:gd name="T26" fmla="*/ 17363 w 175"/>
                  <a:gd name="T27" fmla="*/ 15875 h 128"/>
                  <a:gd name="T28" fmla="*/ 23677 w 175"/>
                  <a:gd name="T29" fmla="*/ 22225 h 128"/>
                  <a:gd name="T30" fmla="*/ 20520 w 175"/>
                  <a:gd name="T31" fmla="*/ 22225 h 128"/>
                  <a:gd name="T32" fmla="*/ 20520 w 175"/>
                  <a:gd name="T33" fmla="*/ 25400 h 128"/>
                  <a:gd name="T34" fmla="*/ 13417 w 175"/>
                  <a:gd name="T35" fmla="*/ 22225 h 128"/>
                  <a:gd name="T36" fmla="*/ 6314 w 175"/>
                  <a:gd name="T37" fmla="*/ 22225 h 128"/>
                  <a:gd name="T38" fmla="*/ 0 w 175"/>
                  <a:gd name="T39" fmla="*/ 12700 h 128"/>
                  <a:gd name="T40" fmla="*/ 6314 w 175"/>
                  <a:gd name="T41" fmla="*/ 6350 h 128"/>
                  <a:gd name="T42" fmla="*/ 6314 w 175"/>
                  <a:gd name="T43" fmla="*/ 3175 h 128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175"/>
                  <a:gd name="T67" fmla="*/ 0 h 128"/>
                  <a:gd name="T68" fmla="*/ 175 w 175"/>
                  <a:gd name="T69" fmla="*/ 128 h 128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175" h="128">
                    <a:moveTo>
                      <a:pt x="35" y="17"/>
                    </a:moveTo>
                    <a:lnTo>
                      <a:pt x="35" y="17"/>
                    </a:lnTo>
                    <a:lnTo>
                      <a:pt x="89" y="0"/>
                    </a:lnTo>
                    <a:lnTo>
                      <a:pt x="123" y="0"/>
                    </a:lnTo>
                    <a:lnTo>
                      <a:pt x="158" y="17"/>
                    </a:lnTo>
                    <a:lnTo>
                      <a:pt x="175" y="0"/>
                    </a:lnTo>
                    <a:lnTo>
                      <a:pt x="158" y="33"/>
                    </a:lnTo>
                    <a:lnTo>
                      <a:pt x="123" y="17"/>
                    </a:lnTo>
                    <a:lnTo>
                      <a:pt x="106" y="33"/>
                    </a:lnTo>
                    <a:lnTo>
                      <a:pt x="106" y="48"/>
                    </a:lnTo>
                    <a:lnTo>
                      <a:pt x="89" y="48"/>
                    </a:lnTo>
                    <a:lnTo>
                      <a:pt x="69" y="33"/>
                    </a:lnTo>
                    <a:lnTo>
                      <a:pt x="69" y="48"/>
                    </a:lnTo>
                    <a:lnTo>
                      <a:pt x="89" y="81"/>
                    </a:lnTo>
                    <a:lnTo>
                      <a:pt x="123" y="113"/>
                    </a:lnTo>
                    <a:lnTo>
                      <a:pt x="106" y="113"/>
                    </a:lnTo>
                    <a:lnTo>
                      <a:pt x="106" y="128"/>
                    </a:lnTo>
                    <a:lnTo>
                      <a:pt x="69" y="113"/>
                    </a:lnTo>
                    <a:lnTo>
                      <a:pt x="35" y="113"/>
                    </a:lnTo>
                    <a:lnTo>
                      <a:pt x="0" y="65"/>
                    </a:lnTo>
                    <a:lnTo>
                      <a:pt x="35" y="33"/>
                    </a:lnTo>
                    <a:lnTo>
                      <a:pt x="35" y="17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89" name="Freeform 229">
                <a:extLst>
                  <a:ext uri="{FF2B5EF4-FFF2-40B4-BE49-F238E27FC236}">
                    <a16:creationId xmlns:a16="http://schemas.microsoft.com/office/drawing/2014/main" id="{BFFFB568-051A-4491-8266-8B9CC80398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6956" y="2937341"/>
                <a:ext cx="141147" cy="97153"/>
              </a:xfrm>
              <a:custGeom>
                <a:avLst/>
                <a:gdLst>
                  <a:gd name="T0" fmla="*/ 33934 w 173"/>
                  <a:gd name="T1" fmla="*/ 4004 h 113"/>
                  <a:gd name="T2" fmla="*/ 33934 w 173"/>
                  <a:gd name="T3" fmla="*/ 4004 h 113"/>
                  <a:gd name="T4" fmla="*/ 33934 w 173"/>
                  <a:gd name="T5" fmla="*/ 7207 h 113"/>
                  <a:gd name="T6" fmla="*/ 30777 w 173"/>
                  <a:gd name="T7" fmla="*/ 7207 h 113"/>
                  <a:gd name="T8" fmla="*/ 26832 w 173"/>
                  <a:gd name="T9" fmla="*/ 13613 h 113"/>
                  <a:gd name="T10" fmla="*/ 30777 w 173"/>
                  <a:gd name="T11" fmla="*/ 16816 h 113"/>
                  <a:gd name="T12" fmla="*/ 23675 w 173"/>
                  <a:gd name="T13" fmla="*/ 16816 h 113"/>
                  <a:gd name="T14" fmla="*/ 20518 w 173"/>
                  <a:gd name="T15" fmla="*/ 19219 h 113"/>
                  <a:gd name="T16" fmla="*/ 16572 w 173"/>
                  <a:gd name="T17" fmla="*/ 23223 h 113"/>
                  <a:gd name="T18" fmla="*/ 10259 w 173"/>
                  <a:gd name="T19" fmla="*/ 19219 h 113"/>
                  <a:gd name="T20" fmla="*/ 3157 w 173"/>
                  <a:gd name="T21" fmla="*/ 19219 h 113"/>
                  <a:gd name="T22" fmla="*/ 3157 w 173"/>
                  <a:gd name="T23" fmla="*/ 16816 h 113"/>
                  <a:gd name="T24" fmla="*/ 0 w 173"/>
                  <a:gd name="T25" fmla="*/ 13613 h 113"/>
                  <a:gd name="T26" fmla="*/ 3157 w 173"/>
                  <a:gd name="T27" fmla="*/ 9609 h 113"/>
                  <a:gd name="T28" fmla="*/ 0 w 173"/>
                  <a:gd name="T29" fmla="*/ 4004 h 113"/>
                  <a:gd name="T30" fmla="*/ 0 w 173"/>
                  <a:gd name="T31" fmla="*/ 0 h 113"/>
                  <a:gd name="T32" fmla="*/ 3157 w 173"/>
                  <a:gd name="T33" fmla="*/ 4004 h 113"/>
                  <a:gd name="T34" fmla="*/ 6313 w 173"/>
                  <a:gd name="T35" fmla="*/ 4004 h 113"/>
                  <a:gd name="T36" fmla="*/ 16572 w 173"/>
                  <a:gd name="T37" fmla="*/ 7207 h 113"/>
                  <a:gd name="T38" fmla="*/ 23675 w 173"/>
                  <a:gd name="T39" fmla="*/ 0 h 113"/>
                  <a:gd name="T40" fmla="*/ 33934 w 173"/>
                  <a:gd name="T41" fmla="*/ 4004 h 113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73"/>
                  <a:gd name="T64" fmla="*/ 0 h 113"/>
                  <a:gd name="T65" fmla="*/ 173 w 173"/>
                  <a:gd name="T66" fmla="*/ 113 h 113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73" h="113">
                    <a:moveTo>
                      <a:pt x="173" y="17"/>
                    </a:moveTo>
                    <a:lnTo>
                      <a:pt x="173" y="17"/>
                    </a:lnTo>
                    <a:lnTo>
                      <a:pt x="173" y="33"/>
                    </a:lnTo>
                    <a:lnTo>
                      <a:pt x="156" y="33"/>
                    </a:lnTo>
                    <a:lnTo>
                      <a:pt x="139" y="65"/>
                    </a:lnTo>
                    <a:lnTo>
                      <a:pt x="156" y="81"/>
                    </a:lnTo>
                    <a:lnTo>
                      <a:pt x="121" y="81"/>
                    </a:lnTo>
                    <a:lnTo>
                      <a:pt x="104" y="96"/>
                    </a:lnTo>
                    <a:lnTo>
                      <a:pt x="87" y="113"/>
                    </a:lnTo>
                    <a:lnTo>
                      <a:pt x="52" y="96"/>
                    </a:lnTo>
                    <a:lnTo>
                      <a:pt x="18" y="96"/>
                    </a:lnTo>
                    <a:lnTo>
                      <a:pt x="18" y="81"/>
                    </a:lnTo>
                    <a:lnTo>
                      <a:pt x="0" y="65"/>
                    </a:lnTo>
                    <a:lnTo>
                      <a:pt x="18" y="48"/>
                    </a:lnTo>
                    <a:lnTo>
                      <a:pt x="0" y="17"/>
                    </a:lnTo>
                    <a:lnTo>
                      <a:pt x="0" y="0"/>
                    </a:lnTo>
                    <a:lnTo>
                      <a:pt x="18" y="17"/>
                    </a:lnTo>
                    <a:lnTo>
                      <a:pt x="35" y="17"/>
                    </a:lnTo>
                    <a:lnTo>
                      <a:pt x="87" y="33"/>
                    </a:lnTo>
                    <a:lnTo>
                      <a:pt x="121" y="0"/>
                    </a:lnTo>
                    <a:lnTo>
                      <a:pt x="173" y="1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0" name="Freeform 230">
                <a:extLst>
                  <a:ext uri="{FF2B5EF4-FFF2-40B4-BE49-F238E27FC236}">
                    <a16:creationId xmlns:a16="http://schemas.microsoft.com/office/drawing/2014/main" id="{1DB96742-9CCB-4191-9CAF-2F9140CD49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9855" y="2584524"/>
                <a:ext cx="213362" cy="204530"/>
              </a:xfrm>
              <a:custGeom>
                <a:avLst/>
                <a:gdLst>
                  <a:gd name="T0" fmla="*/ 44622 w 259"/>
                  <a:gd name="T1" fmla="*/ 47824 h 239"/>
                  <a:gd name="T2" fmla="*/ 44622 w 259"/>
                  <a:gd name="T3" fmla="*/ 47824 h 239"/>
                  <a:gd name="T4" fmla="*/ 48606 w 259"/>
                  <a:gd name="T5" fmla="*/ 41448 h 239"/>
                  <a:gd name="T6" fmla="*/ 51793 w 259"/>
                  <a:gd name="T7" fmla="*/ 38259 h 239"/>
                  <a:gd name="T8" fmla="*/ 48606 w 259"/>
                  <a:gd name="T9" fmla="*/ 28695 h 239"/>
                  <a:gd name="T10" fmla="*/ 48606 w 259"/>
                  <a:gd name="T11" fmla="*/ 22318 h 239"/>
                  <a:gd name="T12" fmla="*/ 51793 w 259"/>
                  <a:gd name="T13" fmla="*/ 15941 h 239"/>
                  <a:gd name="T14" fmla="*/ 48606 w 259"/>
                  <a:gd name="T15" fmla="*/ 9565 h 239"/>
                  <a:gd name="T16" fmla="*/ 44622 w 259"/>
                  <a:gd name="T17" fmla="*/ 6377 h 239"/>
                  <a:gd name="T18" fmla="*/ 38247 w 259"/>
                  <a:gd name="T19" fmla="*/ 6377 h 239"/>
                  <a:gd name="T20" fmla="*/ 27889 w 259"/>
                  <a:gd name="T21" fmla="*/ 3188 h 239"/>
                  <a:gd name="T22" fmla="*/ 27889 w 259"/>
                  <a:gd name="T23" fmla="*/ 6377 h 239"/>
                  <a:gd name="T24" fmla="*/ 24701 w 259"/>
                  <a:gd name="T25" fmla="*/ 6377 h 239"/>
                  <a:gd name="T26" fmla="*/ 20717 w 259"/>
                  <a:gd name="T27" fmla="*/ 0 h 239"/>
                  <a:gd name="T28" fmla="*/ 0 w 259"/>
                  <a:gd name="T29" fmla="*/ 9565 h 239"/>
                  <a:gd name="T30" fmla="*/ 3984 w 259"/>
                  <a:gd name="T31" fmla="*/ 35071 h 239"/>
                  <a:gd name="T32" fmla="*/ 3984 w 259"/>
                  <a:gd name="T33" fmla="*/ 31883 h 239"/>
                  <a:gd name="T34" fmla="*/ 7171 w 259"/>
                  <a:gd name="T35" fmla="*/ 35071 h 239"/>
                  <a:gd name="T36" fmla="*/ 14343 w 259"/>
                  <a:gd name="T37" fmla="*/ 38259 h 239"/>
                  <a:gd name="T38" fmla="*/ 17530 w 259"/>
                  <a:gd name="T39" fmla="*/ 38259 h 239"/>
                  <a:gd name="T40" fmla="*/ 24701 w 259"/>
                  <a:gd name="T41" fmla="*/ 44636 h 239"/>
                  <a:gd name="T42" fmla="*/ 27889 w 259"/>
                  <a:gd name="T43" fmla="*/ 44636 h 239"/>
                  <a:gd name="T44" fmla="*/ 31076 w 259"/>
                  <a:gd name="T45" fmla="*/ 47824 h 239"/>
                  <a:gd name="T46" fmla="*/ 38247 w 259"/>
                  <a:gd name="T47" fmla="*/ 44636 h 239"/>
                  <a:gd name="T48" fmla="*/ 44622 w 259"/>
                  <a:gd name="T49" fmla="*/ 47824 h 239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259"/>
                  <a:gd name="T76" fmla="*/ 0 h 239"/>
                  <a:gd name="T77" fmla="*/ 259 w 259"/>
                  <a:gd name="T78" fmla="*/ 239 h 239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259" h="239">
                    <a:moveTo>
                      <a:pt x="224" y="239"/>
                    </a:moveTo>
                    <a:lnTo>
                      <a:pt x="224" y="239"/>
                    </a:lnTo>
                    <a:lnTo>
                      <a:pt x="242" y="207"/>
                    </a:lnTo>
                    <a:lnTo>
                      <a:pt x="259" y="191"/>
                    </a:lnTo>
                    <a:lnTo>
                      <a:pt x="242" y="143"/>
                    </a:lnTo>
                    <a:lnTo>
                      <a:pt x="242" y="111"/>
                    </a:lnTo>
                    <a:lnTo>
                      <a:pt x="259" y="78"/>
                    </a:lnTo>
                    <a:lnTo>
                      <a:pt x="242" y="47"/>
                    </a:lnTo>
                    <a:lnTo>
                      <a:pt x="224" y="30"/>
                    </a:lnTo>
                    <a:lnTo>
                      <a:pt x="190" y="30"/>
                    </a:lnTo>
                    <a:lnTo>
                      <a:pt x="138" y="15"/>
                    </a:lnTo>
                    <a:lnTo>
                      <a:pt x="138" y="30"/>
                    </a:lnTo>
                    <a:lnTo>
                      <a:pt x="121" y="30"/>
                    </a:lnTo>
                    <a:lnTo>
                      <a:pt x="103" y="0"/>
                    </a:lnTo>
                    <a:lnTo>
                      <a:pt x="0" y="47"/>
                    </a:lnTo>
                    <a:lnTo>
                      <a:pt x="17" y="174"/>
                    </a:lnTo>
                    <a:lnTo>
                      <a:pt x="17" y="159"/>
                    </a:lnTo>
                    <a:lnTo>
                      <a:pt x="34" y="174"/>
                    </a:lnTo>
                    <a:lnTo>
                      <a:pt x="69" y="191"/>
                    </a:lnTo>
                    <a:lnTo>
                      <a:pt x="86" y="191"/>
                    </a:lnTo>
                    <a:lnTo>
                      <a:pt x="121" y="222"/>
                    </a:lnTo>
                    <a:lnTo>
                      <a:pt x="138" y="222"/>
                    </a:lnTo>
                    <a:lnTo>
                      <a:pt x="155" y="239"/>
                    </a:lnTo>
                    <a:lnTo>
                      <a:pt x="190" y="222"/>
                    </a:lnTo>
                    <a:lnTo>
                      <a:pt x="224" y="23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1" name="Freeform 231">
                <a:extLst>
                  <a:ext uri="{FF2B5EF4-FFF2-40B4-BE49-F238E27FC236}">
                    <a16:creationId xmlns:a16="http://schemas.microsoft.com/office/drawing/2014/main" id="{B531E6EF-F1EF-467B-90F3-43BD0A4556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4742" y="2993587"/>
                <a:ext cx="42673" cy="81812"/>
              </a:xfrm>
              <a:custGeom>
                <a:avLst/>
                <a:gdLst>
                  <a:gd name="T0" fmla="*/ 0 w 52"/>
                  <a:gd name="T1" fmla="*/ 0 h 96"/>
                  <a:gd name="T2" fmla="*/ 0 w 52"/>
                  <a:gd name="T3" fmla="*/ 0 h 96"/>
                  <a:gd name="T4" fmla="*/ 3969 w 52"/>
                  <a:gd name="T5" fmla="*/ 0 h 96"/>
                  <a:gd name="T6" fmla="*/ 7144 w 52"/>
                  <a:gd name="T7" fmla="*/ 3175 h 96"/>
                  <a:gd name="T8" fmla="*/ 7144 w 52"/>
                  <a:gd name="T9" fmla="*/ 5556 h 96"/>
                  <a:gd name="T10" fmla="*/ 10319 w 52"/>
                  <a:gd name="T11" fmla="*/ 9525 h 96"/>
                  <a:gd name="T12" fmla="*/ 10319 w 52"/>
                  <a:gd name="T13" fmla="*/ 12700 h 96"/>
                  <a:gd name="T14" fmla="*/ 3969 w 52"/>
                  <a:gd name="T15" fmla="*/ 19050 h 96"/>
                  <a:gd name="T16" fmla="*/ 0 w 52"/>
                  <a:gd name="T17" fmla="*/ 15875 h 96"/>
                  <a:gd name="T18" fmla="*/ 0 w 52"/>
                  <a:gd name="T19" fmla="*/ 5556 h 96"/>
                  <a:gd name="T20" fmla="*/ 0 w 52"/>
                  <a:gd name="T21" fmla="*/ 3175 h 96"/>
                  <a:gd name="T22" fmla="*/ 0 w 52"/>
                  <a:gd name="T23" fmla="*/ 0 h 9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52"/>
                  <a:gd name="T37" fmla="*/ 0 h 96"/>
                  <a:gd name="T38" fmla="*/ 52 w 52"/>
                  <a:gd name="T39" fmla="*/ 96 h 9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52" h="96">
                    <a:moveTo>
                      <a:pt x="0" y="0"/>
                    </a:moveTo>
                    <a:lnTo>
                      <a:pt x="0" y="0"/>
                    </a:lnTo>
                    <a:lnTo>
                      <a:pt x="17" y="0"/>
                    </a:lnTo>
                    <a:lnTo>
                      <a:pt x="34" y="16"/>
                    </a:lnTo>
                    <a:lnTo>
                      <a:pt x="34" y="31"/>
                    </a:lnTo>
                    <a:lnTo>
                      <a:pt x="52" y="48"/>
                    </a:lnTo>
                    <a:lnTo>
                      <a:pt x="52" y="64"/>
                    </a:lnTo>
                    <a:lnTo>
                      <a:pt x="17" y="96"/>
                    </a:lnTo>
                    <a:lnTo>
                      <a:pt x="0" y="79"/>
                    </a:lnTo>
                    <a:lnTo>
                      <a:pt x="0" y="31"/>
                    </a:ln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2" name="Freeform 232">
                <a:extLst>
                  <a:ext uri="{FF2B5EF4-FFF2-40B4-BE49-F238E27FC236}">
                    <a16:creationId xmlns:a16="http://schemas.microsoft.com/office/drawing/2014/main" id="{67EE01E7-7313-4692-9481-0F61EEE6B6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2528" y="2800986"/>
                <a:ext cx="144429" cy="95448"/>
              </a:xfrm>
              <a:custGeom>
                <a:avLst/>
                <a:gdLst>
                  <a:gd name="T0" fmla="*/ 14452 w 174"/>
                  <a:gd name="T1" fmla="*/ 22425 h 111"/>
                  <a:gd name="T2" fmla="*/ 14452 w 174"/>
                  <a:gd name="T3" fmla="*/ 22425 h 111"/>
                  <a:gd name="T4" fmla="*/ 20875 w 174"/>
                  <a:gd name="T5" fmla="*/ 19222 h 111"/>
                  <a:gd name="T6" fmla="*/ 28903 w 174"/>
                  <a:gd name="T7" fmla="*/ 19222 h 111"/>
                  <a:gd name="T8" fmla="*/ 32115 w 174"/>
                  <a:gd name="T9" fmla="*/ 6407 h 111"/>
                  <a:gd name="T10" fmla="*/ 36129 w 174"/>
                  <a:gd name="T11" fmla="*/ 6407 h 111"/>
                  <a:gd name="T12" fmla="*/ 32115 w 174"/>
                  <a:gd name="T13" fmla="*/ 3204 h 111"/>
                  <a:gd name="T14" fmla="*/ 24889 w 174"/>
                  <a:gd name="T15" fmla="*/ 0 h 111"/>
                  <a:gd name="T16" fmla="*/ 10437 w 174"/>
                  <a:gd name="T17" fmla="*/ 6407 h 111"/>
                  <a:gd name="T18" fmla="*/ 4014 w 174"/>
                  <a:gd name="T19" fmla="*/ 6407 h 111"/>
                  <a:gd name="T20" fmla="*/ 0 w 174"/>
                  <a:gd name="T21" fmla="*/ 12814 h 111"/>
                  <a:gd name="T22" fmla="*/ 0 w 174"/>
                  <a:gd name="T23" fmla="*/ 16018 h 111"/>
                  <a:gd name="T24" fmla="*/ 10437 w 174"/>
                  <a:gd name="T25" fmla="*/ 22425 h 111"/>
                  <a:gd name="T26" fmla="*/ 14452 w 174"/>
                  <a:gd name="T27" fmla="*/ 22425 h 11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74"/>
                  <a:gd name="T43" fmla="*/ 0 h 111"/>
                  <a:gd name="T44" fmla="*/ 174 w 174"/>
                  <a:gd name="T45" fmla="*/ 111 h 111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74" h="111">
                    <a:moveTo>
                      <a:pt x="69" y="111"/>
                    </a:moveTo>
                    <a:lnTo>
                      <a:pt x="69" y="111"/>
                    </a:lnTo>
                    <a:lnTo>
                      <a:pt x="103" y="96"/>
                    </a:lnTo>
                    <a:lnTo>
                      <a:pt x="140" y="96"/>
                    </a:lnTo>
                    <a:lnTo>
                      <a:pt x="157" y="32"/>
                    </a:lnTo>
                    <a:lnTo>
                      <a:pt x="174" y="32"/>
                    </a:lnTo>
                    <a:lnTo>
                      <a:pt x="157" y="15"/>
                    </a:lnTo>
                    <a:lnTo>
                      <a:pt x="121" y="0"/>
                    </a:lnTo>
                    <a:lnTo>
                      <a:pt x="51" y="32"/>
                    </a:lnTo>
                    <a:lnTo>
                      <a:pt x="17" y="32"/>
                    </a:lnTo>
                    <a:lnTo>
                      <a:pt x="0" y="63"/>
                    </a:lnTo>
                    <a:lnTo>
                      <a:pt x="0" y="80"/>
                    </a:lnTo>
                    <a:lnTo>
                      <a:pt x="51" y="111"/>
                    </a:lnTo>
                    <a:lnTo>
                      <a:pt x="69" y="11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3" name="Freeform 233">
                <a:extLst>
                  <a:ext uri="{FF2B5EF4-FFF2-40B4-BE49-F238E27FC236}">
                    <a16:creationId xmlns:a16="http://schemas.microsoft.com/office/drawing/2014/main" id="{11B95051-0DD4-4EFB-8D92-59CDED6F57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1038" y="2896434"/>
                <a:ext cx="83705" cy="81812"/>
              </a:xfrm>
              <a:custGeom>
                <a:avLst/>
                <a:gdLst>
                  <a:gd name="T0" fmla="*/ 16348 w 104"/>
                  <a:gd name="T1" fmla="*/ 19050 h 96"/>
                  <a:gd name="T2" fmla="*/ 16348 w 104"/>
                  <a:gd name="T3" fmla="*/ 19050 h 96"/>
                  <a:gd name="T4" fmla="*/ 13234 w 104"/>
                  <a:gd name="T5" fmla="*/ 19050 h 96"/>
                  <a:gd name="T6" fmla="*/ 16348 w 104"/>
                  <a:gd name="T7" fmla="*/ 16669 h 96"/>
                  <a:gd name="T8" fmla="*/ 19462 w 104"/>
                  <a:gd name="T9" fmla="*/ 16669 h 96"/>
                  <a:gd name="T10" fmla="*/ 19462 w 104"/>
                  <a:gd name="T11" fmla="*/ 13494 h 96"/>
                  <a:gd name="T12" fmla="*/ 19462 w 104"/>
                  <a:gd name="T13" fmla="*/ 9525 h 96"/>
                  <a:gd name="T14" fmla="*/ 19462 w 104"/>
                  <a:gd name="T15" fmla="*/ 7144 h 96"/>
                  <a:gd name="T16" fmla="*/ 16348 w 104"/>
                  <a:gd name="T17" fmla="*/ 7144 h 96"/>
                  <a:gd name="T18" fmla="*/ 16348 w 104"/>
                  <a:gd name="T19" fmla="*/ 3969 h 96"/>
                  <a:gd name="T20" fmla="*/ 6228 w 104"/>
                  <a:gd name="T21" fmla="*/ 0 h 96"/>
                  <a:gd name="T22" fmla="*/ 3114 w 104"/>
                  <a:gd name="T23" fmla="*/ 3969 h 96"/>
                  <a:gd name="T24" fmla="*/ 3114 w 104"/>
                  <a:gd name="T25" fmla="*/ 0 h 96"/>
                  <a:gd name="T26" fmla="*/ 0 w 104"/>
                  <a:gd name="T27" fmla="*/ 3969 h 96"/>
                  <a:gd name="T28" fmla="*/ 3114 w 104"/>
                  <a:gd name="T29" fmla="*/ 7144 h 96"/>
                  <a:gd name="T30" fmla="*/ 10120 w 104"/>
                  <a:gd name="T31" fmla="*/ 16669 h 96"/>
                  <a:gd name="T32" fmla="*/ 16348 w 104"/>
                  <a:gd name="T33" fmla="*/ 19050 h 9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04"/>
                  <a:gd name="T52" fmla="*/ 0 h 96"/>
                  <a:gd name="T53" fmla="*/ 104 w 104"/>
                  <a:gd name="T54" fmla="*/ 96 h 9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04" h="96">
                    <a:moveTo>
                      <a:pt x="87" y="96"/>
                    </a:moveTo>
                    <a:lnTo>
                      <a:pt x="87" y="96"/>
                    </a:lnTo>
                    <a:lnTo>
                      <a:pt x="69" y="96"/>
                    </a:lnTo>
                    <a:lnTo>
                      <a:pt x="87" y="81"/>
                    </a:lnTo>
                    <a:lnTo>
                      <a:pt x="104" y="81"/>
                    </a:lnTo>
                    <a:lnTo>
                      <a:pt x="104" y="65"/>
                    </a:lnTo>
                    <a:lnTo>
                      <a:pt x="104" y="48"/>
                    </a:lnTo>
                    <a:lnTo>
                      <a:pt x="104" y="33"/>
                    </a:lnTo>
                    <a:lnTo>
                      <a:pt x="87" y="33"/>
                    </a:lnTo>
                    <a:lnTo>
                      <a:pt x="87" y="17"/>
                    </a:lnTo>
                    <a:lnTo>
                      <a:pt x="35" y="0"/>
                    </a:lnTo>
                    <a:lnTo>
                      <a:pt x="18" y="17"/>
                    </a:lnTo>
                    <a:lnTo>
                      <a:pt x="18" y="0"/>
                    </a:lnTo>
                    <a:lnTo>
                      <a:pt x="0" y="17"/>
                    </a:lnTo>
                    <a:lnTo>
                      <a:pt x="18" y="33"/>
                    </a:lnTo>
                    <a:lnTo>
                      <a:pt x="52" y="81"/>
                    </a:lnTo>
                    <a:lnTo>
                      <a:pt x="87" y="9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4" name="Freeform 234">
                <a:extLst>
                  <a:ext uri="{FF2B5EF4-FFF2-40B4-BE49-F238E27FC236}">
                    <a16:creationId xmlns:a16="http://schemas.microsoft.com/office/drawing/2014/main" id="{2FEBFACE-BCF3-4AA2-B50F-EC334D4F8B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1612" y="2882798"/>
                <a:ext cx="98475" cy="122719"/>
              </a:xfrm>
              <a:custGeom>
                <a:avLst/>
                <a:gdLst>
                  <a:gd name="T0" fmla="*/ 3149 w 121"/>
                  <a:gd name="T1" fmla="*/ 9525 h 144"/>
                  <a:gd name="T2" fmla="*/ 3149 w 121"/>
                  <a:gd name="T3" fmla="*/ 9525 h 144"/>
                  <a:gd name="T4" fmla="*/ 3149 w 121"/>
                  <a:gd name="T5" fmla="*/ 6350 h 144"/>
                  <a:gd name="T6" fmla="*/ 0 w 121"/>
                  <a:gd name="T7" fmla="*/ 2381 h 144"/>
                  <a:gd name="T8" fmla="*/ 6298 w 121"/>
                  <a:gd name="T9" fmla="*/ 0 h 144"/>
                  <a:gd name="T10" fmla="*/ 13382 w 121"/>
                  <a:gd name="T11" fmla="*/ 9525 h 144"/>
                  <a:gd name="T12" fmla="*/ 19680 w 121"/>
                  <a:gd name="T13" fmla="*/ 9525 h 144"/>
                  <a:gd name="T14" fmla="*/ 19680 w 121"/>
                  <a:gd name="T15" fmla="*/ 11906 h 144"/>
                  <a:gd name="T16" fmla="*/ 19680 w 121"/>
                  <a:gd name="T17" fmla="*/ 15875 h 144"/>
                  <a:gd name="T18" fmla="*/ 23616 w 121"/>
                  <a:gd name="T19" fmla="*/ 21431 h 144"/>
                  <a:gd name="T20" fmla="*/ 19680 w 121"/>
                  <a:gd name="T21" fmla="*/ 25400 h 144"/>
                  <a:gd name="T22" fmla="*/ 13382 w 121"/>
                  <a:gd name="T23" fmla="*/ 25400 h 144"/>
                  <a:gd name="T24" fmla="*/ 9446 w 121"/>
                  <a:gd name="T25" fmla="*/ 28575 h 144"/>
                  <a:gd name="T26" fmla="*/ 6298 w 121"/>
                  <a:gd name="T27" fmla="*/ 25400 h 144"/>
                  <a:gd name="T28" fmla="*/ 6298 w 121"/>
                  <a:gd name="T29" fmla="*/ 21431 h 144"/>
                  <a:gd name="T30" fmla="*/ 3149 w 121"/>
                  <a:gd name="T31" fmla="*/ 19050 h 144"/>
                  <a:gd name="T32" fmla="*/ 3149 w 121"/>
                  <a:gd name="T33" fmla="*/ 15875 h 144"/>
                  <a:gd name="T34" fmla="*/ 3149 w 121"/>
                  <a:gd name="T35" fmla="*/ 11906 h 144"/>
                  <a:gd name="T36" fmla="*/ 3149 w 121"/>
                  <a:gd name="T37" fmla="*/ 9525 h 14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21"/>
                  <a:gd name="T58" fmla="*/ 0 h 144"/>
                  <a:gd name="T59" fmla="*/ 121 w 121"/>
                  <a:gd name="T60" fmla="*/ 144 h 144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21" h="144">
                    <a:moveTo>
                      <a:pt x="17" y="48"/>
                    </a:moveTo>
                    <a:lnTo>
                      <a:pt x="17" y="48"/>
                    </a:lnTo>
                    <a:lnTo>
                      <a:pt x="17" y="32"/>
                    </a:lnTo>
                    <a:lnTo>
                      <a:pt x="0" y="15"/>
                    </a:lnTo>
                    <a:lnTo>
                      <a:pt x="34" y="0"/>
                    </a:lnTo>
                    <a:lnTo>
                      <a:pt x="69" y="48"/>
                    </a:lnTo>
                    <a:lnTo>
                      <a:pt x="103" y="48"/>
                    </a:lnTo>
                    <a:lnTo>
                      <a:pt x="103" y="63"/>
                    </a:lnTo>
                    <a:lnTo>
                      <a:pt x="103" y="80"/>
                    </a:lnTo>
                    <a:lnTo>
                      <a:pt x="121" y="111"/>
                    </a:lnTo>
                    <a:lnTo>
                      <a:pt x="103" y="128"/>
                    </a:lnTo>
                    <a:lnTo>
                      <a:pt x="69" y="128"/>
                    </a:lnTo>
                    <a:lnTo>
                      <a:pt x="51" y="144"/>
                    </a:lnTo>
                    <a:lnTo>
                      <a:pt x="34" y="128"/>
                    </a:lnTo>
                    <a:lnTo>
                      <a:pt x="34" y="111"/>
                    </a:lnTo>
                    <a:lnTo>
                      <a:pt x="17" y="96"/>
                    </a:lnTo>
                    <a:lnTo>
                      <a:pt x="17" y="80"/>
                    </a:lnTo>
                    <a:lnTo>
                      <a:pt x="17" y="63"/>
                    </a:lnTo>
                    <a:lnTo>
                      <a:pt x="17" y="48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5" name="Freeform 235">
                <a:extLst>
                  <a:ext uri="{FF2B5EF4-FFF2-40B4-BE49-F238E27FC236}">
                    <a16:creationId xmlns:a16="http://schemas.microsoft.com/office/drawing/2014/main" id="{DF68555B-2F3B-433D-AA22-B370B1009B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4285" y="2993587"/>
                <a:ext cx="55803" cy="40907"/>
              </a:xfrm>
              <a:custGeom>
                <a:avLst/>
                <a:gdLst>
                  <a:gd name="T0" fmla="*/ 3084 w 70"/>
                  <a:gd name="T1" fmla="*/ 9525 h 48"/>
                  <a:gd name="T2" fmla="*/ 3084 w 70"/>
                  <a:gd name="T3" fmla="*/ 9525 h 48"/>
                  <a:gd name="T4" fmla="*/ 0 w 70"/>
                  <a:gd name="T5" fmla="*/ 5556 h 48"/>
                  <a:gd name="T6" fmla="*/ 0 w 70"/>
                  <a:gd name="T7" fmla="*/ 3175 h 48"/>
                  <a:gd name="T8" fmla="*/ 3084 w 70"/>
                  <a:gd name="T9" fmla="*/ 0 h 48"/>
                  <a:gd name="T10" fmla="*/ 9253 w 70"/>
                  <a:gd name="T11" fmla="*/ 0 h 48"/>
                  <a:gd name="T12" fmla="*/ 13108 w 70"/>
                  <a:gd name="T13" fmla="*/ 3175 h 48"/>
                  <a:gd name="T14" fmla="*/ 13108 w 70"/>
                  <a:gd name="T15" fmla="*/ 5556 h 48"/>
                  <a:gd name="T16" fmla="*/ 3084 w 70"/>
                  <a:gd name="T17" fmla="*/ 9525 h 4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70"/>
                  <a:gd name="T28" fmla="*/ 0 h 48"/>
                  <a:gd name="T29" fmla="*/ 70 w 70"/>
                  <a:gd name="T30" fmla="*/ 48 h 4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70" h="48">
                    <a:moveTo>
                      <a:pt x="18" y="48"/>
                    </a:moveTo>
                    <a:lnTo>
                      <a:pt x="18" y="48"/>
                    </a:lnTo>
                    <a:lnTo>
                      <a:pt x="0" y="31"/>
                    </a:lnTo>
                    <a:lnTo>
                      <a:pt x="0" y="16"/>
                    </a:lnTo>
                    <a:lnTo>
                      <a:pt x="18" y="0"/>
                    </a:lnTo>
                    <a:lnTo>
                      <a:pt x="52" y="0"/>
                    </a:lnTo>
                    <a:lnTo>
                      <a:pt x="70" y="16"/>
                    </a:lnTo>
                    <a:lnTo>
                      <a:pt x="70" y="31"/>
                    </a:lnTo>
                    <a:lnTo>
                      <a:pt x="18" y="48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6" name="Freeform 236">
                <a:extLst>
                  <a:ext uri="{FF2B5EF4-FFF2-40B4-BE49-F238E27FC236}">
                    <a16:creationId xmlns:a16="http://schemas.microsoft.com/office/drawing/2014/main" id="{30E6F3FB-539E-483F-9D3C-1D083C2137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5693" y="2719173"/>
                <a:ext cx="154277" cy="81812"/>
              </a:xfrm>
              <a:custGeom>
                <a:avLst/>
                <a:gdLst>
                  <a:gd name="T0" fmla="*/ 37306 w 188"/>
                  <a:gd name="T1" fmla="*/ 11906 h 96"/>
                  <a:gd name="T2" fmla="*/ 37306 w 188"/>
                  <a:gd name="T3" fmla="*/ 11906 h 96"/>
                  <a:gd name="T4" fmla="*/ 30956 w 188"/>
                  <a:gd name="T5" fmla="*/ 6350 h 96"/>
                  <a:gd name="T6" fmla="*/ 26988 w 188"/>
                  <a:gd name="T7" fmla="*/ 6350 h 96"/>
                  <a:gd name="T8" fmla="*/ 19844 w 188"/>
                  <a:gd name="T9" fmla="*/ 2381 h 96"/>
                  <a:gd name="T10" fmla="*/ 17463 w 188"/>
                  <a:gd name="T11" fmla="*/ 0 h 96"/>
                  <a:gd name="T12" fmla="*/ 17463 w 188"/>
                  <a:gd name="T13" fmla="*/ 2381 h 96"/>
                  <a:gd name="T14" fmla="*/ 14288 w 188"/>
                  <a:gd name="T15" fmla="*/ 0 h 96"/>
                  <a:gd name="T16" fmla="*/ 7144 w 188"/>
                  <a:gd name="T17" fmla="*/ 2381 h 96"/>
                  <a:gd name="T18" fmla="*/ 0 w 188"/>
                  <a:gd name="T19" fmla="*/ 6350 h 96"/>
                  <a:gd name="T20" fmla="*/ 3969 w 188"/>
                  <a:gd name="T21" fmla="*/ 11906 h 96"/>
                  <a:gd name="T22" fmla="*/ 9525 w 188"/>
                  <a:gd name="T23" fmla="*/ 19050 h 96"/>
                  <a:gd name="T24" fmla="*/ 17463 w 188"/>
                  <a:gd name="T25" fmla="*/ 19050 h 96"/>
                  <a:gd name="T26" fmla="*/ 17463 w 188"/>
                  <a:gd name="T27" fmla="*/ 15875 h 96"/>
                  <a:gd name="T28" fmla="*/ 26988 w 188"/>
                  <a:gd name="T29" fmla="*/ 19050 h 96"/>
                  <a:gd name="T30" fmla="*/ 37306 w 188"/>
                  <a:gd name="T31" fmla="*/ 11906 h 9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88"/>
                  <a:gd name="T49" fmla="*/ 0 h 96"/>
                  <a:gd name="T50" fmla="*/ 188 w 188"/>
                  <a:gd name="T51" fmla="*/ 96 h 9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88" h="96">
                    <a:moveTo>
                      <a:pt x="188" y="63"/>
                    </a:moveTo>
                    <a:lnTo>
                      <a:pt x="188" y="63"/>
                    </a:lnTo>
                    <a:lnTo>
                      <a:pt x="153" y="32"/>
                    </a:lnTo>
                    <a:lnTo>
                      <a:pt x="136" y="32"/>
                    </a:lnTo>
                    <a:lnTo>
                      <a:pt x="103" y="15"/>
                    </a:lnTo>
                    <a:lnTo>
                      <a:pt x="86" y="0"/>
                    </a:lnTo>
                    <a:lnTo>
                      <a:pt x="86" y="15"/>
                    </a:lnTo>
                    <a:lnTo>
                      <a:pt x="69" y="0"/>
                    </a:lnTo>
                    <a:lnTo>
                      <a:pt x="34" y="15"/>
                    </a:lnTo>
                    <a:lnTo>
                      <a:pt x="0" y="32"/>
                    </a:lnTo>
                    <a:lnTo>
                      <a:pt x="17" y="63"/>
                    </a:lnTo>
                    <a:lnTo>
                      <a:pt x="51" y="96"/>
                    </a:lnTo>
                    <a:lnTo>
                      <a:pt x="86" y="96"/>
                    </a:lnTo>
                    <a:lnTo>
                      <a:pt x="86" y="80"/>
                    </a:lnTo>
                    <a:lnTo>
                      <a:pt x="136" y="96"/>
                    </a:lnTo>
                    <a:lnTo>
                      <a:pt x="188" y="6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7" name="Freeform 237">
                <a:extLst>
                  <a:ext uri="{FF2B5EF4-FFF2-40B4-BE49-F238E27FC236}">
                    <a16:creationId xmlns:a16="http://schemas.microsoft.com/office/drawing/2014/main" id="{7094F0F9-DA85-4DEF-B14D-7FC2EEEF53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7298" y="2773715"/>
                <a:ext cx="129659" cy="56246"/>
              </a:xfrm>
              <a:custGeom>
                <a:avLst/>
                <a:gdLst>
                  <a:gd name="T0" fmla="*/ 0 w 157"/>
                  <a:gd name="T1" fmla="*/ 7254 h 65"/>
                  <a:gd name="T2" fmla="*/ 0 w 157"/>
                  <a:gd name="T3" fmla="*/ 7254 h 65"/>
                  <a:gd name="T4" fmla="*/ 0 w 157"/>
                  <a:gd name="T5" fmla="*/ 13701 h 65"/>
                  <a:gd name="T6" fmla="*/ 7189 w 157"/>
                  <a:gd name="T7" fmla="*/ 13701 h 65"/>
                  <a:gd name="T8" fmla="*/ 21568 w 157"/>
                  <a:gd name="T9" fmla="*/ 7254 h 65"/>
                  <a:gd name="T10" fmla="*/ 27958 w 157"/>
                  <a:gd name="T11" fmla="*/ 9672 h 65"/>
                  <a:gd name="T12" fmla="*/ 31952 w 157"/>
                  <a:gd name="T13" fmla="*/ 4030 h 65"/>
                  <a:gd name="T14" fmla="*/ 24763 w 157"/>
                  <a:gd name="T15" fmla="*/ 0 h 65"/>
                  <a:gd name="T16" fmla="*/ 17574 w 157"/>
                  <a:gd name="T17" fmla="*/ 4030 h 65"/>
                  <a:gd name="T18" fmla="*/ 14379 w 157"/>
                  <a:gd name="T19" fmla="*/ 0 h 65"/>
                  <a:gd name="T20" fmla="*/ 11183 w 157"/>
                  <a:gd name="T21" fmla="*/ 0 h 65"/>
                  <a:gd name="T22" fmla="*/ 0 w 157"/>
                  <a:gd name="T23" fmla="*/ 7254 h 6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57"/>
                  <a:gd name="T37" fmla="*/ 0 h 65"/>
                  <a:gd name="T38" fmla="*/ 157 w 157"/>
                  <a:gd name="T39" fmla="*/ 65 h 6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57" h="65">
                    <a:moveTo>
                      <a:pt x="0" y="33"/>
                    </a:moveTo>
                    <a:lnTo>
                      <a:pt x="0" y="33"/>
                    </a:lnTo>
                    <a:lnTo>
                      <a:pt x="0" y="65"/>
                    </a:lnTo>
                    <a:lnTo>
                      <a:pt x="34" y="65"/>
                    </a:lnTo>
                    <a:lnTo>
                      <a:pt x="105" y="33"/>
                    </a:lnTo>
                    <a:lnTo>
                      <a:pt x="140" y="48"/>
                    </a:lnTo>
                    <a:lnTo>
                      <a:pt x="157" y="17"/>
                    </a:lnTo>
                    <a:lnTo>
                      <a:pt x="123" y="0"/>
                    </a:lnTo>
                    <a:lnTo>
                      <a:pt x="88" y="17"/>
                    </a:lnTo>
                    <a:lnTo>
                      <a:pt x="71" y="0"/>
                    </a:lnTo>
                    <a:lnTo>
                      <a:pt x="54" y="0"/>
                    </a:lnTo>
                    <a:lnTo>
                      <a:pt x="0" y="3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8" name="Freeform 238">
                <a:extLst>
                  <a:ext uri="{FF2B5EF4-FFF2-40B4-BE49-F238E27FC236}">
                    <a16:creationId xmlns:a16="http://schemas.microsoft.com/office/drawing/2014/main" id="{3B8F650B-36F4-469B-9C5C-54DC5DE15E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8366" y="2870868"/>
                <a:ext cx="126376" cy="122719"/>
              </a:xfrm>
              <a:custGeom>
                <a:avLst/>
                <a:gdLst>
                  <a:gd name="T0" fmla="*/ 13321 w 156"/>
                  <a:gd name="T1" fmla="*/ 0 h 144"/>
                  <a:gd name="T2" fmla="*/ 13321 w 156"/>
                  <a:gd name="T3" fmla="*/ 0 h 144"/>
                  <a:gd name="T4" fmla="*/ 23507 w 156"/>
                  <a:gd name="T5" fmla="*/ 5556 h 144"/>
                  <a:gd name="T6" fmla="*/ 26642 w 156"/>
                  <a:gd name="T7" fmla="*/ 5556 h 144"/>
                  <a:gd name="T8" fmla="*/ 29776 w 156"/>
                  <a:gd name="T9" fmla="*/ 9525 h 144"/>
                  <a:gd name="T10" fmla="*/ 29776 w 156"/>
                  <a:gd name="T11" fmla="*/ 12700 h 144"/>
                  <a:gd name="T12" fmla="*/ 26642 w 156"/>
                  <a:gd name="T13" fmla="*/ 12700 h 144"/>
                  <a:gd name="T14" fmla="*/ 26642 w 156"/>
                  <a:gd name="T15" fmla="*/ 9525 h 144"/>
                  <a:gd name="T16" fmla="*/ 16455 w 156"/>
                  <a:gd name="T17" fmla="*/ 5556 h 144"/>
                  <a:gd name="T18" fmla="*/ 13321 w 156"/>
                  <a:gd name="T19" fmla="*/ 9525 h 144"/>
                  <a:gd name="T20" fmla="*/ 13321 w 156"/>
                  <a:gd name="T21" fmla="*/ 5556 h 144"/>
                  <a:gd name="T22" fmla="*/ 10186 w 156"/>
                  <a:gd name="T23" fmla="*/ 9525 h 144"/>
                  <a:gd name="T24" fmla="*/ 13321 w 156"/>
                  <a:gd name="T25" fmla="*/ 12700 h 144"/>
                  <a:gd name="T26" fmla="*/ 19589 w 156"/>
                  <a:gd name="T27" fmla="*/ 22225 h 144"/>
                  <a:gd name="T28" fmla="*/ 26642 w 156"/>
                  <a:gd name="T29" fmla="*/ 24606 h 144"/>
                  <a:gd name="T30" fmla="*/ 23507 w 156"/>
                  <a:gd name="T31" fmla="*/ 28575 h 144"/>
                  <a:gd name="T32" fmla="*/ 16455 w 156"/>
                  <a:gd name="T33" fmla="*/ 22225 h 144"/>
                  <a:gd name="T34" fmla="*/ 13321 w 156"/>
                  <a:gd name="T35" fmla="*/ 22225 h 144"/>
                  <a:gd name="T36" fmla="*/ 6269 w 156"/>
                  <a:gd name="T37" fmla="*/ 15081 h 144"/>
                  <a:gd name="T38" fmla="*/ 10186 w 156"/>
                  <a:gd name="T39" fmla="*/ 15081 h 144"/>
                  <a:gd name="T40" fmla="*/ 6269 w 156"/>
                  <a:gd name="T41" fmla="*/ 15081 h 144"/>
                  <a:gd name="T42" fmla="*/ 6269 w 156"/>
                  <a:gd name="T43" fmla="*/ 9525 h 144"/>
                  <a:gd name="T44" fmla="*/ 3134 w 156"/>
                  <a:gd name="T45" fmla="*/ 9525 h 144"/>
                  <a:gd name="T46" fmla="*/ 0 w 156"/>
                  <a:gd name="T47" fmla="*/ 12700 h 144"/>
                  <a:gd name="T48" fmla="*/ 0 w 156"/>
                  <a:gd name="T49" fmla="*/ 9525 h 144"/>
                  <a:gd name="T50" fmla="*/ 0 w 156"/>
                  <a:gd name="T51" fmla="*/ 5556 h 144"/>
                  <a:gd name="T52" fmla="*/ 3134 w 156"/>
                  <a:gd name="T53" fmla="*/ 5556 h 144"/>
                  <a:gd name="T54" fmla="*/ 6269 w 156"/>
                  <a:gd name="T55" fmla="*/ 5556 h 144"/>
                  <a:gd name="T56" fmla="*/ 10186 w 156"/>
                  <a:gd name="T57" fmla="*/ 0 h 144"/>
                  <a:gd name="T58" fmla="*/ 13321 w 156"/>
                  <a:gd name="T59" fmla="*/ 0 h 144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156"/>
                  <a:gd name="T91" fmla="*/ 0 h 144"/>
                  <a:gd name="T92" fmla="*/ 156 w 156"/>
                  <a:gd name="T93" fmla="*/ 144 h 144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156" h="144">
                    <a:moveTo>
                      <a:pt x="70" y="0"/>
                    </a:moveTo>
                    <a:lnTo>
                      <a:pt x="70" y="0"/>
                    </a:lnTo>
                    <a:lnTo>
                      <a:pt x="121" y="31"/>
                    </a:lnTo>
                    <a:lnTo>
                      <a:pt x="139" y="31"/>
                    </a:lnTo>
                    <a:lnTo>
                      <a:pt x="156" y="48"/>
                    </a:lnTo>
                    <a:lnTo>
                      <a:pt x="156" y="64"/>
                    </a:lnTo>
                    <a:lnTo>
                      <a:pt x="139" y="64"/>
                    </a:lnTo>
                    <a:lnTo>
                      <a:pt x="139" y="48"/>
                    </a:lnTo>
                    <a:lnTo>
                      <a:pt x="87" y="31"/>
                    </a:lnTo>
                    <a:lnTo>
                      <a:pt x="70" y="48"/>
                    </a:lnTo>
                    <a:lnTo>
                      <a:pt x="70" y="31"/>
                    </a:lnTo>
                    <a:lnTo>
                      <a:pt x="52" y="48"/>
                    </a:lnTo>
                    <a:lnTo>
                      <a:pt x="70" y="64"/>
                    </a:lnTo>
                    <a:lnTo>
                      <a:pt x="104" y="112"/>
                    </a:lnTo>
                    <a:lnTo>
                      <a:pt x="139" y="127"/>
                    </a:lnTo>
                    <a:lnTo>
                      <a:pt x="121" y="144"/>
                    </a:lnTo>
                    <a:lnTo>
                      <a:pt x="87" y="112"/>
                    </a:lnTo>
                    <a:lnTo>
                      <a:pt x="70" y="112"/>
                    </a:lnTo>
                    <a:lnTo>
                      <a:pt x="35" y="79"/>
                    </a:lnTo>
                    <a:lnTo>
                      <a:pt x="52" y="79"/>
                    </a:lnTo>
                    <a:lnTo>
                      <a:pt x="35" y="79"/>
                    </a:lnTo>
                    <a:lnTo>
                      <a:pt x="35" y="48"/>
                    </a:lnTo>
                    <a:lnTo>
                      <a:pt x="18" y="48"/>
                    </a:lnTo>
                    <a:lnTo>
                      <a:pt x="0" y="64"/>
                    </a:lnTo>
                    <a:lnTo>
                      <a:pt x="0" y="48"/>
                    </a:lnTo>
                    <a:lnTo>
                      <a:pt x="0" y="31"/>
                    </a:lnTo>
                    <a:lnTo>
                      <a:pt x="18" y="31"/>
                    </a:lnTo>
                    <a:lnTo>
                      <a:pt x="35" y="31"/>
                    </a:lnTo>
                    <a:lnTo>
                      <a:pt x="52" y="0"/>
                    </a:lnTo>
                    <a:lnTo>
                      <a:pt x="70" y="0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9" name="Freeform 239">
                <a:extLst>
                  <a:ext uri="{FF2B5EF4-FFF2-40B4-BE49-F238E27FC236}">
                    <a16:creationId xmlns:a16="http://schemas.microsoft.com/office/drawing/2014/main" id="{C0D11C83-F80A-4F09-BE5C-6A3C55BD4D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5200" y="2964609"/>
                <a:ext cx="42673" cy="40907"/>
              </a:xfrm>
              <a:custGeom>
                <a:avLst/>
                <a:gdLst>
                  <a:gd name="T0" fmla="*/ 0 w 52"/>
                  <a:gd name="T1" fmla="*/ 6350 h 48"/>
                  <a:gd name="T2" fmla="*/ 0 w 52"/>
                  <a:gd name="T3" fmla="*/ 6350 h 48"/>
                  <a:gd name="T4" fmla="*/ 7144 w 52"/>
                  <a:gd name="T5" fmla="*/ 9525 h 48"/>
                  <a:gd name="T6" fmla="*/ 7144 w 52"/>
                  <a:gd name="T7" fmla="*/ 6350 h 48"/>
                  <a:gd name="T8" fmla="*/ 10319 w 52"/>
                  <a:gd name="T9" fmla="*/ 6350 h 48"/>
                  <a:gd name="T10" fmla="*/ 10319 w 52"/>
                  <a:gd name="T11" fmla="*/ 2381 h 48"/>
                  <a:gd name="T12" fmla="*/ 7144 w 52"/>
                  <a:gd name="T13" fmla="*/ 0 h 48"/>
                  <a:gd name="T14" fmla="*/ 3969 w 52"/>
                  <a:gd name="T15" fmla="*/ 0 h 48"/>
                  <a:gd name="T16" fmla="*/ 0 w 52"/>
                  <a:gd name="T17" fmla="*/ 2381 h 48"/>
                  <a:gd name="T18" fmla="*/ 3969 w 52"/>
                  <a:gd name="T19" fmla="*/ 2381 h 48"/>
                  <a:gd name="T20" fmla="*/ 0 w 52"/>
                  <a:gd name="T21" fmla="*/ 6350 h 4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2"/>
                  <a:gd name="T34" fmla="*/ 0 h 48"/>
                  <a:gd name="T35" fmla="*/ 52 w 52"/>
                  <a:gd name="T36" fmla="*/ 48 h 4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2" h="48">
                    <a:moveTo>
                      <a:pt x="0" y="32"/>
                    </a:moveTo>
                    <a:lnTo>
                      <a:pt x="0" y="32"/>
                    </a:lnTo>
                    <a:lnTo>
                      <a:pt x="35" y="48"/>
                    </a:lnTo>
                    <a:lnTo>
                      <a:pt x="35" y="32"/>
                    </a:lnTo>
                    <a:lnTo>
                      <a:pt x="52" y="32"/>
                    </a:lnTo>
                    <a:lnTo>
                      <a:pt x="52" y="15"/>
                    </a:lnTo>
                    <a:lnTo>
                      <a:pt x="35" y="0"/>
                    </a:lnTo>
                    <a:lnTo>
                      <a:pt x="18" y="0"/>
                    </a:lnTo>
                    <a:lnTo>
                      <a:pt x="0" y="15"/>
                    </a:lnTo>
                    <a:lnTo>
                      <a:pt x="18" y="15"/>
                    </a:lnTo>
                    <a:lnTo>
                      <a:pt x="0" y="32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0" name="Freeform 240">
                <a:extLst>
                  <a:ext uri="{FF2B5EF4-FFF2-40B4-BE49-F238E27FC236}">
                    <a16:creationId xmlns:a16="http://schemas.microsoft.com/office/drawing/2014/main" id="{C62A8B97-EFD4-478A-87D9-3058DE24E5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0919" y="2569185"/>
                <a:ext cx="59084" cy="56246"/>
              </a:xfrm>
              <a:custGeom>
                <a:avLst/>
                <a:gdLst>
                  <a:gd name="T0" fmla="*/ 11269 w 71"/>
                  <a:gd name="T1" fmla="*/ 13701 h 65"/>
                  <a:gd name="T2" fmla="*/ 11269 w 71"/>
                  <a:gd name="T3" fmla="*/ 9672 h 65"/>
                  <a:gd name="T4" fmla="*/ 4025 w 71"/>
                  <a:gd name="T5" fmla="*/ 9672 h 65"/>
                  <a:gd name="T6" fmla="*/ 0 w 71"/>
                  <a:gd name="T7" fmla="*/ 7254 h 65"/>
                  <a:gd name="T8" fmla="*/ 4025 w 71"/>
                  <a:gd name="T9" fmla="*/ 0 h 65"/>
                  <a:gd name="T10" fmla="*/ 11269 w 71"/>
                  <a:gd name="T11" fmla="*/ 4030 h 65"/>
                  <a:gd name="T12" fmla="*/ 14489 w 71"/>
                  <a:gd name="T13" fmla="*/ 9672 h 65"/>
                  <a:gd name="T14" fmla="*/ 11269 w 71"/>
                  <a:gd name="T15" fmla="*/ 13701 h 6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1"/>
                  <a:gd name="T25" fmla="*/ 0 h 65"/>
                  <a:gd name="T26" fmla="*/ 71 w 71"/>
                  <a:gd name="T27" fmla="*/ 65 h 6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1" h="65">
                    <a:moveTo>
                      <a:pt x="54" y="65"/>
                    </a:moveTo>
                    <a:lnTo>
                      <a:pt x="54" y="48"/>
                    </a:lnTo>
                    <a:lnTo>
                      <a:pt x="18" y="48"/>
                    </a:lnTo>
                    <a:lnTo>
                      <a:pt x="0" y="33"/>
                    </a:lnTo>
                    <a:lnTo>
                      <a:pt x="18" y="0"/>
                    </a:lnTo>
                    <a:lnTo>
                      <a:pt x="54" y="18"/>
                    </a:lnTo>
                    <a:lnTo>
                      <a:pt x="71" y="48"/>
                    </a:lnTo>
                    <a:lnTo>
                      <a:pt x="54" y="65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1" name="Freeform 241">
                <a:extLst>
                  <a:ext uri="{FF2B5EF4-FFF2-40B4-BE49-F238E27FC236}">
                    <a16:creationId xmlns:a16="http://schemas.microsoft.com/office/drawing/2014/main" id="{B894FFA6-C5B4-4FE0-BBEC-D2A8C6B722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6758" y="2569185"/>
                <a:ext cx="96834" cy="138059"/>
              </a:xfrm>
              <a:custGeom>
                <a:avLst/>
                <a:gdLst>
                  <a:gd name="T0" fmla="*/ 16529 w 119"/>
                  <a:gd name="T1" fmla="*/ 0 h 161"/>
                  <a:gd name="T2" fmla="*/ 13380 w 119"/>
                  <a:gd name="T3" fmla="*/ 7188 h 161"/>
                  <a:gd name="T4" fmla="*/ 16529 w 119"/>
                  <a:gd name="T5" fmla="*/ 9584 h 161"/>
                  <a:gd name="T6" fmla="*/ 22825 w 119"/>
                  <a:gd name="T7" fmla="*/ 9584 h 161"/>
                  <a:gd name="T8" fmla="*/ 22825 w 119"/>
                  <a:gd name="T9" fmla="*/ 13578 h 161"/>
                  <a:gd name="T10" fmla="*/ 22825 w 119"/>
                  <a:gd name="T11" fmla="*/ 19168 h 161"/>
                  <a:gd name="T12" fmla="*/ 19677 w 119"/>
                  <a:gd name="T13" fmla="*/ 28753 h 161"/>
                  <a:gd name="T14" fmla="*/ 3148 w 119"/>
                  <a:gd name="T15" fmla="*/ 32746 h 161"/>
                  <a:gd name="T16" fmla="*/ 0 w 119"/>
                  <a:gd name="T17" fmla="*/ 28753 h 161"/>
                  <a:gd name="T18" fmla="*/ 3148 w 119"/>
                  <a:gd name="T19" fmla="*/ 28753 h 161"/>
                  <a:gd name="T20" fmla="*/ 6297 w 119"/>
                  <a:gd name="T21" fmla="*/ 19168 h 161"/>
                  <a:gd name="T22" fmla="*/ 3148 w 119"/>
                  <a:gd name="T23" fmla="*/ 16772 h 161"/>
                  <a:gd name="T24" fmla="*/ 6297 w 119"/>
                  <a:gd name="T25" fmla="*/ 13578 h 161"/>
                  <a:gd name="T26" fmla="*/ 3148 w 119"/>
                  <a:gd name="T27" fmla="*/ 13578 h 161"/>
                  <a:gd name="T28" fmla="*/ 3148 w 119"/>
                  <a:gd name="T29" fmla="*/ 9584 h 161"/>
                  <a:gd name="T30" fmla="*/ 10232 w 119"/>
                  <a:gd name="T31" fmla="*/ 9584 h 161"/>
                  <a:gd name="T32" fmla="*/ 13380 w 119"/>
                  <a:gd name="T33" fmla="*/ 7188 h 161"/>
                  <a:gd name="T34" fmla="*/ 10232 w 119"/>
                  <a:gd name="T35" fmla="*/ 7188 h 161"/>
                  <a:gd name="T36" fmla="*/ 10232 w 119"/>
                  <a:gd name="T37" fmla="*/ 3993 h 161"/>
                  <a:gd name="T38" fmla="*/ 16529 w 119"/>
                  <a:gd name="T39" fmla="*/ 0 h 16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19"/>
                  <a:gd name="T61" fmla="*/ 0 h 161"/>
                  <a:gd name="T62" fmla="*/ 119 w 119"/>
                  <a:gd name="T63" fmla="*/ 161 h 161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19" h="161">
                    <a:moveTo>
                      <a:pt x="86" y="0"/>
                    </a:moveTo>
                    <a:lnTo>
                      <a:pt x="69" y="33"/>
                    </a:lnTo>
                    <a:lnTo>
                      <a:pt x="86" y="48"/>
                    </a:lnTo>
                    <a:lnTo>
                      <a:pt x="119" y="48"/>
                    </a:lnTo>
                    <a:lnTo>
                      <a:pt x="119" y="65"/>
                    </a:lnTo>
                    <a:lnTo>
                      <a:pt x="119" y="96"/>
                    </a:lnTo>
                    <a:lnTo>
                      <a:pt x="102" y="144"/>
                    </a:lnTo>
                    <a:lnTo>
                      <a:pt x="17" y="161"/>
                    </a:lnTo>
                    <a:lnTo>
                      <a:pt x="0" y="144"/>
                    </a:lnTo>
                    <a:lnTo>
                      <a:pt x="17" y="144"/>
                    </a:lnTo>
                    <a:lnTo>
                      <a:pt x="35" y="96"/>
                    </a:lnTo>
                    <a:lnTo>
                      <a:pt x="17" y="81"/>
                    </a:lnTo>
                    <a:lnTo>
                      <a:pt x="35" y="65"/>
                    </a:lnTo>
                    <a:lnTo>
                      <a:pt x="17" y="65"/>
                    </a:lnTo>
                    <a:lnTo>
                      <a:pt x="17" y="48"/>
                    </a:lnTo>
                    <a:lnTo>
                      <a:pt x="52" y="48"/>
                    </a:lnTo>
                    <a:lnTo>
                      <a:pt x="69" y="33"/>
                    </a:lnTo>
                    <a:lnTo>
                      <a:pt x="52" y="33"/>
                    </a:lnTo>
                    <a:lnTo>
                      <a:pt x="52" y="18"/>
                    </a:lnTo>
                    <a:lnTo>
                      <a:pt x="86" y="0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2" name="Freeform 242">
                <a:extLst>
                  <a:ext uri="{FF2B5EF4-FFF2-40B4-BE49-F238E27FC236}">
                    <a16:creationId xmlns:a16="http://schemas.microsoft.com/office/drawing/2014/main" id="{256833D1-194F-43AA-AE84-831D9ED28F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44659" y="2952680"/>
                <a:ext cx="269163" cy="216463"/>
              </a:xfrm>
              <a:custGeom>
                <a:avLst/>
                <a:gdLst>
                  <a:gd name="T0" fmla="*/ 3969 w 328"/>
                  <a:gd name="T1" fmla="*/ 12650 h 255"/>
                  <a:gd name="T2" fmla="*/ 3969 w 328"/>
                  <a:gd name="T3" fmla="*/ 12650 h 255"/>
                  <a:gd name="T4" fmla="*/ 16669 w 328"/>
                  <a:gd name="T5" fmla="*/ 12650 h 255"/>
                  <a:gd name="T6" fmla="*/ 16669 w 328"/>
                  <a:gd name="T7" fmla="*/ 15022 h 255"/>
                  <a:gd name="T8" fmla="*/ 14288 w 328"/>
                  <a:gd name="T9" fmla="*/ 18975 h 255"/>
                  <a:gd name="T10" fmla="*/ 14288 w 328"/>
                  <a:gd name="T11" fmla="*/ 24510 h 255"/>
                  <a:gd name="T12" fmla="*/ 9525 w 328"/>
                  <a:gd name="T13" fmla="*/ 28463 h 255"/>
                  <a:gd name="T14" fmla="*/ 14288 w 328"/>
                  <a:gd name="T15" fmla="*/ 37951 h 255"/>
                  <a:gd name="T16" fmla="*/ 9525 w 328"/>
                  <a:gd name="T17" fmla="*/ 43485 h 255"/>
                  <a:gd name="T18" fmla="*/ 19844 w 328"/>
                  <a:gd name="T19" fmla="*/ 49810 h 255"/>
                  <a:gd name="T20" fmla="*/ 23812 w 328"/>
                  <a:gd name="T21" fmla="*/ 47438 h 255"/>
                  <a:gd name="T22" fmla="*/ 37306 w 328"/>
                  <a:gd name="T23" fmla="*/ 47438 h 255"/>
                  <a:gd name="T24" fmla="*/ 51594 w 328"/>
                  <a:gd name="T25" fmla="*/ 33997 h 255"/>
                  <a:gd name="T26" fmla="*/ 47625 w 328"/>
                  <a:gd name="T27" fmla="*/ 28463 h 255"/>
                  <a:gd name="T28" fmla="*/ 54769 w 328"/>
                  <a:gd name="T29" fmla="*/ 18975 h 255"/>
                  <a:gd name="T30" fmla="*/ 65088 w 328"/>
                  <a:gd name="T31" fmla="*/ 12650 h 255"/>
                  <a:gd name="T32" fmla="*/ 65088 w 328"/>
                  <a:gd name="T33" fmla="*/ 9488 h 255"/>
                  <a:gd name="T34" fmla="*/ 47625 w 328"/>
                  <a:gd name="T35" fmla="*/ 5534 h 255"/>
                  <a:gd name="T36" fmla="*/ 40481 w 328"/>
                  <a:gd name="T37" fmla="*/ 3163 h 255"/>
                  <a:gd name="T38" fmla="*/ 37306 w 328"/>
                  <a:gd name="T39" fmla="*/ 3163 h 255"/>
                  <a:gd name="T40" fmla="*/ 30956 w 328"/>
                  <a:gd name="T41" fmla="*/ 3163 h 255"/>
                  <a:gd name="T42" fmla="*/ 27781 w 328"/>
                  <a:gd name="T43" fmla="*/ 3163 h 255"/>
                  <a:gd name="T44" fmla="*/ 7144 w 328"/>
                  <a:gd name="T45" fmla="*/ 0 h 255"/>
                  <a:gd name="T46" fmla="*/ 3969 w 328"/>
                  <a:gd name="T47" fmla="*/ 3163 h 255"/>
                  <a:gd name="T48" fmla="*/ 0 w 328"/>
                  <a:gd name="T49" fmla="*/ 3163 h 255"/>
                  <a:gd name="T50" fmla="*/ 0 w 328"/>
                  <a:gd name="T51" fmla="*/ 5534 h 255"/>
                  <a:gd name="T52" fmla="*/ 3969 w 328"/>
                  <a:gd name="T53" fmla="*/ 12650 h 255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328"/>
                  <a:gd name="T82" fmla="*/ 0 h 255"/>
                  <a:gd name="T83" fmla="*/ 328 w 328"/>
                  <a:gd name="T84" fmla="*/ 255 h 255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328" h="255">
                    <a:moveTo>
                      <a:pt x="17" y="64"/>
                    </a:moveTo>
                    <a:lnTo>
                      <a:pt x="17" y="64"/>
                    </a:lnTo>
                    <a:lnTo>
                      <a:pt x="86" y="64"/>
                    </a:lnTo>
                    <a:lnTo>
                      <a:pt x="86" y="79"/>
                    </a:lnTo>
                    <a:lnTo>
                      <a:pt x="69" y="96"/>
                    </a:lnTo>
                    <a:lnTo>
                      <a:pt x="69" y="127"/>
                    </a:lnTo>
                    <a:lnTo>
                      <a:pt x="51" y="144"/>
                    </a:lnTo>
                    <a:lnTo>
                      <a:pt x="69" y="192"/>
                    </a:lnTo>
                    <a:lnTo>
                      <a:pt x="51" y="223"/>
                    </a:lnTo>
                    <a:lnTo>
                      <a:pt x="103" y="255"/>
                    </a:lnTo>
                    <a:lnTo>
                      <a:pt x="121" y="240"/>
                    </a:lnTo>
                    <a:lnTo>
                      <a:pt x="190" y="240"/>
                    </a:lnTo>
                    <a:lnTo>
                      <a:pt x="259" y="175"/>
                    </a:lnTo>
                    <a:lnTo>
                      <a:pt x="241" y="144"/>
                    </a:lnTo>
                    <a:lnTo>
                      <a:pt x="276" y="96"/>
                    </a:lnTo>
                    <a:lnTo>
                      <a:pt x="328" y="64"/>
                    </a:lnTo>
                    <a:lnTo>
                      <a:pt x="328" y="48"/>
                    </a:lnTo>
                    <a:lnTo>
                      <a:pt x="241" y="31"/>
                    </a:lnTo>
                    <a:lnTo>
                      <a:pt x="207" y="16"/>
                    </a:lnTo>
                    <a:lnTo>
                      <a:pt x="190" y="16"/>
                    </a:lnTo>
                    <a:lnTo>
                      <a:pt x="155" y="16"/>
                    </a:lnTo>
                    <a:lnTo>
                      <a:pt x="138" y="16"/>
                    </a:lnTo>
                    <a:lnTo>
                      <a:pt x="34" y="0"/>
                    </a:lnTo>
                    <a:lnTo>
                      <a:pt x="17" y="16"/>
                    </a:lnTo>
                    <a:lnTo>
                      <a:pt x="0" y="16"/>
                    </a:lnTo>
                    <a:lnTo>
                      <a:pt x="0" y="31"/>
                    </a:lnTo>
                    <a:lnTo>
                      <a:pt x="17" y="64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3" name="Freeform 243">
                <a:extLst>
                  <a:ext uri="{FF2B5EF4-FFF2-40B4-BE49-F238E27FC236}">
                    <a16:creationId xmlns:a16="http://schemas.microsoft.com/office/drawing/2014/main" id="{75D5801A-4E1A-4D1D-A77D-A23F17D72E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44659" y="3005516"/>
                <a:ext cx="68931" cy="136353"/>
              </a:xfrm>
              <a:custGeom>
                <a:avLst/>
                <a:gdLst>
                  <a:gd name="T0" fmla="*/ 9525 w 84"/>
                  <a:gd name="T1" fmla="*/ 31950 h 159"/>
                  <a:gd name="T2" fmla="*/ 9525 w 84"/>
                  <a:gd name="T3" fmla="*/ 31950 h 159"/>
                  <a:gd name="T4" fmla="*/ 13494 w 84"/>
                  <a:gd name="T5" fmla="*/ 25560 h 159"/>
                  <a:gd name="T6" fmla="*/ 9525 w 84"/>
                  <a:gd name="T7" fmla="*/ 15975 h 159"/>
                  <a:gd name="T8" fmla="*/ 13494 w 84"/>
                  <a:gd name="T9" fmla="*/ 12780 h 159"/>
                  <a:gd name="T10" fmla="*/ 13494 w 84"/>
                  <a:gd name="T11" fmla="*/ 6390 h 159"/>
                  <a:gd name="T12" fmla="*/ 16669 w 84"/>
                  <a:gd name="T13" fmla="*/ 3195 h 159"/>
                  <a:gd name="T14" fmla="*/ 16669 w 84"/>
                  <a:gd name="T15" fmla="*/ 0 h 159"/>
                  <a:gd name="T16" fmla="*/ 3969 w 84"/>
                  <a:gd name="T17" fmla="*/ 0 h 159"/>
                  <a:gd name="T18" fmla="*/ 3969 w 84"/>
                  <a:gd name="T19" fmla="*/ 6390 h 159"/>
                  <a:gd name="T20" fmla="*/ 0 w 84"/>
                  <a:gd name="T21" fmla="*/ 22365 h 159"/>
                  <a:gd name="T22" fmla="*/ 3969 w 84"/>
                  <a:gd name="T23" fmla="*/ 22365 h 159"/>
                  <a:gd name="T24" fmla="*/ 0 w 84"/>
                  <a:gd name="T25" fmla="*/ 31950 h 159"/>
                  <a:gd name="T26" fmla="*/ 9525 w 84"/>
                  <a:gd name="T27" fmla="*/ 31950 h 15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84"/>
                  <a:gd name="T43" fmla="*/ 0 h 159"/>
                  <a:gd name="T44" fmla="*/ 84 w 84"/>
                  <a:gd name="T45" fmla="*/ 159 h 15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84" h="159">
                    <a:moveTo>
                      <a:pt x="50" y="159"/>
                    </a:moveTo>
                    <a:lnTo>
                      <a:pt x="50" y="159"/>
                    </a:lnTo>
                    <a:lnTo>
                      <a:pt x="67" y="128"/>
                    </a:lnTo>
                    <a:lnTo>
                      <a:pt x="50" y="80"/>
                    </a:lnTo>
                    <a:lnTo>
                      <a:pt x="67" y="63"/>
                    </a:lnTo>
                    <a:lnTo>
                      <a:pt x="67" y="32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7" y="0"/>
                    </a:lnTo>
                    <a:lnTo>
                      <a:pt x="17" y="32"/>
                    </a:lnTo>
                    <a:lnTo>
                      <a:pt x="0" y="111"/>
                    </a:lnTo>
                    <a:lnTo>
                      <a:pt x="17" y="111"/>
                    </a:lnTo>
                    <a:lnTo>
                      <a:pt x="0" y="159"/>
                    </a:lnTo>
                    <a:lnTo>
                      <a:pt x="50" y="159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4" name="Freeform 244">
                <a:extLst>
                  <a:ext uri="{FF2B5EF4-FFF2-40B4-BE49-F238E27FC236}">
                    <a16:creationId xmlns:a16="http://schemas.microsoft.com/office/drawing/2014/main" id="{4B386E99-7442-4D0E-B506-51E86B6A30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0461" y="2446465"/>
                <a:ext cx="185461" cy="313614"/>
              </a:xfrm>
              <a:custGeom>
                <a:avLst/>
                <a:gdLst>
                  <a:gd name="T0" fmla="*/ 7208 w 224"/>
                  <a:gd name="T1" fmla="*/ 72827 h 369"/>
                  <a:gd name="T2" fmla="*/ 10411 w 224"/>
                  <a:gd name="T3" fmla="*/ 69661 h 369"/>
                  <a:gd name="T4" fmla="*/ 17618 w 224"/>
                  <a:gd name="T5" fmla="*/ 72827 h 369"/>
                  <a:gd name="T6" fmla="*/ 17618 w 224"/>
                  <a:gd name="T7" fmla="*/ 69661 h 369"/>
                  <a:gd name="T8" fmla="*/ 20822 w 224"/>
                  <a:gd name="T9" fmla="*/ 66494 h 369"/>
                  <a:gd name="T10" fmla="*/ 24826 w 224"/>
                  <a:gd name="T11" fmla="*/ 69661 h 369"/>
                  <a:gd name="T12" fmla="*/ 28029 w 224"/>
                  <a:gd name="T13" fmla="*/ 66494 h 369"/>
                  <a:gd name="T14" fmla="*/ 41644 w 224"/>
                  <a:gd name="T15" fmla="*/ 66494 h 369"/>
                  <a:gd name="T16" fmla="*/ 45648 w 224"/>
                  <a:gd name="T17" fmla="*/ 63328 h 369"/>
                  <a:gd name="T18" fmla="*/ 38440 w 224"/>
                  <a:gd name="T19" fmla="*/ 63328 h 369"/>
                  <a:gd name="T20" fmla="*/ 45648 w 224"/>
                  <a:gd name="T21" fmla="*/ 53829 h 369"/>
                  <a:gd name="T22" fmla="*/ 41644 w 224"/>
                  <a:gd name="T23" fmla="*/ 50662 h 369"/>
                  <a:gd name="T24" fmla="*/ 38440 w 224"/>
                  <a:gd name="T25" fmla="*/ 50662 h 369"/>
                  <a:gd name="T26" fmla="*/ 35237 w 224"/>
                  <a:gd name="T27" fmla="*/ 50662 h 369"/>
                  <a:gd name="T28" fmla="*/ 38440 w 224"/>
                  <a:gd name="T29" fmla="*/ 47496 h 369"/>
                  <a:gd name="T30" fmla="*/ 38440 w 224"/>
                  <a:gd name="T31" fmla="*/ 44330 h 369"/>
                  <a:gd name="T32" fmla="*/ 35237 w 224"/>
                  <a:gd name="T33" fmla="*/ 37997 h 369"/>
                  <a:gd name="T34" fmla="*/ 31233 w 224"/>
                  <a:gd name="T35" fmla="*/ 34830 h 369"/>
                  <a:gd name="T36" fmla="*/ 24826 w 224"/>
                  <a:gd name="T37" fmla="*/ 25331 h 369"/>
                  <a:gd name="T38" fmla="*/ 17618 w 224"/>
                  <a:gd name="T39" fmla="*/ 22165 h 369"/>
                  <a:gd name="T40" fmla="*/ 28029 w 224"/>
                  <a:gd name="T41" fmla="*/ 9499 h 369"/>
                  <a:gd name="T42" fmla="*/ 24826 w 224"/>
                  <a:gd name="T43" fmla="*/ 6333 h 369"/>
                  <a:gd name="T44" fmla="*/ 14415 w 224"/>
                  <a:gd name="T45" fmla="*/ 9499 h 369"/>
                  <a:gd name="T46" fmla="*/ 14415 w 224"/>
                  <a:gd name="T47" fmla="*/ 3166 h 369"/>
                  <a:gd name="T48" fmla="*/ 20822 w 224"/>
                  <a:gd name="T49" fmla="*/ 0 h 369"/>
                  <a:gd name="T50" fmla="*/ 17618 w 224"/>
                  <a:gd name="T51" fmla="*/ 0 h 369"/>
                  <a:gd name="T52" fmla="*/ 10411 w 224"/>
                  <a:gd name="T53" fmla="*/ 0 h 369"/>
                  <a:gd name="T54" fmla="*/ 4004 w 224"/>
                  <a:gd name="T55" fmla="*/ 9499 h 369"/>
                  <a:gd name="T56" fmla="*/ 0 w 224"/>
                  <a:gd name="T57" fmla="*/ 9499 h 369"/>
                  <a:gd name="T58" fmla="*/ 4004 w 224"/>
                  <a:gd name="T59" fmla="*/ 12666 h 369"/>
                  <a:gd name="T60" fmla="*/ 7208 w 224"/>
                  <a:gd name="T61" fmla="*/ 12666 h 369"/>
                  <a:gd name="T62" fmla="*/ 4004 w 224"/>
                  <a:gd name="T63" fmla="*/ 18998 h 369"/>
                  <a:gd name="T64" fmla="*/ 7208 w 224"/>
                  <a:gd name="T65" fmla="*/ 18998 h 369"/>
                  <a:gd name="T66" fmla="*/ 7208 w 224"/>
                  <a:gd name="T67" fmla="*/ 22165 h 369"/>
                  <a:gd name="T68" fmla="*/ 4004 w 224"/>
                  <a:gd name="T69" fmla="*/ 25331 h 369"/>
                  <a:gd name="T70" fmla="*/ 7208 w 224"/>
                  <a:gd name="T71" fmla="*/ 25331 h 369"/>
                  <a:gd name="T72" fmla="*/ 7208 w 224"/>
                  <a:gd name="T73" fmla="*/ 28498 h 369"/>
                  <a:gd name="T74" fmla="*/ 7208 w 224"/>
                  <a:gd name="T75" fmla="*/ 25331 h 369"/>
                  <a:gd name="T76" fmla="*/ 10411 w 224"/>
                  <a:gd name="T77" fmla="*/ 28498 h 369"/>
                  <a:gd name="T78" fmla="*/ 7208 w 224"/>
                  <a:gd name="T79" fmla="*/ 31664 h 369"/>
                  <a:gd name="T80" fmla="*/ 10411 w 224"/>
                  <a:gd name="T81" fmla="*/ 34830 h 369"/>
                  <a:gd name="T82" fmla="*/ 17618 w 224"/>
                  <a:gd name="T83" fmla="*/ 31664 h 369"/>
                  <a:gd name="T84" fmla="*/ 17618 w 224"/>
                  <a:gd name="T85" fmla="*/ 34830 h 369"/>
                  <a:gd name="T86" fmla="*/ 17618 w 224"/>
                  <a:gd name="T87" fmla="*/ 37997 h 369"/>
                  <a:gd name="T88" fmla="*/ 20822 w 224"/>
                  <a:gd name="T89" fmla="*/ 37997 h 369"/>
                  <a:gd name="T90" fmla="*/ 20822 w 224"/>
                  <a:gd name="T91" fmla="*/ 44330 h 369"/>
                  <a:gd name="T92" fmla="*/ 10411 w 224"/>
                  <a:gd name="T93" fmla="*/ 44330 h 369"/>
                  <a:gd name="T94" fmla="*/ 14415 w 224"/>
                  <a:gd name="T95" fmla="*/ 47496 h 369"/>
                  <a:gd name="T96" fmla="*/ 10411 w 224"/>
                  <a:gd name="T97" fmla="*/ 50662 h 369"/>
                  <a:gd name="T98" fmla="*/ 14415 w 224"/>
                  <a:gd name="T99" fmla="*/ 50662 h 369"/>
                  <a:gd name="T100" fmla="*/ 14415 w 224"/>
                  <a:gd name="T101" fmla="*/ 53829 h 369"/>
                  <a:gd name="T102" fmla="*/ 7208 w 224"/>
                  <a:gd name="T103" fmla="*/ 56995 h 369"/>
                  <a:gd name="T104" fmla="*/ 10411 w 224"/>
                  <a:gd name="T105" fmla="*/ 60162 h 369"/>
                  <a:gd name="T106" fmla="*/ 14415 w 224"/>
                  <a:gd name="T107" fmla="*/ 60162 h 369"/>
                  <a:gd name="T108" fmla="*/ 17618 w 224"/>
                  <a:gd name="T109" fmla="*/ 63328 h 369"/>
                  <a:gd name="T110" fmla="*/ 20822 w 224"/>
                  <a:gd name="T111" fmla="*/ 60162 h 369"/>
                  <a:gd name="T112" fmla="*/ 20822 w 224"/>
                  <a:gd name="T113" fmla="*/ 63328 h 369"/>
                  <a:gd name="T114" fmla="*/ 14415 w 224"/>
                  <a:gd name="T115" fmla="*/ 63328 h 369"/>
                  <a:gd name="T116" fmla="*/ 7208 w 224"/>
                  <a:gd name="T117" fmla="*/ 72827 h 369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24"/>
                  <a:gd name="T178" fmla="*/ 0 h 369"/>
                  <a:gd name="T179" fmla="*/ 224 w 224"/>
                  <a:gd name="T180" fmla="*/ 369 h 369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24" h="369">
                    <a:moveTo>
                      <a:pt x="34" y="369"/>
                    </a:moveTo>
                    <a:lnTo>
                      <a:pt x="52" y="353"/>
                    </a:lnTo>
                    <a:lnTo>
                      <a:pt x="86" y="369"/>
                    </a:lnTo>
                    <a:lnTo>
                      <a:pt x="86" y="353"/>
                    </a:lnTo>
                    <a:lnTo>
                      <a:pt x="103" y="336"/>
                    </a:lnTo>
                    <a:lnTo>
                      <a:pt x="121" y="353"/>
                    </a:lnTo>
                    <a:lnTo>
                      <a:pt x="138" y="336"/>
                    </a:lnTo>
                    <a:lnTo>
                      <a:pt x="207" y="336"/>
                    </a:lnTo>
                    <a:lnTo>
                      <a:pt x="224" y="321"/>
                    </a:lnTo>
                    <a:lnTo>
                      <a:pt x="190" y="321"/>
                    </a:lnTo>
                    <a:lnTo>
                      <a:pt x="224" y="273"/>
                    </a:lnTo>
                    <a:lnTo>
                      <a:pt x="207" y="257"/>
                    </a:lnTo>
                    <a:lnTo>
                      <a:pt x="190" y="257"/>
                    </a:lnTo>
                    <a:lnTo>
                      <a:pt x="172" y="257"/>
                    </a:lnTo>
                    <a:lnTo>
                      <a:pt x="190" y="240"/>
                    </a:lnTo>
                    <a:lnTo>
                      <a:pt x="190" y="225"/>
                    </a:lnTo>
                    <a:lnTo>
                      <a:pt x="172" y="192"/>
                    </a:lnTo>
                    <a:lnTo>
                      <a:pt x="155" y="177"/>
                    </a:lnTo>
                    <a:lnTo>
                      <a:pt x="121" y="129"/>
                    </a:lnTo>
                    <a:lnTo>
                      <a:pt x="86" y="114"/>
                    </a:lnTo>
                    <a:lnTo>
                      <a:pt x="138" y="48"/>
                    </a:lnTo>
                    <a:lnTo>
                      <a:pt x="121" y="33"/>
                    </a:lnTo>
                    <a:lnTo>
                      <a:pt x="69" y="48"/>
                    </a:lnTo>
                    <a:lnTo>
                      <a:pt x="69" y="18"/>
                    </a:lnTo>
                    <a:lnTo>
                      <a:pt x="103" y="0"/>
                    </a:lnTo>
                    <a:lnTo>
                      <a:pt x="86" y="0"/>
                    </a:lnTo>
                    <a:lnTo>
                      <a:pt x="52" y="0"/>
                    </a:lnTo>
                    <a:lnTo>
                      <a:pt x="17" y="48"/>
                    </a:lnTo>
                    <a:lnTo>
                      <a:pt x="0" y="48"/>
                    </a:lnTo>
                    <a:lnTo>
                      <a:pt x="17" y="66"/>
                    </a:lnTo>
                    <a:lnTo>
                      <a:pt x="34" y="66"/>
                    </a:lnTo>
                    <a:lnTo>
                      <a:pt x="17" y="96"/>
                    </a:lnTo>
                    <a:lnTo>
                      <a:pt x="34" y="96"/>
                    </a:lnTo>
                    <a:lnTo>
                      <a:pt x="34" y="114"/>
                    </a:lnTo>
                    <a:lnTo>
                      <a:pt x="17" y="129"/>
                    </a:lnTo>
                    <a:lnTo>
                      <a:pt x="34" y="129"/>
                    </a:lnTo>
                    <a:lnTo>
                      <a:pt x="34" y="144"/>
                    </a:lnTo>
                    <a:lnTo>
                      <a:pt x="34" y="129"/>
                    </a:lnTo>
                    <a:lnTo>
                      <a:pt x="52" y="144"/>
                    </a:lnTo>
                    <a:lnTo>
                      <a:pt x="34" y="162"/>
                    </a:lnTo>
                    <a:lnTo>
                      <a:pt x="52" y="177"/>
                    </a:lnTo>
                    <a:lnTo>
                      <a:pt x="86" y="162"/>
                    </a:lnTo>
                    <a:lnTo>
                      <a:pt x="86" y="177"/>
                    </a:lnTo>
                    <a:lnTo>
                      <a:pt x="86" y="192"/>
                    </a:lnTo>
                    <a:lnTo>
                      <a:pt x="103" y="192"/>
                    </a:lnTo>
                    <a:lnTo>
                      <a:pt x="103" y="225"/>
                    </a:lnTo>
                    <a:lnTo>
                      <a:pt x="52" y="225"/>
                    </a:lnTo>
                    <a:lnTo>
                      <a:pt x="69" y="240"/>
                    </a:lnTo>
                    <a:lnTo>
                      <a:pt x="52" y="257"/>
                    </a:lnTo>
                    <a:lnTo>
                      <a:pt x="69" y="257"/>
                    </a:lnTo>
                    <a:lnTo>
                      <a:pt x="69" y="273"/>
                    </a:lnTo>
                    <a:lnTo>
                      <a:pt x="34" y="288"/>
                    </a:lnTo>
                    <a:lnTo>
                      <a:pt x="52" y="305"/>
                    </a:lnTo>
                    <a:lnTo>
                      <a:pt x="69" y="305"/>
                    </a:lnTo>
                    <a:lnTo>
                      <a:pt x="86" y="321"/>
                    </a:lnTo>
                    <a:lnTo>
                      <a:pt x="103" y="305"/>
                    </a:lnTo>
                    <a:lnTo>
                      <a:pt x="103" y="321"/>
                    </a:lnTo>
                    <a:lnTo>
                      <a:pt x="69" y="321"/>
                    </a:lnTo>
                    <a:lnTo>
                      <a:pt x="34" y="369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5" name="Freeform 245">
                <a:extLst>
                  <a:ext uri="{FF2B5EF4-FFF2-40B4-BE49-F238E27FC236}">
                    <a16:creationId xmlns:a16="http://schemas.microsoft.com/office/drawing/2014/main" id="{33BE140B-57F3-4C53-8D7D-3A74C5E945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99050" y="3060059"/>
                <a:ext cx="29543" cy="27271"/>
              </a:xfrm>
              <a:custGeom>
                <a:avLst/>
                <a:gdLst>
                  <a:gd name="T0" fmla="*/ 0 w 34"/>
                  <a:gd name="T1" fmla="*/ 3079 h 33"/>
                  <a:gd name="T2" fmla="*/ 0 w 34"/>
                  <a:gd name="T3" fmla="*/ 3079 h 33"/>
                  <a:gd name="T4" fmla="*/ 4202 w 34"/>
                  <a:gd name="T5" fmla="*/ 6158 h 33"/>
                  <a:gd name="T6" fmla="*/ 8404 w 34"/>
                  <a:gd name="T7" fmla="*/ 3079 h 33"/>
                  <a:gd name="T8" fmla="*/ 4202 w 34"/>
                  <a:gd name="T9" fmla="*/ 0 h 33"/>
                  <a:gd name="T10" fmla="*/ 0 w 34"/>
                  <a:gd name="T11" fmla="*/ 3079 h 3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4"/>
                  <a:gd name="T19" fmla="*/ 0 h 33"/>
                  <a:gd name="T20" fmla="*/ 34 w 34"/>
                  <a:gd name="T21" fmla="*/ 33 h 3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4" h="33">
                    <a:moveTo>
                      <a:pt x="0" y="17"/>
                    </a:moveTo>
                    <a:lnTo>
                      <a:pt x="0" y="17"/>
                    </a:lnTo>
                    <a:lnTo>
                      <a:pt x="17" y="33"/>
                    </a:lnTo>
                    <a:lnTo>
                      <a:pt x="34" y="17"/>
                    </a:lnTo>
                    <a:lnTo>
                      <a:pt x="17" y="0"/>
                    </a:lnTo>
                    <a:lnTo>
                      <a:pt x="0" y="17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6" name="Freeform 247">
                <a:extLst>
                  <a:ext uri="{FF2B5EF4-FFF2-40B4-BE49-F238E27FC236}">
                    <a16:creationId xmlns:a16="http://schemas.microsoft.com/office/drawing/2014/main" id="{7343B5BA-314F-486F-AA58-6780079C2E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3133" y="2719173"/>
                <a:ext cx="283936" cy="274412"/>
              </a:xfrm>
              <a:custGeom>
                <a:avLst/>
                <a:gdLst>
                  <a:gd name="T0" fmla="*/ 41395 w 345"/>
                  <a:gd name="T1" fmla="*/ 0 h 320"/>
                  <a:gd name="T2" fmla="*/ 41395 w 345"/>
                  <a:gd name="T3" fmla="*/ 0 h 320"/>
                  <a:gd name="T4" fmla="*/ 34230 w 345"/>
                  <a:gd name="T5" fmla="*/ 3195 h 320"/>
                  <a:gd name="T6" fmla="*/ 34230 w 345"/>
                  <a:gd name="T7" fmla="*/ 9585 h 320"/>
                  <a:gd name="T8" fmla="*/ 27862 w 345"/>
                  <a:gd name="T9" fmla="*/ 12779 h 320"/>
                  <a:gd name="T10" fmla="*/ 23882 w 345"/>
                  <a:gd name="T11" fmla="*/ 15974 h 320"/>
                  <a:gd name="T12" fmla="*/ 20697 w 345"/>
                  <a:gd name="T13" fmla="*/ 15974 h 320"/>
                  <a:gd name="T14" fmla="*/ 17513 w 345"/>
                  <a:gd name="T15" fmla="*/ 12779 h 320"/>
                  <a:gd name="T16" fmla="*/ 14329 w 345"/>
                  <a:gd name="T17" fmla="*/ 12779 h 320"/>
                  <a:gd name="T18" fmla="*/ 17513 w 345"/>
                  <a:gd name="T19" fmla="*/ 19169 h 320"/>
                  <a:gd name="T20" fmla="*/ 10349 w 345"/>
                  <a:gd name="T21" fmla="*/ 22364 h 320"/>
                  <a:gd name="T22" fmla="*/ 10349 w 345"/>
                  <a:gd name="T23" fmla="*/ 19169 h 320"/>
                  <a:gd name="T24" fmla="*/ 0 w 345"/>
                  <a:gd name="T25" fmla="*/ 22364 h 320"/>
                  <a:gd name="T26" fmla="*/ 0 w 345"/>
                  <a:gd name="T27" fmla="*/ 25559 h 320"/>
                  <a:gd name="T28" fmla="*/ 14329 w 345"/>
                  <a:gd name="T29" fmla="*/ 28754 h 320"/>
                  <a:gd name="T30" fmla="*/ 20697 w 345"/>
                  <a:gd name="T31" fmla="*/ 39137 h 320"/>
                  <a:gd name="T32" fmla="*/ 20697 w 345"/>
                  <a:gd name="T33" fmla="*/ 41533 h 320"/>
                  <a:gd name="T34" fmla="*/ 17513 w 345"/>
                  <a:gd name="T35" fmla="*/ 58306 h 320"/>
                  <a:gd name="T36" fmla="*/ 23882 w 345"/>
                  <a:gd name="T37" fmla="*/ 60702 h 320"/>
                  <a:gd name="T38" fmla="*/ 41395 w 345"/>
                  <a:gd name="T39" fmla="*/ 64696 h 320"/>
                  <a:gd name="T40" fmla="*/ 41395 w 345"/>
                  <a:gd name="T41" fmla="*/ 60702 h 320"/>
                  <a:gd name="T42" fmla="*/ 48559 w 345"/>
                  <a:gd name="T43" fmla="*/ 58306 h 320"/>
                  <a:gd name="T44" fmla="*/ 58908 w 345"/>
                  <a:gd name="T45" fmla="*/ 60702 h 320"/>
                  <a:gd name="T46" fmla="*/ 62092 w 345"/>
                  <a:gd name="T47" fmla="*/ 60702 h 320"/>
                  <a:gd name="T48" fmla="*/ 65276 w 345"/>
                  <a:gd name="T49" fmla="*/ 55111 h 320"/>
                  <a:gd name="T50" fmla="*/ 62092 w 345"/>
                  <a:gd name="T51" fmla="*/ 48721 h 320"/>
                  <a:gd name="T52" fmla="*/ 62092 w 345"/>
                  <a:gd name="T53" fmla="*/ 41533 h 320"/>
                  <a:gd name="T54" fmla="*/ 62092 w 345"/>
                  <a:gd name="T55" fmla="*/ 35942 h 320"/>
                  <a:gd name="T56" fmla="*/ 58908 w 345"/>
                  <a:gd name="T57" fmla="*/ 39137 h 320"/>
                  <a:gd name="T58" fmla="*/ 58908 w 345"/>
                  <a:gd name="T59" fmla="*/ 35942 h 320"/>
                  <a:gd name="T60" fmla="*/ 62092 w 345"/>
                  <a:gd name="T61" fmla="*/ 28754 h 320"/>
                  <a:gd name="T62" fmla="*/ 65276 w 345"/>
                  <a:gd name="T63" fmla="*/ 28754 h 320"/>
                  <a:gd name="T64" fmla="*/ 69257 w 345"/>
                  <a:gd name="T65" fmla="*/ 19169 h 320"/>
                  <a:gd name="T66" fmla="*/ 58908 w 345"/>
                  <a:gd name="T67" fmla="*/ 12779 h 320"/>
                  <a:gd name="T68" fmla="*/ 54928 w 345"/>
                  <a:gd name="T69" fmla="*/ 12779 h 320"/>
                  <a:gd name="T70" fmla="*/ 51743 w 345"/>
                  <a:gd name="T71" fmla="*/ 12779 h 320"/>
                  <a:gd name="T72" fmla="*/ 51743 w 345"/>
                  <a:gd name="T73" fmla="*/ 9585 h 320"/>
                  <a:gd name="T74" fmla="*/ 48559 w 345"/>
                  <a:gd name="T75" fmla="*/ 9585 h 320"/>
                  <a:gd name="T76" fmla="*/ 48559 w 345"/>
                  <a:gd name="T77" fmla="*/ 6390 h 320"/>
                  <a:gd name="T78" fmla="*/ 41395 w 345"/>
                  <a:gd name="T79" fmla="*/ 3195 h 320"/>
                  <a:gd name="T80" fmla="*/ 41395 w 345"/>
                  <a:gd name="T81" fmla="*/ 0 h 320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45"/>
                  <a:gd name="T124" fmla="*/ 0 h 320"/>
                  <a:gd name="T125" fmla="*/ 345 w 345"/>
                  <a:gd name="T126" fmla="*/ 320 h 320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45" h="320">
                    <a:moveTo>
                      <a:pt x="207" y="0"/>
                    </a:moveTo>
                    <a:lnTo>
                      <a:pt x="207" y="0"/>
                    </a:lnTo>
                    <a:lnTo>
                      <a:pt x="172" y="15"/>
                    </a:lnTo>
                    <a:lnTo>
                      <a:pt x="172" y="48"/>
                    </a:lnTo>
                    <a:lnTo>
                      <a:pt x="138" y="63"/>
                    </a:lnTo>
                    <a:lnTo>
                      <a:pt x="120" y="80"/>
                    </a:lnTo>
                    <a:lnTo>
                      <a:pt x="103" y="80"/>
                    </a:lnTo>
                    <a:lnTo>
                      <a:pt x="86" y="63"/>
                    </a:lnTo>
                    <a:lnTo>
                      <a:pt x="69" y="63"/>
                    </a:lnTo>
                    <a:lnTo>
                      <a:pt x="86" y="96"/>
                    </a:lnTo>
                    <a:lnTo>
                      <a:pt x="51" y="111"/>
                    </a:lnTo>
                    <a:lnTo>
                      <a:pt x="51" y="96"/>
                    </a:lnTo>
                    <a:lnTo>
                      <a:pt x="0" y="111"/>
                    </a:lnTo>
                    <a:lnTo>
                      <a:pt x="0" y="128"/>
                    </a:lnTo>
                    <a:lnTo>
                      <a:pt x="69" y="144"/>
                    </a:lnTo>
                    <a:lnTo>
                      <a:pt x="103" y="192"/>
                    </a:lnTo>
                    <a:lnTo>
                      <a:pt x="103" y="207"/>
                    </a:lnTo>
                    <a:lnTo>
                      <a:pt x="86" y="288"/>
                    </a:lnTo>
                    <a:lnTo>
                      <a:pt x="120" y="303"/>
                    </a:lnTo>
                    <a:lnTo>
                      <a:pt x="207" y="320"/>
                    </a:lnTo>
                    <a:lnTo>
                      <a:pt x="207" y="303"/>
                    </a:lnTo>
                    <a:lnTo>
                      <a:pt x="241" y="288"/>
                    </a:lnTo>
                    <a:lnTo>
                      <a:pt x="293" y="303"/>
                    </a:lnTo>
                    <a:lnTo>
                      <a:pt x="311" y="303"/>
                    </a:lnTo>
                    <a:lnTo>
                      <a:pt x="328" y="272"/>
                    </a:lnTo>
                    <a:lnTo>
                      <a:pt x="311" y="240"/>
                    </a:lnTo>
                    <a:lnTo>
                      <a:pt x="311" y="207"/>
                    </a:lnTo>
                    <a:lnTo>
                      <a:pt x="311" y="176"/>
                    </a:lnTo>
                    <a:lnTo>
                      <a:pt x="293" y="192"/>
                    </a:lnTo>
                    <a:lnTo>
                      <a:pt x="293" y="176"/>
                    </a:lnTo>
                    <a:lnTo>
                      <a:pt x="311" y="144"/>
                    </a:lnTo>
                    <a:lnTo>
                      <a:pt x="328" y="144"/>
                    </a:lnTo>
                    <a:lnTo>
                      <a:pt x="345" y="96"/>
                    </a:lnTo>
                    <a:lnTo>
                      <a:pt x="293" y="63"/>
                    </a:lnTo>
                    <a:lnTo>
                      <a:pt x="276" y="63"/>
                    </a:lnTo>
                    <a:lnTo>
                      <a:pt x="259" y="63"/>
                    </a:lnTo>
                    <a:lnTo>
                      <a:pt x="259" y="48"/>
                    </a:lnTo>
                    <a:lnTo>
                      <a:pt x="241" y="48"/>
                    </a:lnTo>
                    <a:lnTo>
                      <a:pt x="241" y="32"/>
                    </a:lnTo>
                    <a:lnTo>
                      <a:pt x="207" y="15"/>
                    </a:lnTo>
                    <a:lnTo>
                      <a:pt x="207" y="0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r>
                  <a:rPr lang="en-US"/>
                  <a:t> </a:t>
                </a:r>
              </a:p>
            </p:txBody>
          </p:sp>
          <p:sp>
            <p:nvSpPr>
              <p:cNvPr id="307" name="Freeform 249">
                <a:extLst>
                  <a:ext uri="{FF2B5EF4-FFF2-40B4-BE49-F238E27FC236}">
                    <a16:creationId xmlns:a16="http://schemas.microsoft.com/office/drawing/2014/main" id="{C3904E79-0AA9-4E19-908E-D2A140523E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7068" y="2487372"/>
                <a:ext cx="72214" cy="97153"/>
              </a:xfrm>
              <a:custGeom>
                <a:avLst/>
                <a:gdLst>
                  <a:gd name="T0" fmla="*/ 3969 w 88"/>
                  <a:gd name="T1" fmla="*/ 23019 h 114"/>
                  <a:gd name="T2" fmla="*/ 3969 w 88"/>
                  <a:gd name="T3" fmla="*/ 23019 h 114"/>
                  <a:gd name="T4" fmla="*/ 7938 w 88"/>
                  <a:gd name="T5" fmla="*/ 23019 h 114"/>
                  <a:gd name="T6" fmla="*/ 10319 w 88"/>
                  <a:gd name="T7" fmla="*/ 23019 h 114"/>
                  <a:gd name="T8" fmla="*/ 14288 w 88"/>
                  <a:gd name="T9" fmla="*/ 13494 h 114"/>
                  <a:gd name="T10" fmla="*/ 17463 w 88"/>
                  <a:gd name="T11" fmla="*/ 13494 h 114"/>
                  <a:gd name="T12" fmla="*/ 17463 w 88"/>
                  <a:gd name="T13" fmla="*/ 9525 h 114"/>
                  <a:gd name="T14" fmla="*/ 14288 w 88"/>
                  <a:gd name="T15" fmla="*/ 9525 h 114"/>
                  <a:gd name="T16" fmla="*/ 14288 w 88"/>
                  <a:gd name="T17" fmla="*/ 0 h 114"/>
                  <a:gd name="T18" fmla="*/ 3969 w 88"/>
                  <a:gd name="T19" fmla="*/ 3969 h 114"/>
                  <a:gd name="T20" fmla="*/ 0 w 88"/>
                  <a:gd name="T21" fmla="*/ 9525 h 114"/>
                  <a:gd name="T22" fmla="*/ 0 w 88"/>
                  <a:gd name="T23" fmla="*/ 16669 h 114"/>
                  <a:gd name="T24" fmla="*/ 3969 w 88"/>
                  <a:gd name="T25" fmla="*/ 19050 h 114"/>
                  <a:gd name="T26" fmla="*/ 3969 w 88"/>
                  <a:gd name="T27" fmla="*/ 23019 h 11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88"/>
                  <a:gd name="T43" fmla="*/ 0 h 114"/>
                  <a:gd name="T44" fmla="*/ 88 w 88"/>
                  <a:gd name="T45" fmla="*/ 114 h 114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88" h="114">
                    <a:moveTo>
                      <a:pt x="19" y="114"/>
                    </a:moveTo>
                    <a:lnTo>
                      <a:pt x="19" y="114"/>
                    </a:lnTo>
                    <a:lnTo>
                      <a:pt x="37" y="114"/>
                    </a:lnTo>
                    <a:lnTo>
                      <a:pt x="54" y="114"/>
                    </a:lnTo>
                    <a:lnTo>
                      <a:pt x="71" y="66"/>
                    </a:lnTo>
                    <a:lnTo>
                      <a:pt x="88" y="66"/>
                    </a:lnTo>
                    <a:lnTo>
                      <a:pt x="88" y="48"/>
                    </a:lnTo>
                    <a:lnTo>
                      <a:pt x="71" y="48"/>
                    </a:lnTo>
                    <a:lnTo>
                      <a:pt x="71" y="0"/>
                    </a:lnTo>
                    <a:lnTo>
                      <a:pt x="19" y="18"/>
                    </a:lnTo>
                    <a:lnTo>
                      <a:pt x="0" y="48"/>
                    </a:lnTo>
                    <a:lnTo>
                      <a:pt x="0" y="81"/>
                    </a:lnTo>
                    <a:lnTo>
                      <a:pt x="19" y="96"/>
                    </a:lnTo>
                    <a:lnTo>
                      <a:pt x="19" y="11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8" name="Freeform 250">
                <a:extLst>
                  <a:ext uri="{FF2B5EF4-FFF2-40B4-BE49-F238E27FC236}">
                    <a16:creationId xmlns:a16="http://schemas.microsoft.com/office/drawing/2014/main" id="{CC0234EF-DD48-43CB-BDD3-828BF53777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8593" y="2637361"/>
                <a:ext cx="83705" cy="95448"/>
              </a:xfrm>
              <a:custGeom>
                <a:avLst/>
                <a:gdLst>
                  <a:gd name="T0" fmla="*/ 13234 w 104"/>
                  <a:gd name="T1" fmla="*/ 22425 h 111"/>
                  <a:gd name="T2" fmla="*/ 13234 w 104"/>
                  <a:gd name="T3" fmla="*/ 22425 h 111"/>
                  <a:gd name="T4" fmla="*/ 13234 w 104"/>
                  <a:gd name="T5" fmla="*/ 12814 h 111"/>
                  <a:gd name="T6" fmla="*/ 16348 w 104"/>
                  <a:gd name="T7" fmla="*/ 9611 h 111"/>
                  <a:gd name="T8" fmla="*/ 19462 w 104"/>
                  <a:gd name="T9" fmla="*/ 0 h 111"/>
                  <a:gd name="T10" fmla="*/ 10120 w 104"/>
                  <a:gd name="T11" fmla="*/ 3204 h 111"/>
                  <a:gd name="T12" fmla="*/ 13234 w 104"/>
                  <a:gd name="T13" fmla="*/ 9611 h 111"/>
                  <a:gd name="T14" fmla="*/ 10120 w 104"/>
                  <a:gd name="T15" fmla="*/ 9611 h 111"/>
                  <a:gd name="T16" fmla="*/ 10120 w 104"/>
                  <a:gd name="T17" fmla="*/ 6407 h 111"/>
                  <a:gd name="T18" fmla="*/ 6228 w 104"/>
                  <a:gd name="T19" fmla="*/ 6407 h 111"/>
                  <a:gd name="T20" fmla="*/ 0 w 104"/>
                  <a:gd name="T21" fmla="*/ 19222 h 111"/>
                  <a:gd name="T22" fmla="*/ 10120 w 104"/>
                  <a:gd name="T23" fmla="*/ 19222 h 111"/>
                  <a:gd name="T24" fmla="*/ 13234 w 104"/>
                  <a:gd name="T25" fmla="*/ 22425 h 11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04"/>
                  <a:gd name="T40" fmla="*/ 0 h 111"/>
                  <a:gd name="T41" fmla="*/ 104 w 104"/>
                  <a:gd name="T42" fmla="*/ 111 h 111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04" h="111">
                    <a:moveTo>
                      <a:pt x="69" y="111"/>
                    </a:moveTo>
                    <a:lnTo>
                      <a:pt x="69" y="111"/>
                    </a:lnTo>
                    <a:lnTo>
                      <a:pt x="69" y="63"/>
                    </a:lnTo>
                    <a:lnTo>
                      <a:pt x="87" y="48"/>
                    </a:lnTo>
                    <a:lnTo>
                      <a:pt x="104" y="0"/>
                    </a:lnTo>
                    <a:lnTo>
                      <a:pt x="52" y="15"/>
                    </a:lnTo>
                    <a:lnTo>
                      <a:pt x="69" y="48"/>
                    </a:lnTo>
                    <a:lnTo>
                      <a:pt x="52" y="48"/>
                    </a:lnTo>
                    <a:lnTo>
                      <a:pt x="52" y="32"/>
                    </a:lnTo>
                    <a:lnTo>
                      <a:pt x="35" y="32"/>
                    </a:lnTo>
                    <a:lnTo>
                      <a:pt x="0" y="96"/>
                    </a:lnTo>
                    <a:lnTo>
                      <a:pt x="52" y="96"/>
                    </a:lnTo>
                    <a:lnTo>
                      <a:pt x="69" y="111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9" name="Freeform 251">
                <a:extLst>
                  <a:ext uri="{FF2B5EF4-FFF2-40B4-BE49-F238E27FC236}">
                    <a16:creationId xmlns:a16="http://schemas.microsoft.com/office/drawing/2014/main" id="{3C81767D-D2BC-4D47-8F2B-0C4E22C959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2181" y="2719173"/>
                <a:ext cx="72214" cy="54542"/>
              </a:xfrm>
              <a:custGeom>
                <a:avLst/>
                <a:gdLst>
                  <a:gd name="T0" fmla="*/ 14288 w 88"/>
                  <a:gd name="T1" fmla="*/ 12902 h 63"/>
                  <a:gd name="T2" fmla="*/ 14288 w 88"/>
                  <a:gd name="T3" fmla="*/ 12902 h 63"/>
                  <a:gd name="T4" fmla="*/ 10319 w 88"/>
                  <a:gd name="T5" fmla="*/ 12902 h 63"/>
                  <a:gd name="T6" fmla="*/ 10319 w 88"/>
                  <a:gd name="T7" fmla="*/ 9676 h 63"/>
                  <a:gd name="T8" fmla="*/ 7144 w 88"/>
                  <a:gd name="T9" fmla="*/ 9676 h 63"/>
                  <a:gd name="T10" fmla="*/ 7144 w 88"/>
                  <a:gd name="T11" fmla="*/ 6451 h 63"/>
                  <a:gd name="T12" fmla="*/ 0 w 88"/>
                  <a:gd name="T13" fmla="*/ 3225 h 63"/>
                  <a:gd name="T14" fmla="*/ 0 w 88"/>
                  <a:gd name="T15" fmla="*/ 0 h 63"/>
                  <a:gd name="T16" fmla="*/ 3969 w 88"/>
                  <a:gd name="T17" fmla="*/ 0 h 63"/>
                  <a:gd name="T18" fmla="*/ 14288 w 88"/>
                  <a:gd name="T19" fmla="*/ 0 h 63"/>
                  <a:gd name="T20" fmla="*/ 17463 w 88"/>
                  <a:gd name="T21" fmla="*/ 3225 h 63"/>
                  <a:gd name="T22" fmla="*/ 17463 w 88"/>
                  <a:gd name="T23" fmla="*/ 9676 h 63"/>
                  <a:gd name="T24" fmla="*/ 14288 w 88"/>
                  <a:gd name="T25" fmla="*/ 9676 h 63"/>
                  <a:gd name="T26" fmla="*/ 14288 w 88"/>
                  <a:gd name="T27" fmla="*/ 12902 h 6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88"/>
                  <a:gd name="T43" fmla="*/ 0 h 63"/>
                  <a:gd name="T44" fmla="*/ 88 w 88"/>
                  <a:gd name="T45" fmla="*/ 63 h 63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88" h="63">
                    <a:moveTo>
                      <a:pt x="71" y="63"/>
                    </a:moveTo>
                    <a:lnTo>
                      <a:pt x="71" y="63"/>
                    </a:lnTo>
                    <a:lnTo>
                      <a:pt x="54" y="63"/>
                    </a:lnTo>
                    <a:lnTo>
                      <a:pt x="54" y="48"/>
                    </a:lnTo>
                    <a:lnTo>
                      <a:pt x="36" y="48"/>
                    </a:lnTo>
                    <a:lnTo>
                      <a:pt x="36" y="32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9" y="0"/>
                    </a:lnTo>
                    <a:lnTo>
                      <a:pt x="71" y="0"/>
                    </a:lnTo>
                    <a:lnTo>
                      <a:pt x="88" y="15"/>
                    </a:lnTo>
                    <a:lnTo>
                      <a:pt x="88" y="48"/>
                    </a:lnTo>
                    <a:lnTo>
                      <a:pt x="71" y="48"/>
                    </a:lnTo>
                    <a:lnTo>
                      <a:pt x="71" y="6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0" name="Freeform 252">
                <a:extLst>
                  <a:ext uri="{FF2B5EF4-FFF2-40B4-BE49-F238E27FC236}">
                    <a16:creationId xmlns:a16="http://schemas.microsoft.com/office/drawing/2014/main" id="{633729E8-6ADF-4427-A715-483284995C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4969" y="2789055"/>
                <a:ext cx="172332" cy="81812"/>
              </a:xfrm>
              <a:custGeom>
                <a:avLst/>
                <a:gdLst>
                  <a:gd name="T0" fmla="*/ 0 w 209"/>
                  <a:gd name="T1" fmla="*/ 12700 h 96"/>
                  <a:gd name="T2" fmla="*/ 0 w 209"/>
                  <a:gd name="T3" fmla="*/ 12700 h 96"/>
                  <a:gd name="T4" fmla="*/ 7178 w 209"/>
                  <a:gd name="T5" fmla="*/ 12700 h 96"/>
                  <a:gd name="T6" fmla="*/ 21534 w 209"/>
                  <a:gd name="T7" fmla="*/ 9525 h 96"/>
                  <a:gd name="T8" fmla="*/ 21534 w 209"/>
                  <a:gd name="T9" fmla="*/ 5556 h 96"/>
                  <a:gd name="T10" fmla="*/ 24724 w 209"/>
                  <a:gd name="T11" fmla="*/ 3175 h 96"/>
                  <a:gd name="T12" fmla="*/ 31902 w 209"/>
                  <a:gd name="T13" fmla="*/ 3175 h 96"/>
                  <a:gd name="T14" fmla="*/ 31902 w 209"/>
                  <a:gd name="T15" fmla="*/ 0 h 96"/>
                  <a:gd name="T16" fmla="*/ 42270 w 209"/>
                  <a:gd name="T17" fmla="*/ 3175 h 96"/>
                  <a:gd name="T18" fmla="*/ 42270 w 209"/>
                  <a:gd name="T19" fmla="*/ 9525 h 96"/>
                  <a:gd name="T20" fmla="*/ 38282 w 209"/>
                  <a:gd name="T21" fmla="*/ 15875 h 96"/>
                  <a:gd name="T22" fmla="*/ 24724 w 209"/>
                  <a:gd name="T23" fmla="*/ 19050 h 96"/>
                  <a:gd name="T24" fmla="*/ 17546 w 209"/>
                  <a:gd name="T25" fmla="*/ 15875 h 96"/>
                  <a:gd name="T26" fmla="*/ 7178 w 209"/>
                  <a:gd name="T27" fmla="*/ 15875 h 96"/>
                  <a:gd name="T28" fmla="*/ 3988 w 209"/>
                  <a:gd name="T29" fmla="*/ 15875 h 96"/>
                  <a:gd name="T30" fmla="*/ 0 w 209"/>
                  <a:gd name="T31" fmla="*/ 12700 h 9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09"/>
                  <a:gd name="T49" fmla="*/ 0 h 96"/>
                  <a:gd name="T50" fmla="*/ 209 w 209"/>
                  <a:gd name="T51" fmla="*/ 96 h 9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09" h="96">
                    <a:moveTo>
                      <a:pt x="0" y="64"/>
                    </a:moveTo>
                    <a:lnTo>
                      <a:pt x="0" y="64"/>
                    </a:lnTo>
                    <a:lnTo>
                      <a:pt x="34" y="64"/>
                    </a:lnTo>
                    <a:lnTo>
                      <a:pt x="105" y="48"/>
                    </a:lnTo>
                    <a:lnTo>
                      <a:pt x="105" y="31"/>
                    </a:lnTo>
                    <a:lnTo>
                      <a:pt x="123" y="16"/>
                    </a:lnTo>
                    <a:lnTo>
                      <a:pt x="157" y="16"/>
                    </a:lnTo>
                    <a:lnTo>
                      <a:pt x="157" y="0"/>
                    </a:lnTo>
                    <a:lnTo>
                      <a:pt x="209" y="16"/>
                    </a:lnTo>
                    <a:lnTo>
                      <a:pt x="209" y="48"/>
                    </a:lnTo>
                    <a:lnTo>
                      <a:pt x="192" y="79"/>
                    </a:lnTo>
                    <a:lnTo>
                      <a:pt x="123" y="96"/>
                    </a:lnTo>
                    <a:lnTo>
                      <a:pt x="88" y="79"/>
                    </a:lnTo>
                    <a:lnTo>
                      <a:pt x="34" y="79"/>
                    </a:lnTo>
                    <a:lnTo>
                      <a:pt x="17" y="79"/>
                    </a:lnTo>
                    <a:lnTo>
                      <a:pt x="0" y="64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1" name="Freeform 253">
                <a:extLst>
                  <a:ext uri="{FF2B5EF4-FFF2-40B4-BE49-F238E27FC236}">
                    <a16:creationId xmlns:a16="http://schemas.microsoft.com/office/drawing/2014/main" id="{CC2935D1-4660-4D39-87BB-59019D873B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84395" y="2841892"/>
                <a:ext cx="101758" cy="54542"/>
              </a:xfrm>
              <a:custGeom>
                <a:avLst/>
                <a:gdLst>
                  <a:gd name="T0" fmla="*/ 7202 w 123"/>
                  <a:gd name="T1" fmla="*/ 12902 h 63"/>
                  <a:gd name="T2" fmla="*/ 7202 w 123"/>
                  <a:gd name="T3" fmla="*/ 12902 h 63"/>
                  <a:gd name="T4" fmla="*/ 14404 w 123"/>
                  <a:gd name="T5" fmla="*/ 9676 h 63"/>
                  <a:gd name="T6" fmla="*/ 18405 w 123"/>
                  <a:gd name="T7" fmla="*/ 9676 h 63"/>
                  <a:gd name="T8" fmla="*/ 18405 w 123"/>
                  <a:gd name="T9" fmla="*/ 6451 h 63"/>
                  <a:gd name="T10" fmla="*/ 21605 w 123"/>
                  <a:gd name="T11" fmla="*/ 9676 h 63"/>
                  <a:gd name="T12" fmla="*/ 24806 w 123"/>
                  <a:gd name="T13" fmla="*/ 3225 h 63"/>
                  <a:gd name="T14" fmla="*/ 21605 w 123"/>
                  <a:gd name="T15" fmla="*/ 3225 h 63"/>
                  <a:gd name="T16" fmla="*/ 18405 w 123"/>
                  <a:gd name="T17" fmla="*/ 0 h 63"/>
                  <a:gd name="T18" fmla="*/ 7202 w 123"/>
                  <a:gd name="T19" fmla="*/ 0 h 63"/>
                  <a:gd name="T20" fmla="*/ 4001 w 123"/>
                  <a:gd name="T21" fmla="*/ 0 h 63"/>
                  <a:gd name="T22" fmla="*/ 0 w 123"/>
                  <a:gd name="T23" fmla="*/ 6451 h 63"/>
                  <a:gd name="T24" fmla="*/ 0 w 123"/>
                  <a:gd name="T25" fmla="*/ 9676 h 63"/>
                  <a:gd name="T26" fmla="*/ 4001 w 123"/>
                  <a:gd name="T27" fmla="*/ 6451 h 63"/>
                  <a:gd name="T28" fmla="*/ 4001 w 123"/>
                  <a:gd name="T29" fmla="*/ 12902 h 63"/>
                  <a:gd name="T30" fmla="*/ 7202 w 123"/>
                  <a:gd name="T31" fmla="*/ 12902 h 6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23"/>
                  <a:gd name="T49" fmla="*/ 0 h 63"/>
                  <a:gd name="T50" fmla="*/ 123 w 123"/>
                  <a:gd name="T51" fmla="*/ 63 h 63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23" h="63">
                    <a:moveTo>
                      <a:pt x="35" y="63"/>
                    </a:moveTo>
                    <a:lnTo>
                      <a:pt x="35" y="63"/>
                    </a:lnTo>
                    <a:lnTo>
                      <a:pt x="71" y="48"/>
                    </a:lnTo>
                    <a:lnTo>
                      <a:pt x="89" y="48"/>
                    </a:lnTo>
                    <a:lnTo>
                      <a:pt x="89" y="32"/>
                    </a:lnTo>
                    <a:lnTo>
                      <a:pt x="106" y="48"/>
                    </a:lnTo>
                    <a:lnTo>
                      <a:pt x="123" y="15"/>
                    </a:lnTo>
                    <a:lnTo>
                      <a:pt x="106" y="15"/>
                    </a:lnTo>
                    <a:lnTo>
                      <a:pt x="89" y="0"/>
                    </a:lnTo>
                    <a:lnTo>
                      <a:pt x="35" y="0"/>
                    </a:lnTo>
                    <a:lnTo>
                      <a:pt x="18" y="0"/>
                    </a:lnTo>
                    <a:lnTo>
                      <a:pt x="0" y="32"/>
                    </a:lnTo>
                    <a:lnTo>
                      <a:pt x="0" y="48"/>
                    </a:lnTo>
                    <a:lnTo>
                      <a:pt x="18" y="32"/>
                    </a:lnTo>
                    <a:lnTo>
                      <a:pt x="18" y="63"/>
                    </a:lnTo>
                    <a:lnTo>
                      <a:pt x="35" y="6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2" name="Freeform 254">
                <a:extLst>
                  <a:ext uri="{FF2B5EF4-FFF2-40B4-BE49-F238E27FC236}">
                    <a16:creationId xmlns:a16="http://schemas.microsoft.com/office/drawing/2014/main" id="{CB31C071-8651-4021-BAC9-AE9FB8B53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7332" y="2446465"/>
                <a:ext cx="26260" cy="40907"/>
              </a:xfrm>
              <a:custGeom>
                <a:avLst/>
                <a:gdLst>
                  <a:gd name="T0" fmla="*/ 0 w 33"/>
                  <a:gd name="T1" fmla="*/ 9525 h 48"/>
                  <a:gd name="T2" fmla="*/ 3079 w 33"/>
                  <a:gd name="T3" fmla="*/ 3969 h 48"/>
                  <a:gd name="T4" fmla="*/ 6158 w 33"/>
                  <a:gd name="T5" fmla="*/ 0 h 48"/>
                  <a:gd name="T6" fmla="*/ 0 w 33"/>
                  <a:gd name="T7" fmla="*/ 3969 h 48"/>
                  <a:gd name="T8" fmla="*/ 0 w 33"/>
                  <a:gd name="T9" fmla="*/ 9525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3"/>
                  <a:gd name="T16" fmla="*/ 0 h 48"/>
                  <a:gd name="T17" fmla="*/ 33 w 33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3" h="48">
                    <a:moveTo>
                      <a:pt x="0" y="48"/>
                    </a:moveTo>
                    <a:lnTo>
                      <a:pt x="18" y="18"/>
                    </a:lnTo>
                    <a:lnTo>
                      <a:pt x="33" y="0"/>
                    </a:lnTo>
                    <a:lnTo>
                      <a:pt x="0" y="18"/>
                    </a:lnTo>
                    <a:lnTo>
                      <a:pt x="0" y="48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3" name="Freeform 255">
                <a:extLst>
                  <a:ext uri="{FF2B5EF4-FFF2-40B4-BE49-F238E27FC236}">
                    <a16:creationId xmlns:a16="http://schemas.microsoft.com/office/drawing/2014/main" id="{C64A4A4E-5BA0-44C2-BE67-BF56ADEAC9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3706" y="2364654"/>
                <a:ext cx="14772" cy="15340"/>
              </a:xfrm>
              <a:custGeom>
                <a:avLst/>
                <a:gdLst>
                  <a:gd name="T0" fmla="*/ 0 w 17"/>
                  <a:gd name="T1" fmla="*/ 3969 h 18"/>
                  <a:gd name="T2" fmla="*/ 0 w 17"/>
                  <a:gd name="T3" fmla="*/ 3969 h 18"/>
                  <a:gd name="T4" fmla="*/ 4202 w 17"/>
                  <a:gd name="T5" fmla="*/ 0 h 18"/>
                  <a:gd name="T6" fmla="*/ 4202 w 17"/>
                  <a:gd name="T7" fmla="*/ 3969 h 18"/>
                  <a:gd name="T8" fmla="*/ 0 w 17"/>
                  <a:gd name="T9" fmla="*/ 3969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"/>
                  <a:gd name="T16" fmla="*/ 0 h 18"/>
                  <a:gd name="T17" fmla="*/ 17 w 17"/>
                  <a:gd name="T18" fmla="*/ 18 h 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" h="18">
                    <a:moveTo>
                      <a:pt x="0" y="18"/>
                    </a:moveTo>
                    <a:lnTo>
                      <a:pt x="0" y="18"/>
                    </a:lnTo>
                    <a:lnTo>
                      <a:pt x="17" y="0"/>
                    </a:lnTo>
                    <a:lnTo>
                      <a:pt x="17" y="18"/>
                    </a:lnTo>
                    <a:lnTo>
                      <a:pt x="0" y="18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4" name="Line 256">
                <a:extLst>
                  <a:ext uri="{FF2B5EF4-FFF2-40B4-BE49-F238E27FC236}">
                    <a16:creationId xmlns:a16="http://schemas.microsoft.com/office/drawing/2014/main" id="{F41DAD38-76AC-45A7-8016-1210A058D23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77599" y="2439648"/>
                <a:ext cx="14772" cy="13636"/>
              </a:xfrm>
              <a:prstGeom prst="line">
                <a:avLst/>
              </a:pr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5" name="Freeform 257">
                <a:extLst>
                  <a:ext uri="{FF2B5EF4-FFF2-40B4-BE49-F238E27FC236}">
                    <a16:creationId xmlns:a16="http://schemas.microsoft.com/office/drawing/2014/main" id="{1A2F47A2-D358-436C-AC88-23F57ADFFF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84395" y="2584524"/>
                <a:ext cx="200231" cy="257369"/>
              </a:xfrm>
              <a:custGeom>
                <a:avLst/>
                <a:gdLst>
                  <a:gd name="T0" fmla="*/ 27781 w 244"/>
                  <a:gd name="T1" fmla="*/ 8702 h 303"/>
                  <a:gd name="T2" fmla="*/ 27781 w 244"/>
                  <a:gd name="T3" fmla="*/ 8702 h 303"/>
                  <a:gd name="T4" fmla="*/ 42069 w 244"/>
                  <a:gd name="T5" fmla="*/ 2373 h 303"/>
                  <a:gd name="T6" fmla="*/ 42069 w 244"/>
                  <a:gd name="T7" fmla="*/ 5538 h 303"/>
                  <a:gd name="T8" fmla="*/ 38100 w 244"/>
                  <a:gd name="T9" fmla="*/ 5538 h 303"/>
                  <a:gd name="T10" fmla="*/ 45244 w 244"/>
                  <a:gd name="T11" fmla="*/ 8702 h 303"/>
                  <a:gd name="T12" fmla="*/ 48419 w 244"/>
                  <a:gd name="T13" fmla="*/ 34019 h 303"/>
                  <a:gd name="T14" fmla="*/ 45244 w 244"/>
                  <a:gd name="T15" fmla="*/ 30854 h 303"/>
                  <a:gd name="T16" fmla="*/ 38100 w 244"/>
                  <a:gd name="T17" fmla="*/ 34019 h 303"/>
                  <a:gd name="T18" fmla="*/ 31750 w 244"/>
                  <a:gd name="T19" fmla="*/ 37183 h 303"/>
                  <a:gd name="T20" fmla="*/ 34925 w 244"/>
                  <a:gd name="T21" fmla="*/ 43512 h 303"/>
                  <a:gd name="T22" fmla="*/ 42069 w 244"/>
                  <a:gd name="T23" fmla="*/ 49841 h 303"/>
                  <a:gd name="T24" fmla="*/ 38100 w 244"/>
                  <a:gd name="T25" fmla="*/ 53006 h 303"/>
                  <a:gd name="T26" fmla="*/ 38100 w 244"/>
                  <a:gd name="T27" fmla="*/ 56170 h 303"/>
                  <a:gd name="T28" fmla="*/ 24606 w 244"/>
                  <a:gd name="T29" fmla="*/ 59335 h 303"/>
                  <a:gd name="T30" fmla="*/ 18256 w 244"/>
                  <a:gd name="T31" fmla="*/ 59335 h 303"/>
                  <a:gd name="T32" fmla="*/ 7144 w 244"/>
                  <a:gd name="T33" fmla="*/ 59335 h 303"/>
                  <a:gd name="T34" fmla="*/ 11113 w 244"/>
                  <a:gd name="T35" fmla="*/ 49841 h 303"/>
                  <a:gd name="T36" fmla="*/ 0 w 244"/>
                  <a:gd name="T37" fmla="*/ 43512 h 303"/>
                  <a:gd name="T38" fmla="*/ 0 w 244"/>
                  <a:gd name="T39" fmla="*/ 40348 h 303"/>
                  <a:gd name="T40" fmla="*/ 0 w 244"/>
                  <a:gd name="T41" fmla="*/ 34019 h 303"/>
                  <a:gd name="T42" fmla="*/ 0 w 244"/>
                  <a:gd name="T43" fmla="*/ 24525 h 303"/>
                  <a:gd name="T44" fmla="*/ 3969 w 244"/>
                  <a:gd name="T45" fmla="*/ 21361 h 303"/>
                  <a:gd name="T46" fmla="*/ 7144 w 244"/>
                  <a:gd name="T47" fmla="*/ 11867 h 303"/>
                  <a:gd name="T48" fmla="*/ 14288 w 244"/>
                  <a:gd name="T49" fmla="*/ 11867 h 303"/>
                  <a:gd name="T50" fmla="*/ 18256 w 244"/>
                  <a:gd name="T51" fmla="*/ 5538 h 303"/>
                  <a:gd name="T52" fmla="*/ 14288 w 244"/>
                  <a:gd name="T53" fmla="*/ 5538 h 303"/>
                  <a:gd name="T54" fmla="*/ 18256 w 244"/>
                  <a:gd name="T55" fmla="*/ 2373 h 303"/>
                  <a:gd name="T56" fmla="*/ 14288 w 244"/>
                  <a:gd name="T57" fmla="*/ 0 h 303"/>
                  <a:gd name="T58" fmla="*/ 18256 w 244"/>
                  <a:gd name="T59" fmla="*/ 0 h 303"/>
                  <a:gd name="T60" fmla="*/ 21431 w 244"/>
                  <a:gd name="T61" fmla="*/ 0 h 303"/>
                  <a:gd name="T62" fmla="*/ 21431 w 244"/>
                  <a:gd name="T63" fmla="*/ 2373 h 303"/>
                  <a:gd name="T64" fmla="*/ 27781 w 244"/>
                  <a:gd name="T65" fmla="*/ 5538 h 303"/>
                  <a:gd name="T66" fmla="*/ 24606 w 244"/>
                  <a:gd name="T67" fmla="*/ 8702 h 303"/>
                  <a:gd name="T68" fmla="*/ 27781 w 244"/>
                  <a:gd name="T69" fmla="*/ 8702 h 303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244"/>
                  <a:gd name="T106" fmla="*/ 0 h 303"/>
                  <a:gd name="T107" fmla="*/ 244 w 244"/>
                  <a:gd name="T108" fmla="*/ 303 h 303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244" h="303">
                    <a:moveTo>
                      <a:pt x="140" y="47"/>
                    </a:moveTo>
                    <a:lnTo>
                      <a:pt x="140" y="47"/>
                    </a:lnTo>
                    <a:lnTo>
                      <a:pt x="210" y="15"/>
                    </a:lnTo>
                    <a:lnTo>
                      <a:pt x="210" y="30"/>
                    </a:lnTo>
                    <a:lnTo>
                      <a:pt x="192" y="30"/>
                    </a:lnTo>
                    <a:lnTo>
                      <a:pt x="227" y="47"/>
                    </a:lnTo>
                    <a:lnTo>
                      <a:pt x="244" y="174"/>
                    </a:lnTo>
                    <a:lnTo>
                      <a:pt x="227" y="159"/>
                    </a:lnTo>
                    <a:lnTo>
                      <a:pt x="192" y="174"/>
                    </a:lnTo>
                    <a:lnTo>
                      <a:pt x="158" y="191"/>
                    </a:lnTo>
                    <a:lnTo>
                      <a:pt x="175" y="222"/>
                    </a:lnTo>
                    <a:lnTo>
                      <a:pt x="210" y="255"/>
                    </a:lnTo>
                    <a:lnTo>
                      <a:pt x="192" y="270"/>
                    </a:lnTo>
                    <a:lnTo>
                      <a:pt x="192" y="287"/>
                    </a:lnTo>
                    <a:lnTo>
                      <a:pt x="123" y="303"/>
                    </a:lnTo>
                    <a:lnTo>
                      <a:pt x="89" y="303"/>
                    </a:lnTo>
                    <a:lnTo>
                      <a:pt x="35" y="303"/>
                    </a:lnTo>
                    <a:lnTo>
                      <a:pt x="54" y="255"/>
                    </a:lnTo>
                    <a:lnTo>
                      <a:pt x="0" y="222"/>
                    </a:lnTo>
                    <a:lnTo>
                      <a:pt x="0" y="207"/>
                    </a:lnTo>
                    <a:lnTo>
                      <a:pt x="0" y="174"/>
                    </a:lnTo>
                    <a:lnTo>
                      <a:pt x="0" y="126"/>
                    </a:lnTo>
                    <a:lnTo>
                      <a:pt x="18" y="111"/>
                    </a:lnTo>
                    <a:lnTo>
                      <a:pt x="35" y="63"/>
                    </a:lnTo>
                    <a:lnTo>
                      <a:pt x="71" y="63"/>
                    </a:lnTo>
                    <a:lnTo>
                      <a:pt x="89" y="30"/>
                    </a:lnTo>
                    <a:lnTo>
                      <a:pt x="71" y="30"/>
                    </a:lnTo>
                    <a:lnTo>
                      <a:pt x="89" y="15"/>
                    </a:lnTo>
                    <a:lnTo>
                      <a:pt x="71" y="0"/>
                    </a:lnTo>
                    <a:lnTo>
                      <a:pt x="89" y="0"/>
                    </a:lnTo>
                    <a:lnTo>
                      <a:pt x="106" y="0"/>
                    </a:lnTo>
                    <a:lnTo>
                      <a:pt x="106" y="15"/>
                    </a:lnTo>
                    <a:lnTo>
                      <a:pt x="140" y="30"/>
                    </a:lnTo>
                    <a:lnTo>
                      <a:pt x="123" y="47"/>
                    </a:lnTo>
                    <a:lnTo>
                      <a:pt x="140" y="4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6" name="Freeform 258">
                <a:extLst>
                  <a:ext uri="{FF2B5EF4-FFF2-40B4-BE49-F238E27FC236}">
                    <a16:creationId xmlns:a16="http://schemas.microsoft.com/office/drawing/2014/main" id="{BFF6F1BD-6F96-4F3A-85EC-C895CF64E4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99168" y="2855527"/>
                <a:ext cx="270806" cy="260777"/>
              </a:xfrm>
              <a:custGeom>
                <a:avLst/>
                <a:gdLst>
                  <a:gd name="T0" fmla="*/ 3969 w 330"/>
                  <a:gd name="T1" fmla="*/ 23094 h 305"/>
                  <a:gd name="T2" fmla="*/ 3969 w 330"/>
                  <a:gd name="T3" fmla="*/ 23094 h 305"/>
                  <a:gd name="T4" fmla="*/ 9525 w 330"/>
                  <a:gd name="T5" fmla="*/ 19112 h 305"/>
                  <a:gd name="T6" fmla="*/ 16669 w 330"/>
                  <a:gd name="T7" fmla="*/ 23094 h 305"/>
                  <a:gd name="T8" fmla="*/ 23813 w 330"/>
                  <a:gd name="T9" fmla="*/ 32651 h 305"/>
                  <a:gd name="T10" fmla="*/ 27781 w 330"/>
                  <a:gd name="T11" fmla="*/ 32651 h 305"/>
                  <a:gd name="T12" fmla="*/ 30956 w 330"/>
                  <a:gd name="T13" fmla="*/ 38225 h 305"/>
                  <a:gd name="T14" fmla="*/ 38100 w 330"/>
                  <a:gd name="T15" fmla="*/ 42207 h 305"/>
                  <a:gd name="T16" fmla="*/ 44450 w 330"/>
                  <a:gd name="T17" fmla="*/ 47781 h 305"/>
                  <a:gd name="T18" fmla="*/ 47625 w 330"/>
                  <a:gd name="T19" fmla="*/ 47781 h 305"/>
                  <a:gd name="T20" fmla="*/ 52388 w 330"/>
                  <a:gd name="T21" fmla="*/ 57337 h 305"/>
                  <a:gd name="T22" fmla="*/ 47625 w 330"/>
                  <a:gd name="T23" fmla="*/ 61319 h 305"/>
                  <a:gd name="T24" fmla="*/ 52388 w 330"/>
                  <a:gd name="T25" fmla="*/ 61319 h 305"/>
                  <a:gd name="T26" fmla="*/ 55563 w 330"/>
                  <a:gd name="T27" fmla="*/ 57337 h 305"/>
                  <a:gd name="T28" fmla="*/ 55563 w 330"/>
                  <a:gd name="T29" fmla="*/ 54948 h 305"/>
                  <a:gd name="T30" fmla="*/ 55563 w 330"/>
                  <a:gd name="T31" fmla="*/ 51763 h 305"/>
                  <a:gd name="T32" fmla="*/ 55563 w 330"/>
                  <a:gd name="T33" fmla="*/ 45392 h 305"/>
                  <a:gd name="T34" fmla="*/ 61913 w 330"/>
                  <a:gd name="T35" fmla="*/ 51763 h 305"/>
                  <a:gd name="T36" fmla="*/ 65881 w 330"/>
                  <a:gd name="T37" fmla="*/ 47781 h 305"/>
                  <a:gd name="T38" fmla="*/ 47625 w 330"/>
                  <a:gd name="T39" fmla="*/ 38225 h 305"/>
                  <a:gd name="T40" fmla="*/ 52388 w 330"/>
                  <a:gd name="T41" fmla="*/ 35836 h 305"/>
                  <a:gd name="T42" fmla="*/ 47625 w 330"/>
                  <a:gd name="T43" fmla="*/ 35836 h 305"/>
                  <a:gd name="T44" fmla="*/ 41275 w 330"/>
                  <a:gd name="T45" fmla="*/ 32651 h 305"/>
                  <a:gd name="T46" fmla="*/ 38100 w 330"/>
                  <a:gd name="T47" fmla="*/ 26280 h 305"/>
                  <a:gd name="T48" fmla="*/ 30956 w 330"/>
                  <a:gd name="T49" fmla="*/ 19112 h 305"/>
                  <a:gd name="T50" fmla="*/ 30956 w 330"/>
                  <a:gd name="T51" fmla="*/ 9556 h 305"/>
                  <a:gd name="T52" fmla="*/ 34131 w 330"/>
                  <a:gd name="T53" fmla="*/ 9556 h 305"/>
                  <a:gd name="T54" fmla="*/ 38100 w 330"/>
                  <a:gd name="T55" fmla="*/ 9556 h 305"/>
                  <a:gd name="T56" fmla="*/ 38100 w 330"/>
                  <a:gd name="T57" fmla="*/ 7167 h 305"/>
                  <a:gd name="T58" fmla="*/ 38100 w 330"/>
                  <a:gd name="T59" fmla="*/ 3982 h 305"/>
                  <a:gd name="T60" fmla="*/ 30956 w 330"/>
                  <a:gd name="T61" fmla="*/ 0 h 305"/>
                  <a:gd name="T62" fmla="*/ 19844 w 330"/>
                  <a:gd name="T63" fmla="*/ 0 h 305"/>
                  <a:gd name="T64" fmla="*/ 16669 w 330"/>
                  <a:gd name="T65" fmla="*/ 7167 h 305"/>
                  <a:gd name="T66" fmla="*/ 14288 w 330"/>
                  <a:gd name="T67" fmla="*/ 3982 h 305"/>
                  <a:gd name="T68" fmla="*/ 14288 w 330"/>
                  <a:gd name="T69" fmla="*/ 7167 h 305"/>
                  <a:gd name="T70" fmla="*/ 9525 w 330"/>
                  <a:gd name="T71" fmla="*/ 7167 h 305"/>
                  <a:gd name="T72" fmla="*/ 3969 w 330"/>
                  <a:gd name="T73" fmla="*/ 9556 h 305"/>
                  <a:gd name="T74" fmla="*/ 0 w 330"/>
                  <a:gd name="T75" fmla="*/ 9556 h 305"/>
                  <a:gd name="T76" fmla="*/ 0 w 330"/>
                  <a:gd name="T77" fmla="*/ 16723 h 305"/>
                  <a:gd name="T78" fmla="*/ 3969 w 330"/>
                  <a:gd name="T79" fmla="*/ 23094 h 305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330"/>
                  <a:gd name="T121" fmla="*/ 0 h 305"/>
                  <a:gd name="T122" fmla="*/ 330 w 330"/>
                  <a:gd name="T123" fmla="*/ 305 h 305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330" h="305">
                    <a:moveTo>
                      <a:pt x="17" y="113"/>
                    </a:moveTo>
                    <a:lnTo>
                      <a:pt x="17" y="113"/>
                    </a:lnTo>
                    <a:lnTo>
                      <a:pt x="51" y="96"/>
                    </a:lnTo>
                    <a:lnTo>
                      <a:pt x="86" y="113"/>
                    </a:lnTo>
                    <a:lnTo>
                      <a:pt x="120" y="161"/>
                    </a:lnTo>
                    <a:lnTo>
                      <a:pt x="138" y="161"/>
                    </a:lnTo>
                    <a:lnTo>
                      <a:pt x="155" y="192"/>
                    </a:lnTo>
                    <a:lnTo>
                      <a:pt x="192" y="209"/>
                    </a:lnTo>
                    <a:lnTo>
                      <a:pt x="226" y="240"/>
                    </a:lnTo>
                    <a:lnTo>
                      <a:pt x="243" y="240"/>
                    </a:lnTo>
                    <a:lnTo>
                      <a:pt x="261" y="288"/>
                    </a:lnTo>
                    <a:lnTo>
                      <a:pt x="243" y="305"/>
                    </a:lnTo>
                    <a:lnTo>
                      <a:pt x="261" y="305"/>
                    </a:lnTo>
                    <a:lnTo>
                      <a:pt x="278" y="288"/>
                    </a:lnTo>
                    <a:lnTo>
                      <a:pt x="278" y="273"/>
                    </a:lnTo>
                    <a:lnTo>
                      <a:pt x="278" y="257"/>
                    </a:lnTo>
                    <a:lnTo>
                      <a:pt x="278" y="225"/>
                    </a:lnTo>
                    <a:lnTo>
                      <a:pt x="312" y="257"/>
                    </a:lnTo>
                    <a:lnTo>
                      <a:pt x="330" y="240"/>
                    </a:lnTo>
                    <a:lnTo>
                      <a:pt x="243" y="192"/>
                    </a:lnTo>
                    <a:lnTo>
                      <a:pt x="261" y="177"/>
                    </a:lnTo>
                    <a:lnTo>
                      <a:pt x="243" y="177"/>
                    </a:lnTo>
                    <a:lnTo>
                      <a:pt x="209" y="161"/>
                    </a:lnTo>
                    <a:lnTo>
                      <a:pt x="192" y="129"/>
                    </a:lnTo>
                    <a:lnTo>
                      <a:pt x="155" y="96"/>
                    </a:lnTo>
                    <a:lnTo>
                      <a:pt x="155" y="48"/>
                    </a:lnTo>
                    <a:lnTo>
                      <a:pt x="174" y="48"/>
                    </a:lnTo>
                    <a:lnTo>
                      <a:pt x="192" y="48"/>
                    </a:lnTo>
                    <a:lnTo>
                      <a:pt x="192" y="33"/>
                    </a:lnTo>
                    <a:lnTo>
                      <a:pt x="192" y="17"/>
                    </a:lnTo>
                    <a:lnTo>
                      <a:pt x="155" y="0"/>
                    </a:lnTo>
                    <a:lnTo>
                      <a:pt x="103" y="0"/>
                    </a:lnTo>
                    <a:lnTo>
                      <a:pt x="86" y="33"/>
                    </a:lnTo>
                    <a:lnTo>
                      <a:pt x="69" y="17"/>
                    </a:lnTo>
                    <a:lnTo>
                      <a:pt x="69" y="33"/>
                    </a:lnTo>
                    <a:lnTo>
                      <a:pt x="51" y="33"/>
                    </a:lnTo>
                    <a:lnTo>
                      <a:pt x="17" y="48"/>
                    </a:lnTo>
                    <a:lnTo>
                      <a:pt x="0" y="48"/>
                    </a:lnTo>
                    <a:lnTo>
                      <a:pt x="0" y="81"/>
                    </a:lnTo>
                    <a:lnTo>
                      <a:pt x="17" y="11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7" name="Freeform 259">
                <a:extLst>
                  <a:ext uri="{FF2B5EF4-FFF2-40B4-BE49-F238E27FC236}">
                    <a16:creationId xmlns:a16="http://schemas.microsoft.com/office/drawing/2014/main" id="{A9731F1B-C8C7-4D2B-996F-2FC1F38464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9625" y="2760079"/>
                <a:ext cx="14772" cy="13636"/>
              </a:xfrm>
              <a:custGeom>
                <a:avLst/>
                <a:gdLst>
                  <a:gd name="T0" fmla="*/ 0 w 17"/>
                  <a:gd name="T1" fmla="*/ 3387 h 15"/>
                  <a:gd name="T2" fmla="*/ 0 w 17"/>
                  <a:gd name="T3" fmla="*/ 3387 h 15"/>
                  <a:gd name="T4" fmla="*/ 0 w 17"/>
                  <a:gd name="T5" fmla="*/ 0 h 15"/>
                  <a:gd name="T6" fmla="*/ 4202 w 17"/>
                  <a:gd name="T7" fmla="*/ 0 h 15"/>
                  <a:gd name="T8" fmla="*/ 4202 w 17"/>
                  <a:gd name="T9" fmla="*/ 3387 h 15"/>
                  <a:gd name="T10" fmla="*/ 0 w 17"/>
                  <a:gd name="T11" fmla="*/ 3387 h 1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7"/>
                  <a:gd name="T19" fmla="*/ 0 h 15"/>
                  <a:gd name="T20" fmla="*/ 17 w 17"/>
                  <a:gd name="T21" fmla="*/ 15 h 1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7" h="15">
                    <a:moveTo>
                      <a:pt x="0" y="15"/>
                    </a:moveTo>
                    <a:lnTo>
                      <a:pt x="0" y="15"/>
                    </a:lnTo>
                    <a:lnTo>
                      <a:pt x="0" y="0"/>
                    </a:lnTo>
                    <a:lnTo>
                      <a:pt x="17" y="0"/>
                    </a:lnTo>
                    <a:lnTo>
                      <a:pt x="17" y="15"/>
                    </a:lnTo>
                    <a:lnTo>
                      <a:pt x="0" y="15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8" name="Freeform 260">
                <a:extLst>
                  <a:ext uri="{FF2B5EF4-FFF2-40B4-BE49-F238E27FC236}">
                    <a16:creationId xmlns:a16="http://schemas.microsoft.com/office/drawing/2014/main" id="{206FECA1-2678-48B6-A31D-A448B27931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8366" y="2855527"/>
                <a:ext cx="55803" cy="40907"/>
              </a:xfrm>
              <a:custGeom>
                <a:avLst/>
                <a:gdLst>
                  <a:gd name="T0" fmla="*/ 13108 w 70"/>
                  <a:gd name="T1" fmla="*/ 3969 h 48"/>
                  <a:gd name="T2" fmla="*/ 13108 w 70"/>
                  <a:gd name="T3" fmla="*/ 3969 h 48"/>
                  <a:gd name="T4" fmla="*/ 9253 w 70"/>
                  <a:gd name="T5" fmla="*/ 3969 h 48"/>
                  <a:gd name="T6" fmla="*/ 6169 w 70"/>
                  <a:gd name="T7" fmla="*/ 9525 h 48"/>
                  <a:gd name="T8" fmla="*/ 3084 w 70"/>
                  <a:gd name="T9" fmla="*/ 9525 h 48"/>
                  <a:gd name="T10" fmla="*/ 0 w 70"/>
                  <a:gd name="T11" fmla="*/ 9525 h 48"/>
                  <a:gd name="T12" fmla="*/ 0 w 70"/>
                  <a:gd name="T13" fmla="*/ 7144 h 48"/>
                  <a:gd name="T14" fmla="*/ 0 w 70"/>
                  <a:gd name="T15" fmla="*/ 3969 h 48"/>
                  <a:gd name="T16" fmla="*/ 13108 w 70"/>
                  <a:gd name="T17" fmla="*/ 0 h 48"/>
                  <a:gd name="T18" fmla="*/ 13108 w 70"/>
                  <a:gd name="T19" fmla="*/ 3969 h 4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70"/>
                  <a:gd name="T31" fmla="*/ 0 h 48"/>
                  <a:gd name="T32" fmla="*/ 70 w 70"/>
                  <a:gd name="T33" fmla="*/ 48 h 4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70" h="48">
                    <a:moveTo>
                      <a:pt x="70" y="17"/>
                    </a:moveTo>
                    <a:lnTo>
                      <a:pt x="70" y="17"/>
                    </a:lnTo>
                    <a:lnTo>
                      <a:pt x="52" y="17"/>
                    </a:lnTo>
                    <a:lnTo>
                      <a:pt x="35" y="48"/>
                    </a:lnTo>
                    <a:lnTo>
                      <a:pt x="18" y="48"/>
                    </a:lnTo>
                    <a:lnTo>
                      <a:pt x="0" y="48"/>
                    </a:lnTo>
                    <a:lnTo>
                      <a:pt x="0" y="33"/>
                    </a:lnTo>
                    <a:lnTo>
                      <a:pt x="0" y="17"/>
                    </a:lnTo>
                    <a:lnTo>
                      <a:pt x="70" y="0"/>
                    </a:lnTo>
                    <a:lnTo>
                      <a:pt x="70" y="17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9" name="Freeform 261">
                <a:extLst>
                  <a:ext uri="{FF2B5EF4-FFF2-40B4-BE49-F238E27FC236}">
                    <a16:creationId xmlns:a16="http://schemas.microsoft.com/office/drawing/2014/main" id="{5AF4FAF3-8A13-4173-A263-DEF33FB68D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4285" y="1861849"/>
                <a:ext cx="241263" cy="518145"/>
              </a:xfrm>
              <a:custGeom>
                <a:avLst/>
                <a:gdLst>
                  <a:gd name="T0" fmla="*/ 44450 w 294"/>
                  <a:gd name="T1" fmla="*/ 15849 h 609"/>
                  <a:gd name="T2" fmla="*/ 44450 w 294"/>
                  <a:gd name="T3" fmla="*/ 15849 h 609"/>
                  <a:gd name="T4" fmla="*/ 44450 w 294"/>
                  <a:gd name="T5" fmla="*/ 25358 h 609"/>
                  <a:gd name="T6" fmla="*/ 51594 w 294"/>
                  <a:gd name="T7" fmla="*/ 31698 h 609"/>
                  <a:gd name="T8" fmla="*/ 47625 w 294"/>
                  <a:gd name="T9" fmla="*/ 41207 h 609"/>
                  <a:gd name="T10" fmla="*/ 51594 w 294"/>
                  <a:gd name="T11" fmla="*/ 57056 h 609"/>
                  <a:gd name="T12" fmla="*/ 47625 w 294"/>
                  <a:gd name="T13" fmla="*/ 66566 h 609"/>
                  <a:gd name="T14" fmla="*/ 55563 w 294"/>
                  <a:gd name="T15" fmla="*/ 76075 h 609"/>
                  <a:gd name="T16" fmla="*/ 51594 w 294"/>
                  <a:gd name="T17" fmla="*/ 82414 h 609"/>
                  <a:gd name="T18" fmla="*/ 58738 w 294"/>
                  <a:gd name="T19" fmla="*/ 87962 h 609"/>
                  <a:gd name="T20" fmla="*/ 58738 w 294"/>
                  <a:gd name="T21" fmla="*/ 91924 h 609"/>
                  <a:gd name="T22" fmla="*/ 47625 w 294"/>
                  <a:gd name="T23" fmla="*/ 106980 h 609"/>
                  <a:gd name="T24" fmla="*/ 37306 w 294"/>
                  <a:gd name="T25" fmla="*/ 114112 h 609"/>
                  <a:gd name="T26" fmla="*/ 34131 w 294"/>
                  <a:gd name="T27" fmla="*/ 114112 h 609"/>
                  <a:gd name="T28" fmla="*/ 16669 w 294"/>
                  <a:gd name="T29" fmla="*/ 120452 h 609"/>
                  <a:gd name="T30" fmla="*/ 3969 w 294"/>
                  <a:gd name="T31" fmla="*/ 114112 h 609"/>
                  <a:gd name="T32" fmla="*/ 7144 w 294"/>
                  <a:gd name="T33" fmla="*/ 104603 h 609"/>
                  <a:gd name="T34" fmla="*/ 3969 w 294"/>
                  <a:gd name="T35" fmla="*/ 95094 h 609"/>
                  <a:gd name="T36" fmla="*/ 7144 w 294"/>
                  <a:gd name="T37" fmla="*/ 87962 h 609"/>
                  <a:gd name="T38" fmla="*/ 20638 w 294"/>
                  <a:gd name="T39" fmla="*/ 69735 h 609"/>
                  <a:gd name="T40" fmla="*/ 23813 w 294"/>
                  <a:gd name="T41" fmla="*/ 66566 h 609"/>
                  <a:gd name="T42" fmla="*/ 23813 w 294"/>
                  <a:gd name="T43" fmla="*/ 60226 h 609"/>
                  <a:gd name="T44" fmla="*/ 20638 w 294"/>
                  <a:gd name="T45" fmla="*/ 57056 h 609"/>
                  <a:gd name="T46" fmla="*/ 16669 w 294"/>
                  <a:gd name="T47" fmla="*/ 57056 h 609"/>
                  <a:gd name="T48" fmla="*/ 14288 w 294"/>
                  <a:gd name="T49" fmla="*/ 28528 h 609"/>
                  <a:gd name="T50" fmla="*/ 0 w 294"/>
                  <a:gd name="T51" fmla="*/ 15849 h 609"/>
                  <a:gd name="T52" fmla="*/ 3969 w 294"/>
                  <a:gd name="T53" fmla="*/ 12679 h 609"/>
                  <a:gd name="T54" fmla="*/ 10319 w 294"/>
                  <a:gd name="T55" fmla="*/ 19019 h 609"/>
                  <a:gd name="T56" fmla="*/ 14288 w 294"/>
                  <a:gd name="T57" fmla="*/ 19019 h 609"/>
                  <a:gd name="T58" fmla="*/ 16669 w 294"/>
                  <a:gd name="T59" fmla="*/ 19019 h 609"/>
                  <a:gd name="T60" fmla="*/ 23813 w 294"/>
                  <a:gd name="T61" fmla="*/ 19019 h 609"/>
                  <a:gd name="T62" fmla="*/ 27781 w 294"/>
                  <a:gd name="T63" fmla="*/ 15849 h 609"/>
                  <a:gd name="T64" fmla="*/ 30956 w 294"/>
                  <a:gd name="T65" fmla="*/ 3170 h 609"/>
                  <a:gd name="T66" fmla="*/ 37306 w 294"/>
                  <a:gd name="T67" fmla="*/ 0 h 609"/>
                  <a:gd name="T68" fmla="*/ 47625 w 294"/>
                  <a:gd name="T69" fmla="*/ 6340 h 609"/>
                  <a:gd name="T70" fmla="*/ 44450 w 294"/>
                  <a:gd name="T71" fmla="*/ 15849 h 609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294"/>
                  <a:gd name="T109" fmla="*/ 0 h 609"/>
                  <a:gd name="T110" fmla="*/ 294 w 294"/>
                  <a:gd name="T111" fmla="*/ 609 h 609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294" h="609">
                    <a:moveTo>
                      <a:pt x="225" y="81"/>
                    </a:moveTo>
                    <a:lnTo>
                      <a:pt x="225" y="81"/>
                    </a:lnTo>
                    <a:lnTo>
                      <a:pt x="225" y="129"/>
                    </a:lnTo>
                    <a:lnTo>
                      <a:pt x="260" y="160"/>
                    </a:lnTo>
                    <a:lnTo>
                      <a:pt x="242" y="208"/>
                    </a:lnTo>
                    <a:lnTo>
                      <a:pt x="260" y="288"/>
                    </a:lnTo>
                    <a:lnTo>
                      <a:pt x="242" y="336"/>
                    </a:lnTo>
                    <a:lnTo>
                      <a:pt x="277" y="384"/>
                    </a:lnTo>
                    <a:lnTo>
                      <a:pt x="260" y="417"/>
                    </a:lnTo>
                    <a:lnTo>
                      <a:pt x="294" y="447"/>
                    </a:lnTo>
                    <a:lnTo>
                      <a:pt x="294" y="465"/>
                    </a:lnTo>
                    <a:lnTo>
                      <a:pt x="242" y="543"/>
                    </a:lnTo>
                    <a:lnTo>
                      <a:pt x="191" y="576"/>
                    </a:lnTo>
                    <a:lnTo>
                      <a:pt x="173" y="576"/>
                    </a:lnTo>
                    <a:lnTo>
                      <a:pt x="87" y="609"/>
                    </a:lnTo>
                    <a:lnTo>
                      <a:pt x="18" y="576"/>
                    </a:lnTo>
                    <a:lnTo>
                      <a:pt x="35" y="528"/>
                    </a:lnTo>
                    <a:lnTo>
                      <a:pt x="18" y="480"/>
                    </a:lnTo>
                    <a:lnTo>
                      <a:pt x="35" y="447"/>
                    </a:lnTo>
                    <a:lnTo>
                      <a:pt x="104" y="352"/>
                    </a:lnTo>
                    <a:lnTo>
                      <a:pt x="121" y="336"/>
                    </a:lnTo>
                    <a:lnTo>
                      <a:pt x="121" y="304"/>
                    </a:lnTo>
                    <a:lnTo>
                      <a:pt x="104" y="288"/>
                    </a:lnTo>
                    <a:lnTo>
                      <a:pt x="87" y="288"/>
                    </a:lnTo>
                    <a:lnTo>
                      <a:pt x="70" y="144"/>
                    </a:lnTo>
                    <a:lnTo>
                      <a:pt x="0" y="81"/>
                    </a:lnTo>
                    <a:lnTo>
                      <a:pt x="18" y="64"/>
                    </a:lnTo>
                    <a:lnTo>
                      <a:pt x="52" y="96"/>
                    </a:lnTo>
                    <a:lnTo>
                      <a:pt x="70" y="96"/>
                    </a:lnTo>
                    <a:lnTo>
                      <a:pt x="87" y="96"/>
                    </a:lnTo>
                    <a:lnTo>
                      <a:pt x="121" y="96"/>
                    </a:lnTo>
                    <a:lnTo>
                      <a:pt x="139" y="81"/>
                    </a:lnTo>
                    <a:lnTo>
                      <a:pt x="156" y="16"/>
                    </a:lnTo>
                    <a:lnTo>
                      <a:pt x="191" y="0"/>
                    </a:lnTo>
                    <a:lnTo>
                      <a:pt x="242" y="33"/>
                    </a:lnTo>
                    <a:lnTo>
                      <a:pt x="225" y="8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0" name="Freeform 262">
                <a:extLst>
                  <a:ext uri="{FF2B5EF4-FFF2-40B4-BE49-F238E27FC236}">
                    <a16:creationId xmlns:a16="http://schemas.microsoft.com/office/drawing/2014/main" id="{CC066488-B68F-434F-BCA9-B0BEF5DD4F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56494" y="1791967"/>
                <a:ext cx="599054" cy="669840"/>
              </a:xfrm>
              <a:custGeom>
                <a:avLst/>
                <a:gdLst>
                  <a:gd name="T0" fmla="*/ 34178 w 729"/>
                  <a:gd name="T1" fmla="*/ 149415 h 785"/>
                  <a:gd name="T2" fmla="*/ 30999 w 729"/>
                  <a:gd name="T3" fmla="*/ 143057 h 785"/>
                  <a:gd name="T4" fmla="*/ 27819 w 729"/>
                  <a:gd name="T5" fmla="*/ 147031 h 785"/>
                  <a:gd name="T6" fmla="*/ 10333 w 729"/>
                  <a:gd name="T7" fmla="*/ 156568 h 785"/>
                  <a:gd name="T8" fmla="*/ 7154 w 729"/>
                  <a:gd name="T9" fmla="*/ 143057 h 785"/>
                  <a:gd name="T10" fmla="*/ 3974 w 729"/>
                  <a:gd name="T11" fmla="*/ 143057 h 785"/>
                  <a:gd name="T12" fmla="*/ 3974 w 729"/>
                  <a:gd name="T13" fmla="*/ 133520 h 785"/>
                  <a:gd name="T14" fmla="*/ 3974 w 729"/>
                  <a:gd name="T15" fmla="*/ 120804 h 785"/>
                  <a:gd name="T16" fmla="*/ 14307 w 729"/>
                  <a:gd name="T17" fmla="*/ 108882 h 785"/>
                  <a:gd name="T18" fmla="*/ 24640 w 729"/>
                  <a:gd name="T19" fmla="*/ 99345 h 785"/>
                  <a:gd name="T20" fmla="*/ 34178 w 729"/>
                  <a:gd name="T21" fmla="*/ 85834 h 785"/>
                  <a:gd name="T22" fmla="*/ 48485 w 729"/>
                  <a:gd name="T23" fmla="*/ 63581 h 785"/>
                  <a:gd name="T24" fmla="*/ 61997 w 729"/>
                  <a:gd name="T25" fmla="*/ 42122 h 785"/>
                  <a:gd name="T26" fmla="*/ 44511 w 729"/>
                  <a:gd name="T27" fmla="*/ 47686 h 785"/>
                  <a:gd name="T28" fmla="*/ 54844 w 729"/>
                  <a:gd name="T29" fmla="*/ 42122 h 785"/>
                  <a:gd name="T30" fmla="*/ 61997 w 729"/>
                  <a:gd name="T31" fmla="*/ 28611 h 785"/>
                  <a:gd name="T32" fmla="*/ 65177 w 729"/>
                  <a:gd name="T33" fmla="*/ 32585 h 785"/>
                  <a:gd name="T34" fmla="*/ 69151 w 729"/>
                  <a:gd name="T35" fmla="*/ 32585 h 785"/>
                  <a:gd name="T36" fmla="*/ 65177 w 729"/>
                  <a:gd name="T37" fmla="*/ 25432 h 785"/>
                  <a:gd name="T38" fmla="*/ 76305 w 729"/>
                  <a:gd name="T39" fmla="*/ 15895 h 785"/>
                  <a:gd name="T40" fmla="*/ 89817 w 729"/>
                  <a:gd name="T41" fmla="*/ 13511 h 785"/>
                  <a:gd name="T42" fmla="*/ 107303 w 729"/>
                  <a:gd name="T43" fmla="*/ 6358 h 785"/>
                  <a:gd name="T44" fmla="*/ 113662 w 729"/>
                  <a:gd name="T45" fmla="*/ 0 h 785"/>
                  <a:gd name="T46" fmla="*/ 117636 w 729"/>
                  <a:gd name="T47" fmla="*/ 3974 h 785"/>
                  <a:gd name="T48" fmla="*/ 123995 w 729"/>
                  <a:gd name="T49" fmla="*/ 0 h 785"/>
                  <a:gd name="T50" fmla="*/ 145456 w 729"/>
                  <a:gd name="T51" fmla="*/ 13511 h 785"/>
                  <a:gd name="T52" fmla="*/ 131149 w 729"/>
                  <a:gd name="T53" fmla="*/ 15895 h 785"/>
                  <a:gd name="T54" fmla="*/ 141481 w 729"/>
                  <a:gd name="T55" fmla="*/ 23048 h 785"/>
                  <a:gd name="T56" fmla="*/ 138302 w 729"/>
                  <a:gd name="T57" fmla="*/ 25432 h 785"/>
                  <a:gd name="T58" fmla="*/ 135123 w 729"/>
                  <a:gd name="T59" fmla="*/ 23048 h 785"/>
                  <a:gd name="T60" fmla="*/ 117636 w 729"/>
                  <a:gd name="T61" fmla="*/ 19074 h 785"/>
                  <a:gd name="T62" fmla="*/ 110483 w 729"/>
                  <a:gd name="T63" fmla="*/ 34970 h 785"/>
                  <a:gd name="T64" fmla="*/ 100150 w 729"/>
                  <a:gd name="T65" fmla="*/ 34970 h 785"/>
                  <a:gd name="T66" fmla="*/ 89817 w 729"/>
                  <a:gd name="T67" fmla="*/ 28611 h 785"/>
                  <a:gd name="T68" fmla="*/ 82663 w 729"/>
                  <a:gd name="T69" fmla="*/ 32585 h 785"/>
                  <a:gd name="T70" fmla="*/ 76305 w 729"/>
                  <a:gd name="T71" fmla="*/ 38149 h 785"/>
                  <a:gd name="T72" fmla="*/ 72330 w 729"/>
                  <a:gd name="T73" fmla="*/ 44507 h 785"/>
                  <a:gd name="T74" fmla="*/ 65177 w 729"/>
                  <a:gd name="T75" fmla="*/ 47686 h 785"/>
                  <a:gd name="T76" fmla="*/ 61997 w 729"/>
                  <a:gd name="T77" fmla="*/ 57223 h 785"/>
                  <a:gd name="T78" fmla="*/ 54844 w 729"/>
                  <a:gd name="T79" fmla="*/ 70734 h 785"/>
                  <a:gd name="T80" fmla="*/ 48485 w 729"/>
                  <a:gd name="T81" fmla="*/ 85834 h 785"/>
                  <a:gd name="T82" fmla="*/ 44511 w 729"/>
                  <a:gd name="T83" fmla="*/ 95371 h 785"/>
                  <a:gd name="T84" fmla="*/ 38152 w 729"/>
                  <a:gd name="T85" fmla="*/ 111267 h 785"/>
                  <a:gd name="T86" fmla="*/ 41332 w 729"/>
                  <a:gd name="T87" fmla="*/ 127957 h 785"/>
                  <a:gd name="T88" fmla="*/ 38152 w 729"/>
                  <a:gd name="T89" fmla="*/ 139878 h 785"/>
                  <a:gd name="T90" fmla="*/ 34178 w 729"/>
                  <a:gd name="T91" fmla="*/ 149415 h 785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729"/>
                  <a:gd name="T139" fmla="*/ 0 h 785"/>
                  <a:gd name="T140" fmla="*/ 729 w 729"/>
                  <a:gd name="T141" fmla="*/ 785 h 785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729" h="785">
                    <a:moveTo>
                      <a:pt x="172" y="752"/>
                    </a:moveTo>
                    <a:lnTo>
                      <a:pt x="172" y="752"/>
                    </a:lnTo>
                    <a:lnTo>
                      <a:pt x="172" y="737"/>
                    </a:lnTo>
                    <a:lnTo>
                      <a:pt x="155" y="719"/>
                    </a:lnTo>
                    <a:lnTo>
                      <a:pt x="155" y="737"/>
                    </a:lnTo>
                    <a:lnTo>
                      <a:pt x="138" y="737"/>
                    </a:lnTo>
                    <a:lnTo>
                      <a:pt x="86" y="785"/>
                    </a:lnTo>
                    <a:lnTo>
                      <a:pt x="52" y="785"/>
                    </a:lnTo>
                    <a:lnTo>
                      <a:pt x="17" y="767"/>
                    </a:lnTo>
                    <a:lnTo>
                      <a:pt x="34" y="719"/>
                    </a:lnTo>
                    <a:lnTo>
                      <a:pt x="17" y="737"/>
                    </a:lnTo>
                    <a:lnTo>
                      <a:pt x="17" y="719"/>
                    </a:lnTo>
                    <a:lnTo>
                      <a:pt x="17" y="704"/>
                    </a:lnTo>
                    <a:lnTo>
                      <a:pt x="17" y="671"/>
                    </a:lnTo>
                    <a:lnTo>
                      <a:pt x="0" y="641"/>
                    </a:lnTo>
                    <a:lnTo>
                      <a:pt x="17" y="608"/>
                    </a:lnTo>
                    <a:lnTo>
                      <a:pt x="0" y="593"/>
                    </a:lnTo>
                    <a:lnTo>
                      <a:pt x="69" y="545"/>
                    </a:lnTo>
                    <a:lnTo>
                      <a:pt x="86" y="527"/>
                    </a:lnTo>
                    <a:lnTo>
                      <a:pt x="121" y="497"/>
                    </a:lnTo>
                    <a:lnTo>
                      <a:pt x="121" y="512"/>
                    </a:lnTo>
                    <a:lnTo>
                      <a:pt x="172" y="432"/>
                    </a:lnTo>
                    <a:lnTo>
                      <a:pt x="207" y="401"/>
                    </a:lnTo>
                    <a:lnTo>
                      <a:pt x="242" y="320"/>
                    </a:lnTo>
                    <a:lnTo>
                      <a:pt x="276" y="240"/>
                    </a:lnTo>
                    <a:lnTo>
                      <a:pt x="311" y="209"/>
                    </a:lnTo>
                    <a:lnTo>
                      <a:pt x="259" y="224"/>
                    </a:lnTo>
                    <a:lnTo>
                      <a:pt x="224" y="240"/>
                    </a:lnTo>
                    <a:lnTo>
                      <a:pt x="242" y="209"/>
                    </a:lnTo>
                    <a:lnTo>
                      <a:pt x="276" y="209"/>
                    </a:lnTo>
                    <a:lnTo>
                      <a:pt x="259" y="176"/>
                    </a:lnTo>
                    <a:lnTo>
                      <a:pt x="311" y="144"/>
                    </a:lnTo>
                    <a:lnTo>
                      <a:pt x="311" y="176"/>
                    </a:lnTo>
                    <a:lnTo>
                      <a:pt x="328" y="161"/>
                    </a:lnTo>
                    <a:lnTo>
                      <a:pt x="328" y="176"/>
                    </a:lnTo>
                    <a:lnTo>
                      <a:pt x="347" y="161"/>
                    </a:lnTo>
                    <a:lnTo>
                      <a:pt x="328" y="161"/>
                    </a:lnTo>
                    <a:lnTo>
                      <a:pt x="328" y="128"/>
                    </a:lnTo>
                    <a:lnTo>
                      <a:pt x="364" y="113"/>
                    </a:lnTo>
                    <a:lnTo>
                      <a:pt x="382" y="80"/>
                    </a:lnTo>
                    <a:lnTo>
                      <a:pt x="416" y="80"/>
                    </a:lnTo>
                    <a:lnTo>
                      <a:pt x="451" y="65"/>
                    </a:lnTo>
                    <a:lnTo>
                      <a:pt x="503" y="17"/>
                    </a:lnTo>
                    <a:lnTo>
                      <a:pt x="537" y="32"/>
                    </a:lnTo>
                    <a:lnTo>
                      <a:pt x="555" y="17"/>
                    </a:lnTo>
                    <a:lnTo>
                      <a:pt x="572" y="0"/>
                    </a:lnTo>
                    <a:lnTo>
                      <a:pt x="572" y="48"/>
                    </a:lnTo>
                    <a:lnTo>
                      <a:pt x="589" y="17"/>
                    </a:lnTo>
                    <a:lnTo>
                      <a:pt x="606" y="48"/>
                    </a:lnTo>
                    <a:lnTo>
                      <a:pt x="624" y="0"/>
                    </a:lnTo>
                    <a:lnTo>
                      <a:pt x="658" y="17"/>
                    </a:lnTo>
                    <a:lnTo>
                      <a:pt x="729" y="65"/>
                    </a:lnTo>
                    <a:lnTo>
                      <a:pt x="695" y="80"/>
                    </a:lnTo>
                    <a:lnTo>
                      <a:pt x="658" y="80"/>
                    </a:lnTo>
                    <a:lnTo>
                      <a:pt x="695" y="96"/>
                    </a:lnTo>
                    <a:lnTo>
                      <a:pt x="712" y="113"/>
                    </a:lnTo>
                    <a:lnTo>
                      <a:pt x="712" y="128"/>
                    </a:lnTo>
                    <a:lnTo>
                      <a:pt x="695" y="128"/>
                    </a:lnTo>
                    <a:lnTo>
                      <a:pt x="658" y="161"/>
                    </a:lnTo>
                    <a:lnTo>
                      <a:pt x="677" y="113"/>
                    </a:lnTo>
                    <a:lnTo>
                      <a:pt x="624" y="80"/>
                    </a:lnTo>
                    <a:lnTo>
                      <a:pt x="589" y="96"/>
                    </a:lnTo>
                    <a:lnTo>
                      <a:pt x="572" y="161"/>
                    </a:lnTo>
                    <a:lnTo>
                      <a:pt x="555" y="176"/>
                    </a:lnTo>
                    <a:lnTo>
                      <a:pt x="520" y="176"/>
                    </a:lnTo>
                    <a:lnTo>
                      <a:pt x="503" y="176"/>
                    </a:lnTo>
                    <a:lnTo>
                      <a:pt x="485" y="176"/>
                    </a:lnTo>
                    <a:lnTo>
                      <a:pt x="451" y="144"/>
                    </a:lnTo>
                    <a:lnTo>
                      <a:pt x="434" y="161"/>
                    </a:lnTo>
                    <a:lnTo>
                      <a:pt x="416" y="161"/>
                    </a:lnTo>
                    <a:lnTo>
                      <a:pt x="416" y="192"/>
                    </a:lnTo>
                    <a:lnTo>
                      <a:pt x="382" y="192"/>
                    </a:lnTo>
                    <a:lnTo>
                      <a:pt x="364" y="192"/>
                    </a:lnTo>
                    <a:lnTo>
                      <a:pt x="364" y="224"/>
                    </a:lnTo>
                    <a:lnTo>
                      <a:pt x="347" y="224"/>
                    </a:lnTo>
                    <a:lnTo>
                      <a:pt x="328" y="240"/>
                    </a:lnTo>
                    <a:lnTo>
                      <a:pt x="311" y="272"/>
                    </a:lnTo>
                    <a:lnTo>
                      <a:pt x="311" y="288"/>
                    </a:lnTo>
                    <a:lnTo>
                      <a:pt x="311" y="305"/>
                    </a:lnTo>
                    <a:lnTo>
                      <a:pt x="276" y="353"/>
                    </a:lnTo>
                    <a:lnTo>
                      <a:pt x="259" y="401"/>
                    </a:lnTo>
                    <a:lnTo>
                      <a:pt x="242" y="432"/>
                    </a:lnTo>
                    <a:lnTo>
                      <a:pt x="259" y="464"/>
                    </a:lnTo>
                    <a:lnTo>
                      <a:pt x="224" y="479"/>
                    </a:lnTo>
                    <a:lnTo>
                      <a:pt x="207" y="497"/>
                    </a:lnTo>
                    <a:lnTo>
                      <a:pt x="190" y="560"/>
                    </a:lnTo>
                    <a:lnTo>
                      <a:pt x="207" y="623"/>
                    </a:lnTo>
                    <a:lnTo>
                      <a:pt x="207" y="641"/>
                    </a:lnTo>
                    <a:lnTo>
                      <a:pt x="207" y="689"/>
                    </a:lnTo>
                    <a:lnTo>
                      <a:pt x="190" y="704"/>
                    </a:lnTo>
                    <a:lnTo>
                      <a:pt x="190" y="752"/>
                    </a:lnTo>
                    <a:lnTo>
                      <a:pt x="172" y="75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27" name="Freeform 263">
              <a:extLst>
                <a:ext uri="{FF2B5EF4-FFF2-40B4-BE49-F238E27FC236}">
                  <a16:creationId xmlns:a16="http://schemas.microsoft.com/office/drawing/2014/main" id="{D7795788-2FFF-4A24-A043-1178CADCD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7579" y="2084350"/>
              <a:ext cx="329522" cy="741777"/>
            </a:xfrm>
            <a:custGeom>
              <a:avLst/>
              <a:gdLst>
                <a:gd name="T0" fmla="*/ 0 w 346"/>
                <a:gd name="T1" fmla="*/ 117475 h 750"/>
                <a:gd name="T2" fmla="*/ 0 w 346"/>
                <a:gd name="T3" fmla="*/ 117475 h 750"/>
                <a:gd name="T4" fmla="*/ 3969 w 346"/>
                <a:gd name="T5" fmla="*/ 117475 h 750"/>
                <a:gd name="T6" fmla="*/ 3969 w 346"/>
                <a:gd name="T7" fmla="*/ 107950 h 750"/>
                <a:gd name="T8" fmla="*/ 7144 w 346"/>
                <a:gd name="T9" fmla="*/ 104775 h 750"/>
                <a:gd name="T10" fmla="*/ 7144 w 346"/>
                <a:gd name="T11" fmla="*/ 95250 h 750"/>
                <a:gd name="T12" fmla="*/ 7144 w 346"/>
                <a:gd name="T13" fmla="*/ 91281 h 750"/>
                <a:gd name="T14" fmla="*/ 3969 w 346"/>
                <a:gd name="T15" fmla="*/ 78581 h 750"/>
                <a:gd name="T16" fmla="*/ 7144 w 346"/>
                <a:gd name="T17" fmla="*/ 66675 h 750"/>
                <a:gd name="T18" fmla="*/ 10319 w 346"/>
                <a:gd name="T19" fmla="*/ 63500 h 750"/>
                <a:gd name="T20" fmla="*/ 17463 w 346"/>
                <a:gd name="T21" fmla="*/ 60325 h 750"/>
                <a:gd name="T22" fmla="*/ 14288 w 346"/>
                <a:gd name="T23" fmla="*/ 53975 h 750"/>
                <a:gd name="T24" fmla="*/ 17463 w 346"/>
                <a:gd name="T25" fmla="*/ 47625 h 750"/>
                <a:gd name="T26" fmla="*/ 20638 w 346"/>
                <a:gd name="T27" fmla="*/ 38100 h 750"/>
                <a:gd name="T28" fmla="*/ 27781 w 346"/>
                <a:gd name="T29" fmla="*/ 28575 h 750"/>
                <a:gd name="T30" fmla="*/ 27781 w 346"/>
                <a:gd name="T31" fmla="*/ 24606 h 750"/>
                <a:gd name="T32" fmla="*/ 27781 w 346"/>
                <a:gd name="T33" fmla="*/ 21431 h 750"/>
                <a:gd name="T34" fmla="*/ 30956 w 346"/>
                <a:gd name="T35" fmla="*/ 15875 h 750"/>
                <a:gd name="T36" fmla="*/ 34131 w 346"/>
                <a:gd name="T37" fmla="*/ 11906 h 750"/>
                <a:gd name="T38" fmla="*/ 37306 w 346"/>
                <a:gd name="T39" fmla="*/ 11906 h 750"/>
                <a:gd name="T40" fmla="*/ 37306 w 346"/>
                <a:gd name="T41" fmla="*/ 5556 h 750"/>
                <a:gd name="T42" fmla="*/ 41275 w 346"/>
                <a:gd name="T43" fmla="*/ 5556 h 750"/>
                <a:gd name="T44" fmla="*/ 47625 w 346"/>
                <a:gd name="T45" fmla="*/ 5556 h 750"/>
                <a:gd name="T46" fmla="*/ 47625 w 346"/>
                <a:gd name="T47" fmla="*/ 0 h 750"/>
                <a:gd name="T48" fmla="*/ 51594 w 346"/>
                <a:gd name="T49" fmla="*/ 0 h 750"/>
                <a:gd name="T50" fmla="*/ 65881 w 346"/>
                <a:gd name="T51" fmla="*/ 11906 h 750"/>
                <a:gd name="T52" fmla="*/ 69056 w 346"/>
                <a:gd name="T53" fmla="*/ 40481 h 750"/>
                <a:gd name="T54" fmla="*/ 61913 w 346"/>
                <a:gd name="T55" fmla="*/ 40481 h 750"/>
                <a:gd name="T56" fmla="*/ 55563 w 346"/>
                <a:gd name="T57" fmla="*/ 47625 h 750"/>
                <a:gd name="T58" fmla="*/ 55563 w 346"/>
                <a:gd name="T59" fmla="*/ 50006 h 750"/>
                <a:gd name="T60" fmla="*/ 55563 w 346"/>
                <a:gd name="T61" fmla="*/ 53975 h 750"/>
                <a:gd name="T62" fmla="*/ 58738 w 346"/>
                <a:gd name="T63" fmla="*/ 57150 h 750"/>
                <a:gd name="T64" fmla="*/ 51594 w 346"/>
                <a:gd name="T65" fmla="*/ 63500 h 750"/>
                <a:gd name="T66" fmla="*/ 41275 w 346"/>
                <a:gd name="T67" fmla="*/ 73025 h 750"/>
                <a:gd name="T68" fmla="*/ 34131 w 346"/>
                <a:gd name="T69" fmla="*/ 81756 h 750"/>
                <a:gd name="T70" fmla="*/ 34131 w 346"/>
                <a:gd name="T71" fmla="*/ 97631 h 750"/>
                <a:gd name="T72" fmla="*/ 41275 w 346"/>
                <a:gd name="T73" fmla="*/ 107950 h 750"/>
                <a:gd name="T74" fmla="*/ 37306 w 346"/>
                <a:gd name="T75" fmla="*/ 111125 h 750"/>
                <a:gd name="T76" fmla="*/ 37306 w 346"/>
                <a:gd name="T77" fmla="*/ 114300 h 750"/>
                <a:gd name="T78" fmla="*/ 30956 w 346"/>
                <a:gd name="T79" fmla="*/ 120650 h 750"/>
                <a:gd name="T80" fmla="*/ 27781 w 346"/>
                <a:gd name="T81" fmla="*/ 142875 h 750"/>
                <a:gd name="T82" fmla="*/ 20638 w 346"/>
                <a:gd name="T83" fmla="*/ 142875 h 750"/>
                <a:gd name="T84" fmla="*/ 17463 w 346"/>
                <a:gd name="T85" fmla="*/ 146050 h 750"/>
                <a:gd name="T86" fmla="*/ 17463 w 346"/>
                <a:gd name="T87" fmla="*/ 149225 h 750"/>
                <a:gd name="T88" fmla="*/ 10319 w 346"/>
                <a:gd name="T89" fmla="*/ 149225 h 750"/>
                <a:gd name="T90" fmla="*/ 7144 w 346"/>
                <a:gd name="T91" fmla="*/ 142875 h 750"/>
                <a:gd name="T92" fmla="*/ 10319 w 346"/>
                <a:gd name="T93" fmla="*/ 139700 h 750"/>
                <a:gd name="T94" fmla="*/ 7144 w 346"/>
                <a:gd name="T95" fmla="*/ 136525 h 750"/>
                <a:gd name="T96" fmla="*/ 0 w 346"/>
                <a:gd name="T97" fmla="*/ 117475 h 75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46"/>
                <a:gd name="T148" fmla="*/ 0 h 750"/>
                <a:gd name="T149" fmla="*/ 346 w 346"/>
                <a:gd name="T150" fmla="*/ 750 h 75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46" h="750">
                  <a:moveTo>
                    <a:pt x="0" y="591"/>
                  </a:moveTo>
                  <a:lnTo>
                    <a:pt x="0" y="591"/>
                  </a:lnTo>
                  <a:lnTo>
                    <a:pt x="18" y="591"/>
                  </a:lnTo>
                  <a:lnTo>
                    <a:pt x="18" y="543"/>
                  </a:lnTo>
                  <a:lnTo>
                    <a:pt x="35" y="528"/>
                  </a:lnTo>
                  <a:lnTo>
                    <a:pt x="35" y="480"/>
                  </a:lnTo>
                  <a:lnTo>
                    <a:pt x="35" y="462"/>
                  </a:lnTo>
                  <a:lnTo>
                    <a:pt x="18" y="399"/>
                  </a:lnTo>
                  <a:lnTo>
                    <a:pt x="35" y="336"/>
                  </a:lnTo>
                  <a:lnTo>
                    <a:pt x="52" y="318"/>
                  </a:lnTo>
                  <a:lnTo>
                    <a:pt x="87" y="303"/>
                  </a:lnTo>
                  <a:lnTo>
                    <a:pt x="70" y="271"/>
                  </a:lnTo>
                  <a:lnTo>
                    <a:pt x="87" y="240"/>
                  </a:lnTo>
                  <a:lnTo>
                    <a:pt x="104" y="192"/>
                  </a:lnTo>
                  <a:lnTo>
                    <a:pt x="139" y="144"/>
                  </a:lnTo>
                  <a:lnTo>
                    <a:pt x="139" y="127"/>
                  </a:lnTo>
                  <a:lnTo>
                    <a:pt x="139" y="111"/>
                  </a:lnTo>
                  <a:lnTo>
                    <a:pt x="156" y="79"/>
                  </a:lnTo>
                  <a:lnTo>
                    <a:pt x="173" y="63"/>
                  </a:lnTo>
                  <a:lnTo>
                    <a:pt x="190" y="63"/>
                  </a:lnTo>
                  <a:lnTo>
                    <a:pt x="190" y="31"/>
                  </a:lnTo>
                  <a:lnTo>
                    <a:pt x="208" y="31"/>
                  </a:lnTo>
                  <a:lnTo>
                    <a:pt x="242" y="31"/>
                  </a:lnTo>
                  <a:lnTo>
                    <a:pt x="242" y="0"/>
                  </a:lnTo>
                  <a:lnTo>
                    <a:pt x="260" y="0"/>
                  </a:lnTo>
                  <a:lnTo>
                    <a:pt x="329" y="63"/>
                  </a:lnTo>
                  <a:lnTo>
                    <a:pt x="346" y="207"/>
                  </a:lnTo>
                  <a:lnTo>
                    <a:pt x="311" y="207"/>
                  </a:lnTo>
                  <a:lnTo>
                    <a:pt x="277" y="240"/>
                  </a:lnTo>
                  <a:lnTo>
                    <a:pt x="277" y="255"/>
                  </a:lnTo>
                  <a:lnTo>
                    <a:pt x="277" y="271"/>
                  </a:lnTo>
                  <a:lnTo>
                    <a:pt x="294" y="288"/>
                  </a:lnTo>
                  <a:lnTo>
                    <a:pt x="260" y="318"/>
                  </a:lnTo>
                  <a:lnTo>
                    <a:pt x="208" y="366"/>
                  </a:lnTo>
                  <a:lnTo>
                    <a:pt x="173" y="414"/>
                  </a:lnTo>
                  <a:lnTo>
                    <a:pt x="173" y="495"/>
                  </a:lnTo>
                  <a:lnTo>
                    <a:pt x="208" y="543"/>
                  </a:lnTo>
                  <a:lnTo>
                    <a:pt x="190" y="558"/>
                  </a:lnTo>
                  <a:lnTo>
                    <a:pt x="190" y="576"/>
                  </a:lnTo>
                  <a:lnTo>
                    <a:pt x="156" y="606"/>
                  </a:lnTo>
                  <a:lnTo>
                    <a:pt x="139" y="720"/>
                  </a:lnTo>
                  <a:lnTo>
                    <a:pt x="104" y="720"/>
                  </a:lnTo>
                  <a:lnTo>
                    <a:pt x="87" y="735"/>
                  </a:lnTo>
                  <a:lnTo>
                    <a:pt x="87" y="750"/>
                  </a:lnTo>
                  <a:lnTo>
                    <a:pt x="52" y="750"/>
                  </a:lnTo>
                  <a:lnTo>
                    <a:pt x="35" y="720"/>
                  </a:lnTo>
                  <a:lnTo>
                    <a:pt x="52" y="702"/>
                  </a:lnTo>
                  <a:lnTo>
                    <a:pt x="35" y="687"/>
                  </a:lnTo>
                  <a:lnTo>
                    <a:pt x="0" y="591"/>
                  </a:lnTo>
                  <a:close/>
                </a:path>
              </a:pathLst>
            </a:custGeom>
            <a:pattFill prst="pct50">
              <a:fgClr>
                <a:schemeClr val="bg2">
                  <a:lumMod val="90000"/>
                </a:schemeClr>
              </a:fgClr>
              <a:bgClr>
                <a:schemeClr val="bg1"/>
              </a:bgClr>
            </a:patt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C44E2B71-EF61-4B06-B5BB-72B2AF96C59F}"/>
                </a:ext>
              </a:extLst>
            </p:cNvPr>
            <p:cNvGrpSpPr/>
            <p:nvPr/>
          </p:nvGrpSpPr>
          <p:grpSpPr>
            <a:xfrm>
              <a:off x="5159967" y="3474932"/>
              <a:ext cx="2409880" cy="822879"/>
              <a:chOff x="5472327" y="3128235"/>
              <a:chExt cx="2076495" cy="709041"/>
            </a:xfrm>
          </p:grpSpPr>
          <p:sp>
            <p:nvSpPr>
              <p:cNvPr id="248" name="Freeform 191">
                <a:extLst>
                  <a:ext uri="{FF2B5EF4-FFF2-40B4-BE49-F238E27FC236}">
                    <a16:creationId xmlns:a16="http://schemas.microsoft.com/office/drawing/2014/main" id="{B647A31F-BEFE-4124-A2FC-616DA3EA76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25174" y="3141871"/>
                <a:ext cx="323648" cy="340885"/>
              </a:xfrm>
              <a:custGeom>
                <a:avLst/>
                <a:gdLst>
                  <a:gd name="T0" fmla="*/ 3168 w 449"/>
                  <a:gd name="T1" fmla="*/ 69676 h 401"/>
                  <a:gd name="T2" fmla="*/ 3168 w 449"/>
                  <a:gd name="T3" fmla="*/ 69676 h 401"/>
                  <a:gd name="T4" fmla="*/ 3168 w 449"/>
                  <a:gd name="T5" fmla="*/ 63342 h 401"/>
                  <a:gd name="T6" fmla="*/ 10296 w 449"/>
                  <a:gd name="T7" fmla="*/ 60175 h 401"/>
                  <a:gd name="T8" fmla="*/ 6336 w 449"/>
                  <a:gd name="T9" fmla="*/ 53840 h 401"/>
                  <a:gd name="T10" fmla="*/ 3168 w 449"/>
                  <a:gd name="T11" fmla="*/ 50673 h 401"/>
                  <a:gd name="T12" fmla="*/ 0 w 449"/>
                  <a:gd name="T13" fmla="*/ 44339 h 401"/>
                  <a:gd name="T14" fmla="*/ 6336 w 449"/>
                  <a:gd name="T15" fmla="*/ 47506 h 401"/>
                  <a:gd name="T16" fmla="*/ 26927 w 449"/>
                  <a:gd name="T17" fmla="*/ 44339 h 401"/>
                  <a:gd name="T18" fmla="*/ 26927 w 449"/>
                  <a:gd name="T19" fmla="*/ 38005 h 401"/>
                  <a:gd name="T20" fmla="*/ 30887 w 449"/>
                  <a:gd name="T21" fmla="*/ 34838 h 401"/>
                  <a:gd name="T22" fmla="*/ 44351 w 449"/>
                  <a:gd name="T23" fmla="*/ 31671 h 401"/>
                  <a:gd name="T24" fmla="*/ 44351 w 449"/>
                  <a:gd name="T25" fmla="*/ 25337 h 401"/>
                  <a:gd name="T26" fmla="*/ 47519 w 449"/>
                  <a:gd name="T27" fmla="*/ 22170 h 401"/>
                  <a:gd name="T28" fmla="*/ 47519 w 449"/>
                  <a:gd name="T29" fmla="*/ 19002 h 401"/>
                  <a:gd name="T30" fmla="*/ 50687 w 449"/>
                  <a:gd name="T31" fmla="*/ 19002 h 401"/>
                  <a:gd name="T32" fmla="*/ 54647 w 449"/>
                  <a:gd name="T33" fmla="*/ 12668 h 401"/>
                  <a:gd name="T34" fmla="*/ 54647 w 449"/>
                  <a:gd name="T35" fmla="*/ 6334 h 401"/>
                  <a:gd name="T36" fmla="*/ 60983 w 449"/>
                  <a:gd name="T37" fmla="*/ 3167 h 401"/>
                  <a:gd name="T38" fmla="*/ 68110 w 449"/>
                  <a:gd name="T39" fmla="*/ 0 h 401"/>
                  <a:gd name="T40" fmla="*/ 71278 w 449"/>
                  <a:gd name="T41" fmla="*/ 0 h 401"/>
                  <a:gd name="T42" fmla="*/ 78406 w 449"/>
                  <a:gd name="T43" fmla="*/ 3167 h 401"/>
                  <a:gd name="T44" fmla="*/ 81574 w 449"/>
                  <a:gd name="T45" fmla="*/ 6334 h 401"/>
                  <a:gd name="T46" fmla="*/ 88702 w 449"/>
                  <a:gd name="T47" fmla="*/ 9501 h 401"/>
                  <a:gd name="T48" fmla="*/ 85534 w 449"/>
                  <a:gd name="T49" fmla="*/ 12668 h 401"/>
                  <a:gd name="T50" fmla="*/ 78406 w 449"/>
                  <a:gd name="T51" fmla="*/ 15835 h 401"/>
                  <a:gd name="T52" fmla="*/ 71278 w 449"/>
                  <a:gd name="T53" fmla="*/ 12668 h 401"/>
                  <a:gd name="T54" fmla="*/ 68110 w 449"/>
                  <a:gd name="T55" fmla="*/ 15835 h 401"/>
                  <a:gd name="T56" fmla="*/ 71278 w 449"/>
                  <a:gd name="T57" fmla="*/ 19002 h 401"/>
                  <a:gd name="T58" fmla="*/ 68110 w 449"/>
                  <a:gd name="T59" fmla="*/ 25337 h 401"/>
                  <a:gd name="T60" fmla="*/ 75238 w 449"/>
                  <a:gd name="T61" fmla="*/ 28504 h 401"/>
                  <a:gd name="T62" fmla="*/ 75238 w 449"/>
                  <a:gd name="T63" fmla="*/ 31671 h 401"/>
                  <a:gd name="T64" fmla="*/ 71278 w 449"/>
                  <a:gd name="T65" fmla="*/ 31671 h 401"/>
                  <a:gd name="T66" fmla="*/ 75238 w 449"/>
                  <a:gd name="T67" fmla="*/ 34838 h 401"/>
                  <a:gd name="T68" fmla="*/ 57815 w 449"/>
                  <a:gd name="T69" fmla="*/ 53840 h 401"/>
                  <a:gd name="T70" fmla="*/ 50687 w 449"/>
                  <a:gd name="T71" fmla="*/ 57007 h 401"/>
                  <a:gd name="T72" fmla="*/ 47519 w 449"/>
                  <a:gd name="T73" fmla="*/ 53840 h 401"/>
                  <a:gd name="T74" fmla="*/ 44351 w 449"/>
                  <a:gd name="T75" fmla="*/ 57007 h 401"/>
                  <a:gd name="T76" fmla="*/ 44351 w 449"/>
                  <a:gd name="T77" fmla="*/ 63342 h 401"/>
                  <a:gd name="T78" fmla="*/ 47519 w 449"/>
                  <a:gd name="T79" fmla="*/ 63342 h 401"/>
                  <a:gd name="T80" fmla="*/ 47519 w 449"/>
                  <a:gd name="T81" fmla="*/ 66509 h 401"/>
                  <a:gd name="T82" fmla="*/ 50687 w 449"/>
                  <a:gd name="T83" fmla="*/ 66509 h 401"/>
                  <a:gd name="T84" fmla="*/ 50687 w 449"/>
                  <a:gd name="T85" fmla="*/ 72843 h 401"/>
                  <a:gd name="T86" fmla="*/ 50687 w 449"/>
                  <a:gd name="T87" fmla="*/ 76010 h 401"/>
                  <a:gd name="T88" fmla="*/ 40391 w 449"/>
                  <a:gd name="T89" fmla="*/ 76010 h 401"/>
                  <a:gd name="T90" fmla="*/ 37223 w 449"/>
                  <a:gd name="T91" fmla="*/ 79177 h 401"/>
                  <a:gd name="T92" fmla="*/ 34055 w 449"/>
                  <a:gd name="T93" fmla="*/ 76010 h 401"/>
                  <a:gd name="T94" fmla="*/ 30887 w 449"/>
                  <a:gd name="T95" fmla="*/ 69676 h 401"/>
                  <a:gd name="T96" fmla="*/ 20592 w 449"/>
                  <a:gd name="T97" fmla="*/ 69676 h 401"/>
                  <a:gd name="T98" fmla="*/ 13464 w 449"/>
                  <a:gd name="T99" fmla="*/ 69676 h 401"/>
                  <a:gd name="T100" fmla="*/ 3168 w 449"/>
                  <a:gd name="T101" fmla="*/ 69676 h 40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449"/>
                  <a:gd name="T154" fmla="*/ 0 h 401"/>
                  <a:gd name="T155" fmla="*/ 449 w 449"/>
                  <a:gd name="T156" fmla="*/ 401 h 401"/>
                  <a:gd name="connsiteX0" fmla="*/ 379 w 9621"/>
                  <a:gd name="connsiteY0" fmla="*/ 8803 h 10000"/>
                  <a:gd name="connsiteX1" fmla="*/ 379 w 9621"/>
                  <a:gd name="connsiteY1" fmla="*/ 8803 h 10000"/>
                  <a:gd name="connsiteX2" fmla="*/ 379 w 9621"/>
                  <a:gd name="connsiteY2" fmla="*/ 7980 h 10000"/>
                  <a:gd name="connsiteX3" fmla="*/ 1158 w 9621"/>
                  <a:gd name="connsiteY3" fmla="*/ 7606 h 10000"/>
                  <a:gd name="connsiteX4" fmla="*/ 780 w 9621"/>
                  <a:gd name="connsiteY4" fmla="*/ 6783 h 10000"/>
                  <a:gd name="connsiteX5" fmla="*/ 379 w 9621"/>
                  <a:gd name="connsiteY5" fmla="*/ 6409 h 10000"/>
                  <a:gd name="connsiteX6" fmla="*/ 0 w 9621"/>
                  <a:gd name="connsiteY6" fmla="*/ 5586 h 10000"/>
                  <a:gd name="connsiteX7" fmla="*/ 780 w 9621"/>
                  <a:gd name="connsiteY7" fmla="*/ 5985 h 10000"/>
                  <a:gd name="connsiteX8" fmla="*/ 3073 w 9621"/>
                  <a:gd name="connsiteY8" fmla="*/ 5586 h 10000"/>
                  <a:gd name="connsiteX9" fmla="*/ 3073 w 9621"/>
                  <a:gd name="connsiteY9" fmla="*/ 4788 h 10000"/>
                  <a:gd name="connsiteX10" fmla="*/ 3474 w 9621"/>
                  <a:gd name="connsiteY10" fmla="*/ 4389 h 10000"/>
                  <a:gd name="connsiteX11" fmla="*/ 5011 w 9621"/>
                  <a:gd name="connsiteY11" fmla="*/ 4015 h 10000"/>
                  <a:gd name="connsiteX12" fmla="*/ 5011 w 9621"/>
                  <a:gd name="connsiteY12" fmla="*/ 3192 h 10000"/>
                  <a:gd name="connsiteX13" fmla="*/ 5390 w 9621"/>
                  <a:gd name="connsiteY13" fmla="*/ 2818 h 10000"/>
                  <a:gd name="connsiteX14" fmla="*/ 5390 w 9621"/>
                  <a:gd name="connsiteY14" fmla="*/ 2394 h 10000"/>
                  <a:gd name="connsiteX15" fmla="*/ 5768 w 9621"/>
                  <a:gd name="connsiteY15" fmla="*/ 2394 h 10000"/>
                  <a:gd name="connsiteX16" fmla="*/ 6169 w 9621"/>
                  <a:gd name="connsiteY16" fmla="*/ 1621 h 10000"/>
                  <a:gd name="connsiteX17" fmla="*/ 6169 w 9621"/>
                  <a:gd name="connsiteY17" fmla="*/ 798 h 10000"/>
                  <a:gd name="connsiteX18" fmla="*/ 6927 w 9621"/>
                  <a:gd name="connsiteY18" fmla="*/ 424 h 10000"/>
                  <a:gd name="connsiteX19" fmla="*/ 7706 w 9621"/>
                  <a:gd name="connsiteY19" fmla="*/ 0 h 10000"/>
                  <a:gd name="connsiteX20" fmla="*/ 8085 w 9621"/>
                  <a:gd name="connsiteY20" fmla="*/ 0 h 10000"/>
                  <a:gd name="connsiteX21" fmla="*/ 8842 w 9621"/>
                  <a:gd name="connsiteY21" fmla="*/ 424 h 10000"/>
                  <a:gd name="connsiteX22" fmla="*/ 9243 w 9621"/>
                  <a:gd name="connsiteY22" fmla="*/ 798 h 10000"/>
                  <a:gd name="connsiteX23" fmla="*/ 9621 w 9621"/>
                  <a:gd name="connsiteY23" fmla="*/ 1621 h 10000"/>
                  <a:gd name="connsiteX24" fmla="*/ 8842 w 9621"/>
                  <a:gd name="connsiteY24" fmla="*/ 1995 h 10000"/>
                  <a:gd name="connsiteX25" fmla="*/ 8085 w 9621"/>
                  <a:gd name="connsiteY25" fmla="*/ 1621 h 10000"/>
                  <a:gd name="connsiteX26" fmla="*/ 7706 w 9621"/>
                  <a:gd name="connsiteY26" fmla="*/ 1995 h 10000"/>
                  <a:gd name="connsiteX27" fmla="*/ 8085 w 9621"/>
                  <a:gd name="connsiteY27" fmla="*/ 2394 h 10000"/>
                  <a:gd name="connsiteX28" fmla="*/ 7706 w 9621"/>
                  <a:gd name="connsiteY28" fmla="*/ 3192 h 10000"/>
                  <a:gd name="connsiteX29" fmla="*/ 8463 w 9621"/>
                  <a:gd name="connsiteY29" fmla="*/ 3591 h 10000"/>
                  <a:gd name="connsiteX30" fmla="*/ 8463 w 9621"/>
                  <a:gd name="connsiteY30" fmla="*/ 4015 h 10000"/>
                  <a:gd name="connsiteX31" fmla="*/ 8085 w 9621"/>
                  <a:gd name="connsiteY31" fmla="*/ 4015 h 10000"/>
                  <a:gd name="connsiteX32" fmla="*/ 8463 w 9621"/>
                  <a:gd name="connsiteY32" fmla="*/ 4389 h 10000"/>
                  <a:gd name="connsiteX33" fmla="*/ 6548 w 9621"/>
                  <a:gd name="connsiteY33" fmla="*/ 6783 h 10000"/>
                  <a:gd name="connsiteX34" fmla="*/ 5768 w 9621"/>
                  <a:gd name="connsiteY34" fmla="*/ 7182 h 10000"/>
                  <a:gd name="connsiteX35" fmla="*/ 5390 w 9621"/>
                  <a:gd name="connsiteY35" fmla="*/ 6783 h 10000"/>
                  <a:gd name="connsiteX36" fmla="*/ 5011 w 9621"/>
                  <a:gd name="connsiteY36" fmla="*/ 7182 h 10000"/>
                  <a:gd name="connsiteX37" fmla="*/ 5011 w 9621"/>
                  <a:gd name="connsiteY37" fmla="*/ 7980 h 10000"/>
                  <a:gd name="connsiteX38" fmla="*/ 5390 w 9621"/>
                  <a:gd name="connsiteY38" fmla="*/ 7980 h 10000"/>
                  <a:gd name="connsiteX39" fmla="*/ 5390 w 9621"/>
                  <a:gd name="connsiteY39" fmla="*/ 8379 h 10000"/>
                  <a:gd name="connsiteX40" fmla="*/ 5768 w 9621"/>
                  <a:gd name="connsiteY40" fmla="*/ 8379 h 10000"/>
                  <a:gd name="connsiteX41" fmla="*/ 5768 w 9621"/>
                  <a:gd name="connsiteY41" fmla="*/ 9177 h 10000"/>
                  <a:gd name="connsiteX42" fmla="*/ 5768 w 9621"/>
                  <a:gd name="connsiteY42" fmla="*/ 9576 h 10000"/>
                  <a:gd name="connsiteX43" fmla="*/ 4610 w 9621"/>
                  <a:gd name="connsiteY43" fmla="*/ 9576 h 10000"/>
                  <a:gd name="connsiteX44" fmla="*/ 4232 w 9621"/>
                  <a:gd name="connsiteY44" fmla="*/ 10000 h 10000"/>
                  <a:gd name="connsiteX45" fmla="*/ 3853 w 9621"/>
                  <a:gd name="connsiteY45" fmla="*/ 9576 h 10000"/>
                  <a:gd name="connsiteX46" fmla="*/ 3474 w 9621"/>
                  <a:gd name="connsiteY46" fmla="*/ 8803 h 10000"/>
                  <a:gd name="connsiteX47" fmla="*/ 2316 w 9621"/>
                  <a:gd name="connsiteY47" fmla="*/ 8803 h 10000"/>
                  <a:gd name="connsiteX48" fmla="*/ 1537 w 9621"/>
                  <a:gd name="connsiteY48" fmla="*/ 8803 h 10000"/>
                  <a:gd name="connsiteX49" fmla="*/ 379 w 9621"/>
                  <a:gd name="connsiteY49" fmla="*/ 8803 h 10000"/>
                  <a:gd name="connsiteX0" fmla="*/ 394 w 10000"/>
                  <a:gd name="connsiteY0" fmla="*/ 8803 h 10000"/>
                  <a:gd name="connsiteX1" fmla="*/ 394 w 10000"/>
                  <a:gd name="connsiteY1" fmla="*/ 8803 h 10000"/>
                  <a:gd name="connsiteX2" fmla="*/ 394 w 10000"/>
                  <a:gd name="connsiteY2" fmla="*/ 7980 h 10000"/>
                  <a:gd name="connsiteX3" fmla="*/ 1204 w 10000"/>
                  <a:gd name="connsiteY3" fmla="*/ 7606 h 10000"/>
                  <a:gd name="connsiteX4" fmla="*/ 811 w 10000"/>
                  <a:gd name="connsiteY4" fmla="*/ 6783 h 10000"/>
                  <a:gd name="connsiteX5" fmla="*/ 394 w 10000"/>
                  <a:gd name="connsiteY5" fmla="*/ 6409 h 10000"/>
                  <a:gd name="connsiteX6" fmla="*/ 0 w 10000"/>
                  <a:gd name="connsiteY6" fmla="*/ 5586 h 10000"/>
                  <a:gd name="connsiteX7" fmla="*/ 811 w 10000"/>
                  <a:gd name="connsiteY7" fmla="*/ 5985 h 10000"/>
                  <a:gd name="connsiteX8" fmla="*/ 3194 w 10000"/>
                  <a:gd name="connsiteY8" fmla="*/ 5586 h 10000"/>
                  <a:gd name="connsiteX9" fmla="*/ 3194 w 10000"/>
                  <a:gd name="connsiteY9" fmla="*/ 4788 h 10000"/>
                  <a:gd name="connsiteX10" fmla="*/ 3611 w 10000"/>
                  <a:gd name="connsiteY10" fmla="*/ 4389 h 10000"/>
                  <a:gd name="connsiteX11" fmla="*/ 5208 w 10000"/>
                  <a:gd name="connsiteY11" fmla="*/ 4015 h 10000"/>
                  <a:gd name="connsiteX12" fmla="*/ 5208 w 10000"/>
                  <a:gd name="connsiteY12" fmla="*/ 3192 h 10000"/>
                  <a:gd name="connsiteX13" fmla="*/ 5602 w 10000"/>
                  <a:gd name="connsiteY13" fmla="*/ 2818 h 10000"/>
                  <a:gd name="connsiteX14" fmla="*/ 5602 w 10000"/>
                  <a:gd name="connsiteY14" fmla="*/ 2394 h 10000"/>
                  <a:gd name="connsiteX15" fmla="*/ 5995 w 10000"/>
                  <a:gd name="connsiteY15" fmla="*/ 2394 h 10000"/>
                  <a:gd name="connsiteX16" fmla="*/ 6412 w 10000"/>
                  <a:gd name="connsiteY16" fmla="*/ 1621 h 10000"/>
                  <a:gd name="connsiteX17" fmla="*/ 6412 w 10000"/>
                  <a:gd name="connsiteY17" fmla="*/ 798 h 10000"/>
                  <a:gd name="connsiteX18" fmla="*/ 7200 w 10000"/>
                  <a:gd name="connsiteY18" fmla="*/ 424 h 10000"/>
                  <a:gd name="connsiteX19" fmla="*/ 8010 w 10000"/>
                  <a:gd name="connsiteY19" fmla="*/ 0 h 10000"/>
                  <a:gd name="connsiteX20" fmla="*/ 8403 w 10000"/>
                  <a:gd name="connsiteY20" fmla="*/ 0 h 10000"/>
                  <a:gd name="connsiteX21" fmla="*/ 9190 w 10000"/>
                  <a:gd name="connsiteY21" fmla="*/ 424 h 10000"/>
                  <a:gd name="connsiteX22" fmla="*/ 10000 w 10000"/>
                  <a:gd name="connsiteY22" fmla="*/ 1621 h 10000"/>
                  <a:gd name="connsiteX23" fmla="*/ 9190 w 10000"/>
                  <a:gd name="connsiteY23" fmla="*/ 1995 h 10000"/>
                  <a:gd name="connsiteX24" fmla="*/ 8403 w 10000"/>
                  <a:gd name="connsiteY24" fmla="*/ 1621 h 10000"/>
                  <a:gd name="connsiteX25" fmla="*/ 8010 w 10000"/>
                  <a:gd name="connsiteY25" fmla="*/ 1995 h 10000"/>
                  <a:gd name="connsiteX26" fmla="*/ 8403 w 10000"/>
                  <a:gd name="connsiteY26" fmla="*/ 2394 h 10000"/>
                  <a:gd name="connsiteX27" fmla="*/ 8010 w 10000"/>
                  <a:gd name="connsiteY27" fmla="*/ 3192 h 10000"/>
                  <a:gd name="connsiteX28" fmla="*/ 8796 w 10000"/>
                  <a:gd name="connsiteY28" fmla="*/ 3591 h 10000"/>
                  <a:gd name="connsiteX29" fmla="*/ 8796 w 10000"/>
                  <a:gd name="connsiteY29" fmla="*/ 4015 h 10000"/>
                  <a:gd name="connsiteX30" fmla="*/ 8403 w 10000"/>
                  <a:gd name="connsiteY30" fmla="*/ 4015 h 10000"/>
                  <a:gd name="connsiteX31" fmla="*/ 8796 w 10000"/>
                  <a:gd name="connsiteY31" fmla="*/ 4389 h 10000"/>
                  <a:gd name="connsiteX32" fmla="*/ 6806 w 10000"/>
                  <a:gd name="connsiteY32" fmla="*/ 6783 h 10000"/>
                  <a:gd name="connsiteX33" fmla="*/ 5995 w 10000"/>
                  <a:gd name="connsiteY33" fmla="*/ 7182 h 10000"/>
                  <a:gd name="connsiteX34" fmla="*/ 5602 w 10000"/>
                  <a:gd name="connsiteY34" fmla="*/ 6783 h 10000"/>
                  <a:gd name="connsiteX35" fmla="*/ 5208 w 10000"/>
                  <a:gd name="connsiteY35" fmla="*/ 7182 h 10000"/>
                  <a:gd name="connsiteX36" fmla="*/ 5208 w 10000"/>
                  <a:gd name="connsiteY36" fmla="*/ 7980 h 10000"/>
                  <a:gd name="connsiteX37" fmla="*/ 5602 w 10000"/>
                  <a:gd name="connsiteY37" fmla="*/ 7980 h 10000"/>
                  <a:gd name="connsiteX38" fmla="*/ 5602 w 10000"/>
                  <a:gd name="connsiteY38" fmla="*/ 8379 h 10000"/>
                  <a:gd name="connsiteX39" fmla="*/ 5995 w 10000"/>
                  <a:gd name="connsiteY39" fmla="*/ 8379 h 10000"/>
                  <a:gd name="connsiteX40" fmla="*/ 5995 w 10000"/>
                  <a:gd name="connsiteY40" fmla="*/ 9177 h 10000"/>
                  <a:gd name="connsiteX41" fmla="*/ 5995 w 10000"/>
                  <a:gd name="connsiteY41" fmla="*/ 9576 h 10000"/>
                  <a:gd name="connsiteX42" fmla="*/ 4792 w 10000"/>
                  <a:gd name="connsiteY42" fmla="*/ 9576 h 10000"/>
                  <a:gd name="connsiteX43" fmla="*/ 4399 w 10000"/>
                  <a:gd name="connsiteY43" fmla="*/ 10000 h 10000"/>
                  <a:gd name="connsiteX44" fmla="*/ 4005 w 10000"/>
                  <a:gd name="connsiteY44" fmla="*/ 9576 h 10000"/>
                  <a:gd name="connsiteX45" fmla="*/ 3611 w 10000"/>
                  <a:gd name="connsiteY45" fmla="*/ 8803 h 10000"/>
                  <a:gd name="connsiteX46" fmla="*/ 2407 w 10000"/>
                  <a:gd name="connsiteY46" fmla="*/ 8803 h 10000"/>
                  <a:gd name="connsiteX47" fmla="*/ 1598 w 10000"/>
                  <a:gd name="connsiteY47" fmla="*/ 8803 h 10000"/>
                  <a:gd name="connsiteX48" fmla="*/ 394 w 10000"/>
                  <a:gd name="connsiteY48" fmla="*/ 8803 h 10000"/>
                  <a:gd name="connsiteX0" fmla="*/ 394 w 9190"/>
                  <a:gd name="connsiteY0" fmla="*/ 8803 h 10000"/>
                  <a:gd name="connsiteX1" fmla="*/ 394 w 9190"/>
                  <a:gd name="connsiteY1" fmla="*/ 8803 h 10000"/>
                  <a:gd name="connsiteX2" fmla="*/ 394 w 9190"/>
                  <a:gd name="connsiteY2" fmla="*/ 7980 h 10000"/>
                  <a:gd name="connsiteX3" fmla="*/ 1204 w 9190"/>
                  <a:gd name="connsiteY3" fmla="*/ 7606 h 10000"/>
                  <a:gd name="connsiteX4" fmla="*/ 811 w 9190"/>
                  <a:gd name="connsiteY4" fmla="*/ 6783 h 10000"/>
                  <a:gd name="connsiteX5" fmla="*/ 394 w 9190"/>
                  <a:gd name="connsiteY5" fmla="*/ 6409 h 10000"/>
                  <a:gd name="connsiteX6" fmla="*/ 0 w 9190"/>
                  <a:gd name="connsiteY6" fmla="*/ 5586 h 10000"/>
                  <a:gd name="connsiteX7" fmla="*/ 811 w 9190"/>
                  <a:gd name="connsiteY7" fmla="*/ 5985 h 10000"/>
                  <a:gd name="connsiteX8" fmla="*/ 3194 w 9190"/>
                  <a:gd name="connsiteY8" fmla="*/ 5586 h 10000"/>
                  <a:gd name="connsiteX9" fmla="*/ 3194 w 9190"/>
                  <a:gd name="connsiteY9" fmla="*/ 4788 h 10000"/>
                  <a:gd name="connsiteX10" fmla="*/ 3611 w 9190"/>
                  <a:gd name="connsiteY10" fmla="*/ 4389 h 10000"/>
                  <a:gd name="connsiteX11" fmla="*/ 5208 w 9190"/>
                  <a:gd name="connsiteY11" fmla="*/ 4015 h 10000"/>
                  <a:gd name="connsiteX12" fmla="*/ 5208 w 9190"/>
                  <a:gd name="connsiteY12" fmla="*/ 3192 h 10000"/>
                  <a:gd name="connsiteX13" fmla="*/ 5602 w 9190"/>
                  <a:gd name="connsiteY13" fmla="*/ 2818 h 10000"/>
                  <a:gd name="connsiteX14" fmla="*/ 5602 w 9190"/>
                  <a:gd name="connsiteY14" fmla="*/ 2394 h 10000"/>
                  <a:gd name="connsiteX15" fmla="*/ 5995 w 9190"/>
                  <a:gd name="connsiteY15" fmla="*/ 2394 h 10000"/>
                  <a:gd name="connsiteX16" fmla="*/ 6412 w 9190"/>
                  <a:gd name="connsiteY16" fmla="*/ 1621 h 10000"/>
                  <a:gd name="connsiteX17" fmla="*/ 6412 w 9190"/>
                  <a:gd name="connsiteY17" fmla="*/ 798 h 10000"/>
                  <a:gd name="connsiteX18" fmla="*/ 7200 w 9190"/>
                  <a:gd name="connsiteY18" fmla="*/ 424 h 10000"/>
                  <a:gd name="connsiteX19" fmla="*/ 8010 w 9190"/>
                  <a:gd name="connsiteY19" fmla="*/ 0 h 10000"/>
                  <a:gd name="connsiteX20" fmla="*/ 8403 w 9190"/>
                  <a:gd name="connsiteY20" fmla="*/ 0 h 10000"/>
                  <a:gd name="connsiteX21" fmla="*/ 9190 w 9190"/>
                  <a:gd name="connsiteY21" fmla="*/ 424 h 10000"/>
                  <a:gd name="connsiteX22" fmla="*/ 9190 w 9190"/>
                  <a:gd name="connsiteY22" fmla="*/ 1995 h 10000"/>
                  <a:gd name="connsiteX23" fmla="*/ 8403 w 9190"/>
                  <a:gd name="connsiteY23" fmla="*/ 1621 h 10000"/>
                  <a:gd name="connsiteX24" fmla="*/ 8010 w 9190"/>
                  <a:gd name="connsiteY24" fmla="*/ 1995 h 10000"/>
                  <a:gd name="connsiteX25" fmla="*/ 8403 w 9190"/>
                  <a:gd name="connsiteY25" fmla="*/ 2394 h 10000"/>
                  <a:gd name="connsiteX26" fmla="*/ 8010 w 9190"/>
                  <a:gd name="connsiteY26" fmla="*/ 3192 h 10000"/>
                  <a:gd name="connsiteX27" fmla="*/ 8796 w 9190"/>
                  <a:gd name="connsiteY27" fmla="*/ 3591 h 10000"/>
                  <a:gd name="connsiteX28" fmla="*/ 8796 w 9190"/>
                  <a:gd name="connsiteY28" fmla="*/ 4015 h 10000"/>
                  <a:gd name="connsiteX29" fmla="*/ 8403 w 9190"/>
                  <a:gd name="connsiteY29" fmla="*/ 4015 h 10000"/>
                  <a:gd name="connsiteX30" fmla="*/ 8796 w 9190"/>
                  <a:gd name="connsiteY30" fmla="*/ 4389 h 10000"/>
                  <a:gd name="connsiteX31" fmla="*/ 6806 w 9190"/>
                  <a:gd name="connsiteY31" fmla="*/ 6783 h 10000"/>
                  <a:gd name="connsiteX32" fmla="*/ 5995 w 9190"/>
                  <a:gd name="connsiteY32" fmla="*/ 7182 h 10000"/>
                  <a:gd name="connsiteX33" fmla="*/ 5602 w 9190"/>
                  <a:gd name="connsiteY33" fmla="*/ 6783 h 10000"/>
                  <a:gd name="connsiteX34" fmla="*/ 5208 w 9190"/>
                  <a:gd name="connsiteY34" fmla="*/ 7182 h 10000"/>
                  <a:gd name="connsiteX35" fmla="*/ 5208 w 9190"/>
                  <a:gd name="connsiteY35" fmla="*/ 7980 h 10000"/>
                  <a:gd name="connsiteX36" fmla="*/ 5602 w 9190"/>
                  <a:gd name="connsiteY36" fmla="*/ 7980 h 10000"/>
                  <a:gd name="connsiteX37" fmla="*/ 5602 w 9190"/>
                  <a:gd name="connsiteY37" fmla="*/ 8379 h 10000"/>
                  <a:gd name="connsiteX38" fmla="*/ 5995 w 9190"/>
                  <a:gd name="connsiteY38" fmla="*/ 8379 h 10000"/>
                  <a:gd name="connsiteX39" fmla="*/ 5995 w 9190"/>
                  <a:gd name="connsiteY39" fmla="*/ 9177 h 10000"/>
                  <a:gd name="connsiteX40" fmla="*/ 5995 w 9190"/>
                  <a:gd name="connsiteY40" fmla="*/ 9576 h 10000"/>
                  <a:gd name="connsiteX41" fmla="*/ 4792 w 9190"/>
                  <a:gd name="connsiteY41" fmla="*/ 9576 h 10000"/>
                  <a:gd name="connsiteX42" fmla="*/ 4399 w 9190"/>
                  <a:gd name="connsiteY42" fmla="*/ 10000 h 10000"/>
                  <a:gd name="connsiteX43" fmla="*/ 4005 w 9190"/>
                  <a:gd name="connsiteY43" fmla="*/ 9576 h 10000"/>
                  <a:gd name="connsiteX44" fmla="*/ 3611 w 9190"/>
                  <a:gd name="connsiteY44" fmla="*/ 8803 h 10000"/>
                  <a:gd name="connsiteX45" fmla="*/ 2407 w 9190"/>
                  <a:gd name="connsiteY45" fmla="*/ 8803 h 10000"/>
                  <a:gd name="connsiteX46" fmla="*/ 1598 w 9190"/>
                  <a:gd name="connsiteY46" fmla="*/ 8803 h 10000"/>
                  <a:gd name="connsiteX47" fmla="*/ 394 w 9190"/>
                  <a:gd name="connsiteY47" fmla="*/ 8803 h 10000"/>
                  <a:gd name="connsiteX0" fmla="*/ 429 w 10000"/>
                  <a:gd name="connsiteY0" fmla="*/ 8803 h 10000"/>
                  <a:gd name="connsiteX1" fmla="*/ 429 w 10000"/>
                  <a:gd name="connsiteY1" fmla="*/ 8803 h 10000"/>
                  <a:gd name="connsiteX2" fmla="*/ 429 w 10000"/>
                  <a:gd name="connsiteY2" fmla="*/ 7980 h 10000"/>
                  <a:gd name="connsiteX3" fmla="*/ 1310 w 10000"/>
                  <a:gd name="connsiteY3" fmla="*/ 7606 h 10000"/>
                  <a:gd name="connsiteX4" fmla="*/ 882 w 10000"/>
                  <a:gd name="connsiteY4" fmla="*/ 6783 h 10000"/>
                  <a:gd name="connsiteX5" fmla="*/ 429 w 10000"/>
                  <a:gd name="connsiteY5" fmla="*/ 6409 h 10000"/>
                  <a:gd name="connsiteX6" fmla="*/ 0 w 10000"/>
                  <a:gd name="connsiteY6" fmla="*/ 5586 h 10000"/>
                  <a:gd name="connsiteX7" fmla="*/ 882 w 10000"/>
                  <a:gd name="connsiteY7" fmla="*/ 5985 h 10000"/>
                  <a:gd name="connsiteX8" fmla="*/ 3476 w 10000"/>
                  <a:gd name="connsiteY8" fmla="*/ 5586 h 10000"/>
                  <a:gd name="connsiteX9" fmla="*/ 3476 w 10000"/>
                  <a:gd name="connsiteY9" fmla="*/ 4788 h 10000"/>
                  <a:gd name="connsiteX10" fmla="*/ 3929 w 10000"/>
                  <a:gd name="connsiteY10" fmla="*/ 4389 h 10000"/>
                  <a:gd name="connsiteX11" fmla="*/ 5667 w 10000"/>
                  <a:gd name="connsiteY11" fmla="*/ 4015 h 10000"/>
                  <a:gd name="connsiteX12" fmla="*/ 5667 w 10000"/>
                  <a:gd name="connsiteY12" fmla="*/ 3192 h 10000"/>
                  <a:gd name="connsiteX13" fmla="*/ 6096 w 10000"/>
                  <a:gd name="connsiteY13" fmla="*/ 2818 h 10000"/>
                  <a:gd name="connsiteX14" fmla="*/ 6096 w 10000"/>
                  <a:gd name="connsiteY14" fmla="*/ 2394 h 10000"/>
                  <a:gd name="connsiteX15" fmla="*/ 6523 w 10000"/>
                  <a:gd name="connsiteY15" fmla="*/ 2394 h 10000"/>
                  <a:gd name="connsiteX16" fmla="*/ 6977 w 10000"/>
                  <a:gd name="connsiteY16" fmla="*/ 1621 h 10000"/>
                  <a:gd name="connsiteX17" fmla="*/ 6977 w 10000"/>
                  <a:gd name="connsiteY17" fmla="*/ 798 h 10000"/>
                  <a:gd name="connsiteX18" fmla="*/ 7835 w 10000"/>
                  <a:gd name="connsiteY18" fmla="*/ 424 h 10000"/>
                  <a:gd name="connsiteX19" fmla="*/ 8716 w 10000"/>
                  <a:gd name="connsiteY19" fmla="*/ 0 h 10000"/>
                  <a:gd name="connsiteX20" fmla="*/ 9144 w 10000"/>
                  <a:gd name="connsiteY20" fmla="*/ 0 h 10000"/>
                  <a:gd name="connsiteX21" fmla="*/ 10000 w 10000"/>
                  <a:gd name="connsiteY21" fmla="*/ 424 h 10000"/>
                  <a:gd name="connsiteX22" fmla="*/ 9144 w 10000"/>
                  <a:gd name="connsiteY22" fmla="*/ 1621 h 10000"/>
                  <a:gd name="connsiteX23" fmla="*/ 8716 w 10000"/>
                  <a:gd name="connsiteY23" fmla="*/ 1995 h 10000"/>
                  <a:gd name="connsiteX24" fmla="*/ 9144 w 10000"/>
                  <a:gd name="connsiteY24" fmla="*/ 2394 h 10000"/>
                  <a:gd name="connsiteX25" fmla="*/ 8716 w 10000"/>
                  <a:gd name="connsiteY25" fmla="*/ 3192 h 10000"/>
                  <a:gd name="connsiteX26" fmla="*/ 9571 w 10000"/>
                  <a:gd name="connsiteY26" fmla="*/ 3591 h 10000"/>
                  <a:gd name="connsiteX27" fmla="*/ 9571 w 10000"/>
                  <a:gd name="connsiteY27" fmla="*/ 4015 h 10000"/>
                  <a:gd name="connsiteX28" fmla="*/ 9144 w 10000"/>
                  <a:gd name="connsiteY28" fmla="*/ 4015 h 10000"/>
                  <a:gd name="connsiteX29" fmla="*/ 9571 w 10000"/>
                  <a:gd name="connsiteY29" fmla="*/ 4389 h 10000"/>
                  <a:gd name="connsiteX30" fmla="*/ 7406 w 10000"/>
                  <a:gd name="connsiteY30" fmla="*/ 6783 h 10000"/>
                  <a:gd name="connsiteX31" fmla="*/ 6523 w 10000"/>
                  <a:gd name="connsiteY31" fmla="*/ 7182 h 10000"/>
                  <a:gd name="connsiteX32" fmla="*/ 6096 w 10000"/>
                  <a:gd name="connsiteY32" fmla="*/ 6783 h 10000"/>
                  <a:gd name="connsiteX33" fmla="*/ 5667 w 10000"/>
                  <a:gd name="connsiteY33" fmla="*/ 7182 h 10000"/>
                  <a:gd name="connsiteX34" fmla="*/ 5667 w 10000"/>
                  <a:gd name="connsiteY34" fmla="*/ 7980 h 10000"/>
                  <a:gd name="connsiteX35" fmla="*/ 6096 w 10000"/>
                  <a:gd name="connsiteY35" fmla="*/ 7980 h 10000"/>
                  <a:gd name="connsiteX36" fmla="*/ 6096 w 10000"/>
                  <a:gd name="connsiteY36" fmla="*/ 8379 h 10000"/>
                  <a:gd name="connsiteX37" fmla="*/ 6523 w 10000"/>
                  <a:gd name="connsiteY37" fmla="*/ 8379 h 10000"/>
                  <a:gd name="connsiteX38" fmla="*/ 6523 w 10000"/>
                  <a:gd name="connsiteY38" fmla="*/ 9177 h 10000"/>
                  <a:gd name="connsiteX39" fmla="*/ 6523 w 10000"/>
                  <a:gd name="connsiteY39" fmla="*/ 9576 h 10000"/>
                  <a:gd name="connsiteX40" fmla="*/ 5214 w 10000"/>
                  <a:gd name="connsiteY40" fmla="*/ 9576 h 10000"/>
                  <a:gd name="connsiteX41" fmla="*/ 4787 w 10000"/>
                  <a:gd name="connsiteY41" fmla="*/ 10000 h 10000"/>
                  <a:gd name="connsiteX42" fmla="*/ 4358 w 10000"/>
                  <a:gd name="connsiteY42" fmla="*/ 9576 h 10000"/>
                  <a:gd name="connsiteX43" fmla="*/ 3929 w 10000"/>
                  <a:gd name="connsiteY43" fmla="*/ 8803 h 10000"/>
                  <a:gd name="connsiteX44" fmla="*/ 2619 w 10000"/>
                  <a:gd name="connsiteY44" fmla="*/ 8803 h 10000"/>
                  <a:gd name="connsiteX45" fmla="*/ 1739 w 10000"/>
                  <a:gd name="connsiteY45" fmla="*/ 8803 h 10000"/>
                  <a:gd name="connsiteX46" fmla="*/ 429 w 10000"/>
                  <a:gd name="connsiteY46" fmla="*/ 8803 h 10000"/>
                  <a:gd name="connsiteX0" fmla="*/ 429 w 9571"/>
                  <a:gd name="connsiteY0" fmla="*/ 8803 h 10000"/>
                  <a:gd name="connsiteX1" fmla="*/ 429 w 9571"/>
                  <a:gd name="connsiteY1" fmla="*/ 8803 h 10000"/>
                  <a:gd name="connsiteX2" fmla="*/ 429 w 9571"/>
                  <a:gd name="connsiteY2" fmla="*/ 7980 h 10000"/>
                  <a:gd name="connsiteX3" fmla="*/ 1310 w 9571"/>
                  <a:gd name="connsiteY3" fmla="*/ 7606 h 10000"/>
                  <a:gd name="connsiteX4" fmla="*/ 882 w 9571"/>
                  <a:gd name="connsiteY4" fmla="*/ 6783 h 10000"/>
                  <a:gd name="connsiteX5" fmla="*/ 429 w 9571"/>
                  <a:gd name="connsiteY5" fmla="*/ 6409 h 10000"/>
                  <a:gd name="connsiteX6" fmla="*/ 0 w 9571"/>
                  <a:gd name="connsiteY6" fmla="*/ 5586 h 10000"/>
                  <a:gd name="connsiteX7" fmla="*/ 882 w 9571"/>
                  <a:gd name="connsiteY7" fmla="*/ 5985 h 10000"/>
                  <a:gd name="connsiteX8" fmla="*/ 3476 w 9571"/>
                  <a:gd name="connsiteY8" fmla="*/ 5586 h 10000"/>
                  <a:gd name="connsiteX9" fmla="*/ 3476 w 9571"/>
                  <a:gd name="connsiteY9" fmla="*/ 4788 h 10000"/>
                  <a:gd name="connsiteX10" fmla="*/ 3929 w 9571"/>
                  <a:gd name="connsiteY10" fmla="*/ 4389 h 10000"/>
                  <a:gd name="connsiteX11" fmla="*/ 5667 w 9571"/>
                  <a:gd name="connsiteY11" fmla="*/ 4015 h 10000"/>
                  <a:gd name="connsiteX12" fmla="*/ 5667 w 9571"/>
                  <a:gd name="connsiteY12" fmla="*/ 3192 h 10000"/>
                  <a:gd name="connsiteX13" fmla="*/ 6096 w 9571"/>
                  <a:gd name="connsiteY13" fmla="*/ 2818 h 10000"/>
                  <a:gd name="connsiteX14" fmla="*/ 6096 w 9571"/>
                  <a:gd name="connsiteY14" fmla="*/ 2394 h 10000"/>
                  <a:gd name="connsiteX15" fmla="*/ 6523 w 9571"/>
                  <a:gd name="connsiteY15" fmla="*/ 2394 h 10000"/>
                  <a:gd name="connsiteX16" fmla="*/ 6977 w 9571"/>
                  <a:gd name="connsiteY16" fmla="*/ 1621 h 10000"/>
                  <a:gd name="connsiteX17" fmla="*/ 6977 w 9571"/>
                  <a:gd name="connsiteY17" fmla="*/ 798 h 10000"/>
                  <a:gd name="connsiteX18" fmla="*/ 7835 w 9571"/>
                  <a:gd name="connsiteY18" fmla="*/ 424 h 10000"/>
                  <a:gd name="connsiteX19" fmla="*/ 8716 w 9571"/>
                  <a:gd name="connsiteY19" fmla="*/ 0 h 10000"/>
                  <a:gd name="connsiteX20" fmla="*/ 9144 w 9571"/>
                  <a:gd name="connsiteY20" fmla="*/ 0 h 10000"/>
                  <a:gd name="connsiteX21" fmla="*/ 9144 w 9571"/>
                  <a:gd name="connsiteY21" fmla="*/ 1621 h 10000"/>
                  <a:gd name="connsiteX22" fmla="*/ 8716 w 9571"/>
                  <a:gd name="connsiteY22" fmla="*/ 1995 h 10000"/>
                  <a:gd name="connsiteX23" fmla="*/ 9144 w 9571"/>
                  <a:gd name="connsiteY23" fmla="*/ 2394 h 10000"/>
                  <a:gd name="connsiteX24" fmla="*/ 8716 w 9571"/>
                  <a:gd name="connsiteY24" fmla="*/ 3192 h 10000"/>
                  <a:gd name="connsiteX25" fmla="*/ 9571 w 9571"/>
                  <a:gd name="connsiteY25" fmla="*/ 3591 h 10000"/>
                  <a:gd name="connsiteX26" fmla="*/ 9571 w 9571"/>
                  <a:gd name="connsiteY26" fmla="*/ 4015 h 10000"/>
                  <a:gd name="connsiteX27" fmla="*/ 9144 w 9571"/>
                  <a:gd name="connsiteY27" fmla="*/ 4015 h 10000"/>
                  <a:gd name="connsiteX28" fmla="*/ 9571 w 9571"/>
                  <a:gd name="connsiteY28" fmla="*/ 4389 h 10000"/>
                  <a:gd name="connsiteX29" fmla="*/ 7406 w 9571"/>
                  <a:gd name="connsiteY29" fmla="*/ 6783 h 10000"/>
                  <a:gd name="connsiteX30" fmla="*/ 6523 w 9571"/>
                  <a:gd name="connsiteY30" fmla="*/ 7182 h 10000"/>
                  <a:gd name="connsiteX31" fmla="*/ 6096 w 9571"/>
                  <a:gd name="connsiteY31" fmla="*/ 6783 h 10000"/>
                  <a:gd name="connsiteX32" fmla="*/ 5667 w 9571"/>
                  <a:gd name="connsiteY32" fmla="*/ 7182 h 10000"/>
                  <a:gd name="connsiteX33" fmla="*/ 5667 w 9571"/>
                  <a:gd name="connsiteY33" fmla="*/ 7980 h 10000"/>
                  <a:gd name="connsiteX34" fmla="*/ 6096 w 9571"/>
                  <a:gd name="connsiteY34" fmla="*/ 7980 h 10000"/>
                  <a:gd name="connsiteX35" fmla="*/ 6096 w 9571"/>
                  <a:gd name="connsiteY35" fmla="*/ 8379 h 10000"/>
                  <a:gd name="connsiteX36" fmla="*/ 6523 w 9571"/>
                  <a:gd name="connsiteY36" fmla="*/ 8379 h 10000"/>
                  <a:gd name="connsiteX37" fmla="*/ 6523 w 9571"/>
                  <a:gd name="connsiteY37" fmla="*/ 9177 h 10000"/>
                  <a:gd name="connsiteX38" fmla="*/ 6523 w 9571"/>
                  <a:gd name="connsiteY38" fmla="*/ 9576 h 10000"/>
                  <a:gd name="connsiteX39" fmla="*/ 5214 w 9571"/>
                  <a:gd name="connsiteY39" fmla="*/ 9576 h 10000"/>
                  <a:gd name="connsiteX40" fmla="*/ 4787 w 9571"/>
                  <a:gd name="connsiteY40" fmla="*/ 10000 h 10000"/>
                  <a:gd name="connsiteX41" fmla="*/ 4358 w 9571"/>
                  <a:gd name="connsiteY41" fmla="*/ 9576 h 10000"/>
                  <a:gd name="connsiteX42" fmla="*/ 3929 w 9571"/>
                  <a:gd name="connsiteY42" fmla="*/ 8803 h 10000"/>
                  <a:gd name="connsiteX43" fmla="*/ 2619 w 9571"/>
                  <a:gd name="connsiteY43" fmla="*/ 8803 h 10000"/>
                  <a:gd name="connsiteX44" fmla="*/ 1739 w 9571"/>
                  <a:gd name="connsiteY44" fmla="*/ 8803 h 10000"/>
                  <a:gd name="connsiteX45" fmla="*/ 429 w 9571"/>
                  <a:gd name="connsiteY45" fmla="*/ 8803 h 10000"/>
                  <a:gd name="connsiteX0" fmla="*/ 448 w 10000"/>
                  <a:gd name="connsiteY0" fmla="*/ 8803 h 10000"/>
                  <a:gd name="connsiteX1" fmla="*/ 448 w 10000"/>
                  <a:gd name="connsiteY1" fmla="*/ 8803 h 10000"/>
                  <a:gd name="connsiteX2" fmla="*/ 448 w 10000"/>
                  <a:gd name="connsiteY2" fmla="*/ 7980 h 10000"/>
                  <a:gd name="connsiteX3" fmla="*/ 1369 w 10000"/>
                  <a:gd name="connsiteY3" fmla="*/ 7606 h 10000"/>
                  <a:gd name="connsiteX4" fmla="*/ 922 w 10000"/>
                  <a:gd name="connsiteY4" fmla="*/ 6783 h 10000"/>
                  <a:gd name="connsiteX5" fmla="*/ 448 w 10000"/>
                  <a:gd name="connsiteY5" fmla="*/ 6409 h 10000"/>
                  <a:gd name="connsiteX6" fmla="*/ 0 w 10000"/>
                  <a:gd name="connsiteY6" fmla="*/ 5586 h 10000"/>
                  <a:gd name="connsiteX7" fmla="*/ 922 w 10000"/>
                  <a:gd name="connsiteY7" fmla="*/ 5985 h 10000"/>
                  <a:gd name="connsiteX8" fmla="*/ 3632 w 10000"/>
                  <a:gd name="connsiteY8" fmla="*/ 5586 h 10000"/>
                  <a:gd name="connsiteX9" fmla="*/ 3632 w 10000"/>
                  <a:gd name="connsiteY9" fmla="*/ 4788 h 10000"/>
                  <a:gd name="connsiteX10" fmla="*/ 4105 w 10000"/>
                  <a:gd name="connsiteY10" fmla="*/ 4389 h 10000"/>
                  <a:gd name="connsiteX11" fmla="*/ 5921 w 10000"/>
                  <a:gd name="connsiteY11" fmla="*/ 4015 h 10000"/>
                  <a:gd name="connsiteX12" fmla="*/ 5921 w 10000"/>
                  <a:gd name="connsiteY12" fmla="*/ 3192 h 10000"/>
                  <a:gd name="connsiteX13" fmla="*/ 6369 w 10000"/>
                  <a:gd name="connsiteY13" fmla="*/ 2818 h 10000"/>
                  <a:gd name="connsiteX14" fmla="*/ 6369 w 10000"/>
                  <a:gd name="connsiteY14" fmla="*/ 2394 h 10000"/>
                  <a:gd name="connsiteX15" fmla="*/ 6815 w 10000"/>
                  <a:gd name="connsiteY15" fmla="*/ 2394 h 10000"/>
                  <a:gd name="connsiteX16" fmla="*/ 7290 w 10000"/>
                  <a:gd name="connsiteY16" fmla="*/ 1621 h 10000"/>
                  <a:gd name="connsiteX17" fmla="*/ 7290 w 10000"/>
                  <a:gd name="connsiteY17" fmla="*/ 798 h 10000"/>
                  <a:gd name="connsiteX18" fmla="*/ 8186 w 10000"/>
                  <a:gd name="connsiteY18" fmla="*/ 424 h 10000"/>
                  <a:gd name="connsiteX19" fmla="*/ 9107 w 10000"/>
                  <a:gd name="connsiteY19" fmla="*/ 0 h 10000"/>
                  <a:gd name="connsiteX20" fmla="*/ 9554 w 10000"/>
                  <a:gd name="connsiteY20" fmla="*/ 0 h 10000"/>
                  <a:gd name="connsiteX21" fmla="*/ 8652 w 10000"/>
                  <a:gd name="connsiteY21" fmla="*/ 800 h 10000"/>
                  <a:gd name="connsiteX22" fmla="*/ 9554 w 10000"/>
                  <a:gd name="connsiteY22" fmla="*/ 1621 h 10000"/>
                  <a:gd name="connsiteX23" fmla="*/ 9107 w 10000"/>
                  <a:gd name="connsiteY23" fmla="*/ 1995 h 10000"/>
                  <a:gd name="connsiteX24" fmla="*/ 9554 w 10000"/>
                  <a:gd name="connsiteY24" fmla="*/ 2394 h 10000"/>
                  <a:gd name="connsiteX25" fmla="*/ 9107 w 10000"/>
                  <a:gd name="connsiteY25" fmla="*/ 3192 h 10000"/>
                  <a:gd name="connsiteX26" fmla="*/ 10000 w 10000"/>
                  <a:gd name="connsiteY26" fmla="*/ 3591 h 10000"/>
                  <a:gd name="connsiteX27" fmla="*/ 10000 w 10000"/>
                  <a:gd name="connsiteY27" fmla="*/ 4015 h 10000"/>
                  <a:gd name="connsiteX28" fmla="*/ 9554 w 10000"/>
                  <a:gd name="connsiteY28" fmla="*/ 4015 h 10000"/>
                  <a:gd name="connsiteX29" fmla="*/ 10000 w 10000"/>
                  <a:gd name="connsiteY29" fmla="*/ 4389 h 10000"/>
                  <a:gd name="connsiteX30" fmla="*/ 7738 w 10000"/>
                  <a:gd name="connsiteY30" fmla="*/ 6783 h 10000"/>
                  <a:gd name="connsiteX31" fmla="*/ 6815 w 10000"/>
                  <a:gd name="connsiteY31" fmla="*/ 7182 h 10000"/>
                  <a:gd name="connsiteX32" fmla="*/ 6369 w 10000"/>
                  <a:gd name="connsiteY32" fmla="*/ 6783 h 10000"/>
                  <a:gd name="connsiteX33" fmla="*/ 5921 w 10000"/>
                  <a:gd name="connsiteY33" fmla="*/ 7182 h 10000"/>
                  <a:gd name="connsiteX34" fmla="*/ 5921 w 10000"/>
                  <a:gd name="connsiteY34" fmla="*/ 7980 h 10000"/>
                  <a:gd name="connsiteX35" fmla="*/ 6369 w 10000"/>
                  <a:gd name="connsiteY35" fmla="*/ 7980 h 10000"/>
                  <a:gd name="connsiteX36" fmla="*/ 6369 w 10000"/>
                  <a:gd name="connsiteY36" fmla="*/ 8379 h 10000"/>
                  <a:gd name="connsiteX37" fmla="*/ 6815 w 10000"/>
                  <a:gd name="connsiteY37" fmla="*/ 8379 h 10000"/>
                  <a:gd name="connsiteX38" fmla="*/ 6815 w 10000"/>
                  <a:gd name="connsiteY38" fmla="*/ 9177 h 10000"/>
                  <a:gd name="connsiteX39" fmla="*/ 6815 w 10000"/>
                  <a:gd name="connsiteY39" fmla="*/ 9576 h 10000"/>
                  <a:gd name="connsiteX40" fmla="*/ 5448 w 10000"/>
                  <a:gd name="connsiteY40" fmla="*/ 9576 h 10000"/>
                  <a:gd name="connsiteX41" fmla="*/ 5002 w 10000"/>
                  <a:gd name="connsiteY41" fmla="*/ 10000 h 10000"/>
                  <a:gd name="connsiteX42" fmla="*/ 4553 w 10000"/>
                  <a:gd name="connsiteY42" fmla="*/ 9576 h 10000"/>
                  <a:gd name="connsiteX43" fmla="*/ 4105 w 10000"/>
                  <a:gd name="connsiteY43" fmla="*/ 8803 h 10000"/>
                  <a:gd name="connsiteX44" fmla="*/ 2736 w 10000"/>
                  <a:gd name="connsiteY44" fmla="*/ 8803 h 10000"/>
                  <a:gd name="connsiteX45" fmla="*/ 1817 w 10000"/>
                  <a:gd name="connsiteY45" fmla="*/ 8803 h 10000"/>
                  <a:gd name="connsiteX46" fmla="*/ 448 w 10000"/>
                  <a:gd name="connsiteY46" fmla="*/ 8803 h 10000"/>
                  <a:gd name="connsiteX0" fmla="*/ 448 w 10023"/>
                  <a:gd name="connsiteY0" fmla="*/ 8803 h 10000"/>
                  <a:gd name="connsiteX1" fmla="*/ 448 w 10023"/>
                  <a:gd name="connsiteY1" fmla="*/ 8803 h 10000"/>
                  <a:gd name="connsiteX2" fmla="*/ 448 w 10023"/>
                  <a:gd name="connsiteY2" fmla="*/ 7980 h 10000"/>
                  <a:gd name="connsiteX3" fmla="*/ 1369 w 10023"/>
                  <a:gd name="connsiteY3" fmla="*/ 7606 h 10000"/>
                  <a:gd name="connsiteX4" fmla="*/ 922 w 10023"/>
                  <a:gd name="connsiteY4" fmla="*/ 6783 h 10000"/>
                  <a:gd name="connsiteX5" fmla="*/ 448 w 10023"/>
                  <a:gd name="connsiteY5" fmla="*/ 6409 h 10000"/>
                  <a:gd name="connsiteX6" fmla="*/ 0 w 10023"/>
                  <a:gd name="connsiteY6" fmla="*/ 5586 h 10000"/>
                  <a:gd name="connsiteX7" fmla="*/ 922 w 10023"/>
                  <a:gd name="connsiteY7" fmla="*/ 5985 h 10000"/>
                  <a:gd name="connsiteX8" fmla="*/ 3632 w 10023"/>
                  <a:gd name="connsiteY8" fmla="*/ 5586 h 10000"/>
                  <a:gd name="connsiteX9" fmla="*/ 3632 w 10023"/>
                  <a:gd name="connsiteY9" fmla="*/ 4788 h 10000"/>
                  <a:gd name="connsiteX10" fmla="*/ 4105 w 10023"/>
                  <a:gd name="connsiteY10" fmla="*/ 4389 h 10000"/>
                  <a:gd name="connsiteX11" fmla="*/ 5921 w 10023"/>
                  <a:gd name="connsiteY11" fmla="*/ 4015 h 10000"/>
                  <a:gd name="connsiteX12" fmla="*/ 5921 w 10023"/>
                  <a:gd name="connsiteY12" fmla="*/ 3192 h 10000"/>
                  <a:gd name="connsiteX13" fmla="*/ 6369 w 10023"/>
                  <a:gd name="connsiteY13" fmla="*/ 2818 h 10000"/>
                  <a:gd name="connsiteX14" fmla="*/ 6369 w 10023"/>
                  <a:gd name="connsiteY14" fmla="*/ 2394 h 10000"/>
                  <a:gd name="connsiteX15" fmla="*/ 6815 w 10023"/>
                  <a:gd name="connsiteY15" fmla="*/ 2394 h 10000"/>
                  <a:gd name="connsiteX16" fmla="*/ 7290 w 10023"/>
                  <a:gd name="connsiteY16" fmla="*/ 1621 h 10000"/>
                  <a:gd name="connsiteX17" fmla="*/ 7290 w 10023"/>
                  <a:gd name="connsiteY17" fmla="*/ 798 h 10000"/>
                  <a:gd name="connsiteX18" fmla="*/ 8186 w 10023"/>
                  <a:gd name="connsiteY18" fmla="*/ 424 h 10000"/>
                  <a:gd name="connsiteX19" fmla="*/ 9107 w 10023"/>
                  <a:gd name="connsiteY19" fmla="*/ 0 h 10000"/>
                  <a:gd name="connsiteX20" fmla="*/ 9554 w 10023"/>
                  <a:gd name="connsiteY20" fmla="*/ 0 h 10000"/>
                  <a:gd name="connsiteX21" fmla="*/ 8652 w 10023"/>
                  <a:gd name="connsiteY21" fmla="*/ 800 h 10000"/>
                  <a:gd name="connsiteX22" fmla="*/ 9554 w 10023"/>
                  <a:gd name="connsiteY22" fmla="*/ 1621 h 10000"/>
                  <a:gd name="connsiteX23" fmla="*/ 9107 w 10023"/>
                  <a:gd name="connsiteY23" fmla="*/ 1995 h 10000"/>
                  <a:gd name="connsiteX24" fmla="*/ 9554 w 10023"/>
                  <a:gd name="connsiteY24" fmla="*/ 2394 h 10000"/>
                  <a:gd name="connsiteX25" fmla="*/ 10023 w 10023"/>
                  <a:gd name="connsiteY25" fmla="*/ 2850 h 10000"/>
                  <a:gd name="connsiteX26" fmla="*/ 10000 w 10023"/>
                  <a:gd name="connsiteY26" fmla="*/ 3591 h 10000"/>
                  <a:gd name="connsiteX27" fmla="*/ 10000 w 10023"/>
                  <a:gd name="connsiteY27" fmla="*/ 4015 h 10000"/>
                  <a:gd name="connsiteX28" fmla="*/ 9554 w 10023"/>
                  <a:gd name="connsiteY28" fmla="*/ 4015 h 10000"/>
                  <a:gd name="connsiteX29" fmla="*/ 10000 w 10023"/>
                  <a:gd name="connsiteY29" fmla="*/ 4389 h 10000"/>
                  <a:gd name="connsiteX30" fmla="*/ 7738 w 10023"/>
                  <a:gd name="connsiteY30" fmla="*/ 6783 h 10000"/>
                  <a:gd name="connsiteX31" fmla="*/ 6815 w 10023"/>
                  <a:gd name="connsiteY31" fmla="*/ 7182 h 10000"/>
                  <a:gd name="connsiteX32" fmla="*/ 6369 w 10023"/>
                  <a:gd name="connsiteY32" fmla="*/ 6783 h 10000"/>
                  <a:gd name="connsiteX33" fmla="*/ 5921 w 10023"/>
                  <a:gd name="connsiteY33" fmla="*/ 7182 h 10000"/>
                  <a:gd name="connsiteX34" fmla="*/ 5921 w 10023"/>
                  <a:gd name="connsiteY34" fmla="*/ 7980 h 10000"/>
                  <a:gd name="connsiteX35" fmla="*/ 6369 w 10023"/>
                  <a:gd name="connsiteY35" fmla="*/ 7980 h 10000"/>
                  <a:gd name="connsiteX36" fmla="*/ 6369 w 10023"/>
                  <a:gd name="connsiteY36" fmla="*/ 8379 h 10000"/>
                  <a:gd name="connsiteX37" fmla="*/ 6815 w 10023"/>
                  <a:gd name="connsiteY37" fmla="*/ 8379 h 10000"/>
                  <a:gd name="connsiteX38" fmla="*/ 6815 w 10023"/>
                  <a:gd name="connsiteY38" fmla="*/ 9177 h 10000"/>
                  <a:gd name="connsiteX39" fmla="*/ 6815 w 10023"/>
                  <a:gd name="connsiteY39" fmla="*/ 9576 h 10000"/>
                  <a:gd name="connsiteX40" fmla="*/ 5448 w 10023"/>
                  <a:gd name="connsiteY40" fmla="*/ 9576 h 10000"/>
                  <a:gd name="connsiteX41" fmla="*/ 5002 w 10023"/>
                  <a:gd name="connsiteY41" fmla="*/ 10000 h 10000"/>
                  <a:gd name="connsiteX42" fmla="*/ 4553 w 10023"/>
                  <a:gd name="connsiteY42" fmla="*/ 9576 h 10000"/>
                  <a:gd name="connsiteX43" fmla="*/ 4105 w 10023"/>
                  <a:gd name="connsiteY43" fmla="*/ 8803 h 10000"/>
                  <a:gd name="connsiteX44" fmla="*/ 2736 w 10023"/>
                  <a:gd name="connsiteY44" fmla="*/ 8803 h 10000"/>
                  <a:gd name="connsiteX45" fmla="*/ 1817 w 10023"/>
                  <a:gd name="connsiteY45" fmla="*/ 8803 h 10000"/>
                  <a:gd name="connsiteX46" fmla="*/ 448 w 10023"/>
                  <a:gd name="connsiteY46" fmla="*/ 8803 h 10000"/>
                  <a:gd name="connsiteX0" fmla="*/ 448 w 10023"/>
                  <a:gd name="connsiteY0" fmla="*/ 8803 h 10000"/>
                  <a:gd name="connsiteX1" fmla="*/ 448 w 10023"/>
                  <a:gd name="connsiteY1" fmla="*/ 8803 h 10000"/>
                  <a:gd name="connsiteX2" fmla="*/ 448 w 10023"/>
                  <a:gd name="connsiteY2" fmla="*/ 7980 h 10000"/>
                  <a:gd name="connsiteX3" fmla="*/ 1369 w 10023"/>
                  <a:gd name="connsiteY3" fmla="*/ 7606 h 10000"/>
                  <a:gd name="connsiteX4" fmla="*/ 922 w 10023"/>
                  <a:gd name="connsiteY4" fmla="*/ 6783 h 10000"/>
                  <a:gd name="connsiteX5" fmla="*/ 448 w 10023"/>
                  <a:gd name="connsiteY5" fmla="*/ 6409 h 10000"/>
                  <a:gd name="connsiteX6" fmla="*/ 0 w 10023"/>
                  <a:gd name="connsiteY6" fmla="*/ 5586 h 10000"/>
                  <a:gd name="connsiteX7" fmla="*/ 922 w 10023"/>
                  <a:gd name="connsiteY7" fmla="*/ 5985 h 10000"/>
                  <a:gd name="connsiteX8" fmla="*/ 3632 w 10023"/>
                  <a:gd name="connsiteY8" fmla="*/ 5586 h 10000"/>
                  <a:gd name="connsiteX9" fmla="*/ 3632 w 10023"/>
                  <a:gd name="connsiteY9" fmla="*/ 4788 h 10000"/>
                  <a:gd name="connsiteX10" fmla="*/ 4105 w 10023"/>
                  <a:gd name="connsiteY10" fmla="*/ 4389 h 10000"/>
                  <a:gd name="connsiteX11" fmla="*/ 5921 w 10023"/>
                  <a:gd name="connsiteY11" fmla="*/ 4015 h 10000"/>
                  <a:gd name="connsiteX12" fmla="*/ 5921 w 10023"/>
                  <a:gd name="connsiteY12" fmla="*/ 3192 h 10000"/>
                  <a:gd name="connsiteX13" fmla="*/ 6369 w 10023"/>
                  <a:gd name="connsiteY13" fmla="*/ 2818 h 10000"/>
                  <a:gd name="connsiteX14" fmla="*/ 6369 w 10023"/>
                  <a:gd name="connsiteY14" fmla="*/ 2394 h 10000"/>
                  <a:gd name="connsiteX15" fmla="*/ 6815 w 10023"/>
                  <a:gd name="connsiteY15" fmla="*/ 2394 h 10000"/>
                  <a:gd name="connsiteX16" fmla="*/ 7290 w 10023"/>
                  <a:gd name="connsiteY16" fmla="*/ 1621 h 10000"/>
                  <a:gd name="connsiteX17" fmla="*/ 7290 w 10023"/>
                  <a:gd name="connsiteY17" fmla="*/ 798 h 10000"/>
                  <a:gd name="connsiteX18" fmla="*/ 8186 w 10023"/>
                  <a:gd name="connsiteY18" fmla="*/ 424 h 10000"/>
                  <a:gd name="connsiteX19" fmla="*/ 9107 w 10023"/>
                  <a:gd name="connsiteY19" fmla="*/ 0 h 10000"/>
                  <a:gd name="connsiteX20" fmla="*/ 9554 w 10023"/>
                  <a:gd name="connsiteY20" fmla="*/ 0 h 10000"/>
                  <a:gd name="connsiteX21" fmla="*/ 8652 w 10023"/>
                  <a:gd name="connsiteY21" fmla="*/ 800 h 10000"/>
                  <a:gd name="connsiteX22" fmla="*/ 9554 w 10023"/>
                  <a:gd name="connsiteY22" fmla="*/ 1621 h 10000"/>
                  <a:gd name="connsiteX23" fmla="*/ 9107 w 10023"/>
                  <a:gd name="connsiteY23" fmla="*/ 1995 h 10000"/>
                  <a:gd name="connsiteX24" fmla="*/ 9554 w 10023"/>
                  <a:gd name="connsiteY24" fmla="*/ 2394 h 10000"/>
                  <a:gd name="connsiteX25" fmla="*/ 10023 w 10023"/>
                  <a:gd name="connsiteY25" fmla="*/ 2850 h 10000"/>
                  <a:gd name="connsiteX26" fmla="*/ 10000 w 10023"/>
                  <a:gd name="connsiteY26" fmla="*/ 3591 h 10000"/>
                  <a:gd name="connsiteX27" fmla="*/ 10000 w 10023"/>
                  <a:gd name="connsiteY27" fmla="*/ 4015 h 10000"/>
                  <a:gd name="connsiteX28" fmla="*/ 10000 w 10023"/>
                  <a:gd name="connsiteY28" fmla="*/ 4389 h 10000"/>
                  <a:gd name="connsiteX29" fmla="*/ 7738 w 10023"/>
                  <a:gd name="connsiteY29" fmla="*/ 6783 h 10000"/>
                  <a:gd name="connsiteX30" fmla="*/ 6815 w 10023"/>
                  <a:gd name="connsiteY30" fmla="*/ 7182 h 10000"/>
                  <a:gd name="connsiteX31" fmla="*/ 6369 w 10023"/>
                  <a:gd name="connsiteY31" fmla="*/ 6783 h 10000"/>
                  <a:gd name="connsiteX32" fmla="*/ 5921 w 10023"/>
                  <a:gd name="connsiteY32" fmla="*/ 7182 h 10000"/>
                  <a:gd name="connsiteX33" fmla="*/ 5921 w 10023"/>
                  <a:gd name="connsiteY33" fmla="*/ 7980 h 10000"/>
                  <a:gd name="connsiteX34" fmla="*/ 6369 w 10023"/>
                  <a:gd name="connsiteY34" fmla="*/ 7980 h 10000"/>
                  <a:gd name="connsiteX35" fmla="*/ 6369 w 10023"/>
                  <a:gd name="connsiteY35" fmla="*/ 8379 h 10000"/>
                  <a:gd name="connsiteX36" fmla="*/ 6815 w 10023"/>
                  <a:gd name="connsiteY36" fmla="*/ 8379 h 10000"/>
                  <a:gd name="connsiteX37" fmla="*/ 6815 w 10023"/>
                  <a:gd name="connsiteY37" fmla="*/ 9177 h 10000"/>
                  <a:gd name="connsiteX38" fmla="*/ 6815 w 10023"/>
                  <a:gd name="connsiteY38" fmla="*/ 9576 h 10000"/>
                  <a:gd name="connsiteX39" fmla="*/ 5448 w 10023"/>
                  <a:gd name="connsiteY39" fmla="*/ 9576 h 10000"/>
                  <a:gd name="connsiteX40" fmla="*/ 5002 w 10023"/>
                  <a:gd name="connsiteY40" fmla="*/ 10000 h 10000"/>
                  <a:gd name="connsiteX41" fmla="*/ 4553 w 10023"/>
                  <a:gd name="connsiteY41" fmla="*/ 9576 h 10000"/>
                  <a:gd name="connsiteX42" fmla="*/ 4105 w 10023"/>
                  <a:gd name="connsiteY42" fmla="*/ 8803 h 10000"/>
                  <a:gd name="connsiteX43" fmla="*/ 2736 w 10023"/>
                  <a:gd name="connsiteY43" fmla="*/ 8803 h 10000"/>
                  <a:gd name="connsiteX44" fmla="*/ 1817 w 10023"/>
                  <a:gd name="connsiteY44" fmla="*/ 8803 h 10000"/>
                  <a:gd name="connsiteX45" fmla="*/ 448 w 10023"/>
                  <a:gd name="connsiteY45" fmla="*/ 8803 h 10000"/>
                  <a:gd name="connsiteX0" fmla="*/ 448 w 10023"/>
                  <a:gd name="connsiteY0" fmla="*/ 8803 h 10000"/>
                  <a:gd name="connsiteX1" fmla="*/ 448 w 10023"/>
                  <a:gd name="connsiteY1" fmla="*/ 8803 h 10000"/>
                  <a:gd name="connsiteX2" fmla="*/ 448 w 10023"/>
                  <a:gd name="connsiteY2" fmla="*/ 7980 h 10000"/>
                  <a:gd name="connsiteX3" fmla="*/ 1369 w 10023"/>
                  <a:gd name="connsiteY3" fmla="*/ 7606 h 10000"/>
                  <a:gd name="connsiteX4" fmla="*/ 922 w 10023"/>
                  <a:gd name="connsiteY4" fmla="*/ 6783 h 10000"/>
                  <a:gd name="connsiteX5" fmla="*/ 448 w 10023"/>
                  <a:gd name="connsiteY5" fmla="*/ 6409 h 10000"/>
                  <a:gd name="connsiteX6" fmla="*/ 0 w 10023"/>
                  <a:gd name="connsiteY6" fmla="*/ 5586 h 10000"/>
                  <a:gd name="connsiteX7" fmla="*/ 922 w 10023"/>
                  <a:gd name="connsiteY7" fmla="*/ 5985 h 10000"/>
                  <a:gd name="connsiteX8" fmla="*/ 3632 w 10023"/>
                  <a:gd name="connsiteY8" fmla="*/ 5586 h 10000"/>
                  <a:gd name="connsiteX9" fmla="*/ 3632 w 10023"/>
                  <a:gd name="connsiteY9" fmla="*/ 4788 h 10000"/>
                  <a:gd name="connsiteX10" fmla="*/ 4105 w 10023"/>
                  <a:gd name="connsiteY10" fmla="*/ 4389 h 10000"/>
                  <a:gd name="connsiteX11" fmla="*/ 5921 w 10023"/>
                  <a:gd name="connsiteY11" fmla="*/ 4015 h 10000"/>
                  <a:gd name="connsiteX12" fmla="*/ 5921 w 10023"/>
                  <a:gd name="connsiteY12" fmla="*/ 3192 h 10000"/>
                  <a:gd name="connsiteX13" fmla="*/ 6369 w 10023"/>
                  <a:gd name="connsiteY13" fmla="*/ 2818 h 10000"/>
                  <a:gd name="connsiteX14" fmla="*/ 6369 w 10023"/>
                  <a:gd name="connsiteY14" fmla="*/ 2394 h 10000"/>
                  <a:gd name="connsiteX15" fmla="*/ 6815 w 10023"/>
                  <a:gd name="connsiteY15" fmla="*/ 2394 h 10000"/>
                  <a:gd name="connsiteX16" fmla="*/ 7290 w 10023"/>
                  <a:gd name="connsiteY16" fmla="*/ 1621 h 10000"/>
                  <a:gd name="connsiteX17" fmla="*/ 7290 w 10023"/>
                  <a:gd name="connsiteY17" fmla="*/ 798 h 10000"/>
                  <a:gd name="connsiteX18" fmla="*/ 8186 w 10023"/>
                  <a:gd name="connsiteY18" fmla="*/ 424 h 10000"/>
                  <a:gd name="connsiteX19" fmla="*/ 9107 w 10023"/>
                  <a:gd name="connsiteY19" fmla="*/ 0 h 10000"/>
                  <a:gd name="connsiteX20" fmla="*/ 9554 w 10023"/>
                  <a:gd name="connsiteY20" fmla="*/ 0 h 10000"/>
                  <a:gd name="connsiteX21" fmla="*/ 8652 w 10023"/>
                  <a:gd name="connsiteY21" fmla="*/ 800 h 10000"/>
                  <a:gd name="connsiteX22" fmla="*/ 9554 w 10023"/>
                  <a:gd name="connsiteY22" fmla="*/ 1621 h 10000"/>
                  <a:gd name="connsiteX23" fmla="*/ 9107 w 10023"/>
                  <a:gd name="connsiteY23" fmla="*/ 1995 h 10000"/>
                  <a:gd name="connsiteX24" fmla="*/ 9554 w 10023"/>
                  <a:gd name="connsiteY24" fmla="*/ 2394 h 10000"/>
                  <a:gd name="connsiteX25" fmla="*/ 10023 w 10023"/>
                  <a:gd name="connsiteY25" fmla="*/ 2850 h 10000"/>
                  <a:gd name="connsiteX26" fmla="*/ 10000 w 10023"/>
                  <a:gd name="connsiteY26" fmla="*/ 3591 h 10000"/>
                  <a:gd name="connsiteX27" fmla="*/ 10000 w 10023"/>
                  <a:gd name="connsiteY27" fmla="*/ 4389 h 10000"/>
                  <a:gd name="connsiteX28" fmla="*/ 7738 w 10023"/>
                  <a:gd name="connsiteY28" fmla="*/ 6783 h 10000"/>
                  <a:gd name="connsiteX29" fmla="*/ 6815 w 10023"/>
                  <a:gd name="connsiteY29" fmla="*/ 7182 h 10000"/>
                  <a:gd name="connsiteX30" fmla="*/ 6369 w 10023"/>
                  <a:gd name="connsiteY30" fmla="*/ 6783 h 10000"/>
                  <a:gd name="connsiteX31" fmla="*/ 5921 w 10023"/>
                  <a:gd name="connsiteY31" fmla="*/ 7182 h 10000"/>
                  <a:gd name="connsiteX32" fmla="*/ 5921 w 10023"/>
                  <a:gd name="connsiteY32" fmla="*/ 7980 h 10000"/>
                  <a:gd name="connsiteX33" fmla="*/ 6369 w 10023"/>
                  <a:gd name="connsiteY33" fmla="*/ 7980 h 10000"/>
                  <a:gd name="connsiteX34" fmla="*/ 6369 w 10023"/>
                  <a:gd name="connsiteY34" fmla="*/ 8379 h 10000"/>
                  <a:gd name="connsiteX35" fmla="*/ 6815 w 10023"/>
                  <a:gd name="connsiteY35" fmla="*/ 8379 h 10000"/>
                  <a:gd name="connsiteX36" fmla="*/ 6815 w 10023"/>
                  <a:gd name="connsiteY36" fmla="*/ 9177 h 10000"/>
                  <a:gd name="connsiteX37" fmla="*/ 6815 w 10023"/>
                  <a:gd name="connsiteY37" fmla="*/ 9576 h 10000"/>
                  <a:gd name="connsiteX38" fmla="*/ 5448 w 10023"/>
                  <a:gd name="connsiteY38" fmla="*/ 9576 h 10000"/>
                  <a:gd name="connsiteX39" fmla="*/ 5002 w 10023"/>
                  <a:gd name="connsiteY39" fmla="*/ 10000 h 10000"/>
                  <a:gd name="connsiteX40" fmla="*/ 4553 w 10023"/>
                  <a:gd name="connsiteY40" fmla="*/ 9576 h 10000"/>
                  <a:gd name="connsiteX41" fmla="*/ 4105 w 10023"/>
                  <a:gd name="connsiteY41" fmla="*/ 8803 h 10000"/>
                  <a:gd name="connsiteX42" fmla="*/ 2736 w 10023"/>
                  <a:gd name="connsiteY42" fmla="*/ 8803 h 10000"/>
                  <a:gd name="connsiteX43" fmla="*/ 1817 w 10023"/>
                  <a:gd name="connsiteY43" fmla="*/ 8803 h 10000"/>
                  <a:gd name="connsiteX44" fmla="*/ 448 w 10023"/>
                  <a:gd name="connsiteY44" fmla="*/ 8803 h 10000"/>
                  <a:gd name="connsiteX0" fmla="*/ 448 w 10381"/>
                  <a:gd name="connsiteY0" fmla="*/ 8803 h 10000"/>
                  <a:gd name="connsiteX1" fmla="*/ 448 w 10381"/>
                  <a:gd name="connsiteY1" fmla="*/ 8803 h 10000"/>
                  <a:gd name="connsiteX2" fmla="*/ 448 w 10381"/>
                  <a:gd name="connsiteY2" fmla="*/ 7980 h 10000"/>
                  <a:gd name="connsiteX3" fmla="*/ 1369 w 10381"/>
                  <a:gd name="connsiteY3" fmla="*/ 7606 h 10000"/>
                  <a:gd name="connsiteX4" fmla="*/ 922 w 10381"/>
                  <a:gd name="connsiteY4" fmla="*/ 6783 h 10000"/>
                  <a:gd name="connsiteX5" fmla="*/ 448 w 10381"/>
                  <a:gd name="connsiteY5" fmla="*/ 6409 h 10000"/>
                  <a:gd name="connsiteX6" fmla="*/ 0 w 10381"/>
                  <a:gd name="connsiteY6" fmla="*/ 5586 h 10000"/>
                  <a:gd name="connsiteX7" fmla="*/ 922 w 10381"/>
                  <a:gd name="connsiteY7" fmla="*/ 5985 h 10000"/>
                  <a:gd name="connsiteX8" fmla="*/ 3632 w 10381"/>
                  <a:gd name="connsiteY8" fmla="*/ 5586 h 10000"/>
                  <a:gd name="connsiteX9" fmla="*/ 3632 w 10381"/>
                  <a:gd name="connsiteY9" fmla="*/ 4788 h 10000"/>
                  <a:gd name="connsiteX10" fmla="*/ 4105 w 10381"/>
                  <a:gd name="connsiteY10" fmla="*/ 4389 h 10000"/>
                  <a:gd name="connsiteX11" fmla="*/ 5921 w 10381"/>
                  <a:gd name="connsiteY11" fmla="*/ 4015 h 10000"/>
                  <a:gd name="connsiteX12" fmla="*/ 5921 w 10381"/>
                  <a:gd name="connsiteY12" fmla="*/ 3192 h 10000"/>
                  <a:gd name="connsiteX13" fmla="*/ 6369 w 10381"/>
                  <a:gd name="connsiteY13" fmla="*/ 2818 h 10000"/>
                  <a:gd name="connsiteX14" fmla="*/ 6369 w 10381"/>
                  <a:gd name="connsiteY14" fmla="*/ 2394 h 10000"/>
                  <a:gd name="connsiteX15" fmla="*/ 6815 w 10381"/>
                  <a:gd name="connsiteY15" fmla="*/ 2394 h 10000"/>
                  <a:gd name="connsiteX16" fmla="*/ 7290 w 10381"/>
                  <a:gd name="connsiteY16" fmla="*/ 1621 h 10000"/>
                  <a:gd name="connsiteX17" fmla="*/ 7290 w 10381"/>
                  <a:gd name="connsiteY17" fmla="*/ 798 h 10000"/>
                  <a:gd name="connsiteX18" fmla="*/ 8186 w 10381"/>
                  <a:gd name="connsiteY18" fmla="*/ 424 h 10000"/>
                  <a:gd name="connsiteX19" fmla="*/ 9107 w 10381"/>
                  <a:gd name="connsiteY19" fmla="*/ 0 h 10000"/>
                  <a:gd name="connsiteX20" fmla="*/ 9554 w 10381"/>
                  <a:gd name="connsiteY20" fmla="*/ 0 h 10000"/>
                  <a:gd name="connsiteX21" fmla="*/ 8652 w 10381"/>
                  <a:gd name="connsiteY21" fmla="*/ 800 h 10000"/>
                  <a:gd name="connsiteX22" fmla="*/ 9554 w 10381"/>
                  <a:gd name="connsiteY22" fmla="*/ 1621 h 10000"/>
                  <a:gd name="connsiteX23" fmla="*/ 9107 w 10381"/>
                  <a:gd name="connsiteY23" fmla="*/ 1995 h 10000"/>
                  <a:gd name="connsiteX24" fmla="*/ 9554 w 10381"/>
                  <a:gd name="connsiteY24" fmla="*/ 2394 h 10000"/>
                  <a:gd name="connsiteX25" fmla="*/ 10023 w 10381"/>
                  <a:gd name="connsiteY25" fmla="*/ 2850 h 10000"/>
                  <a:gd name="connsiteX26" fmla="*/ 10000 w 10381"/>
                  <a:gd name="connsiteY26" fmla="*/ 4389 h 10000"/>
                  <a:gd name="connsiteX27" fmla="*/ 7738 w 10381"/>
                  <a:gd name="connsiteY27" fmla="*/ 6783 h 10000"/>
                  <a:gd name="connsiteX28" fmla="*/ 6815 w 10381"/>
                  <a:gd name="connsiteY28" fmla="*/ 7182 h 10000"/>
                  <a:gd name="connsiteX29" fmla="*/ 6369 w 10381"/>
                  <a:gd name="connsiteY29" fmla="*/ 6783 h 10000"/>
                  <a:gd name="connsiteX30" fmla="*/ 5921 w 10381"/>
                  <a:gd name="connsiteY30" fmla="*/ 7182 h 10000"/>
                  <a:gd name="connsiteX31" fmla="*/ 5921 w 10381"/>
                  <a:gd name="connsiteY31" fmla="*/ 7980 h 10000"/>
                  <a:gd name="connsiteX32" fmla="*/ 6369 w 10381"/>
                  <a:gd name="connsiteY32" fmla="*/ 7980 h 10000"/>
                  <a:gd name="connsiteX33" fmla="*/ 6369 w 10381"/>
                  <a:gd name="connsiteY33" fmla="*/ 8379 h 10000"/>
                  <a:gd name="connsiteX34" fmla="*/ 6815 w 10381"/>
                  <a:gd name="connsiteY34" fmla="*/ 8379 h 10000"/>
                  <a:gd name="connsiteX35" fmla="*/ 6815 w 10381"/>
                  <a:gd name="connsiteY35" fmla="*/ 9177 h 10000"/>
                  <a:gd name="connsiteX36" fmla="*/ 6815 w 10381"/>
                  <a:gd name="connsiteY36" fmla="*/ 9576 h 10000"/>
                  <a:gd name="connsiteX37" fmla="*/ 5448 w 10381"/>
                  <a:gd name="connsiteY37" fmla="*/ 9576 h 10000"/>
                  <a:gd name="connsiteX38" fmla="*/ 5002 w 10381"/>
                  <a:gd name="connsiteY38" fmla="*/ 10000 h 10000"/>
                  <a:gd name="connsiteX39" fmla="*/ 4553 w 10381"/>
                  <a:gd name="connsiteY39" fmla="*/ 9576 h 10000"/>
                  <a:gd name="connsiteX40" fmla="*/ 4105 w 10381"/>
                  <a:gd name="connsiteY40" fmla="*/ 8803 h 10000"/>
                  <a:gd name="connsiteX41" fmla="*/ 2736 w 10381"/>
                  <a:gd name="connsiteY41" fmla="*/ 8803 h 10000"/>
                  <a:gd name="connsiteX42" fmla="*/ 1817 w 10381"/>
                  <a:gd name="connsiteY42" fmla="*/ 8803 h 10000"/>
                  <a:gd name="connsiteX43" fmla="*/ 448 w 10381"/>
                  <a:gd name="connsiteY43" fmla="*/ 8803 h 10000"/>
                  <a:gd name="connsiteX0" fmla="*/ 448 w 10403"/>
                  <a:gd name="connsiteY0" fmla="*/ 8803 h 10000"/>
                  <a:gd name="connsiteX1" fmla="*/ 448 w 10403"/>
                  <a:gd name="connsiteY1" fmla="*/ 8803 h 10000"/>
                  <a:gd name="connsiteX2" fmla="*/ 448 w 10403"/>
                  <a:gd name="connsiteY2" fmla="*/ 7980 h 10000"/>
                  <a:gd name="connsiteX3" fmla="*/ 1369 w 10403"/>
                  <a:gd name="connsiteY3" fmla="*/ 7606 h 10000"/>
                  <a:gd name="connsiteX4" fmla="*/ 922 w 10403"/>
                  <a:gd name="connsiteY4" fmla="*/ 6783 h 10000"/>
                  <a:gd name="connsiteX5" fmla="*/ 448 w 10403"/>
                  <a:gd name="connsiteY5" fmla="*/ 6409 h 10000"/>
                  <a:gd name="connsiteX6" fmla="*/ 0 w 10403"/>
                  <a:gd name="connsiteY6" fmla="*/ 5586 h 10000"/>
                  <a:gd name="connsiteX7" fmla="*/ 922 w 10403"/>
                  <a:gd name="connsiteY7" fmla="*/ 5985 h 10000"/>
                  <a:gd name="connsiteX8" fmla="*/ 3632 w 10403"/>
                  <a:gd name="connsiteY8" fmla="*/ 5586 h 10000"/>
                  <a:gd name="connsiteX9" fmla="*/ 3632 w 10403"/>
                  <a:gd name="connsiteY9" fmla="*/ 4788 h 10000"/>
                  <a:gd name="connsiteX10" fmla="*/ 4105 w 10403"/>
                  <a:gd name="connsiteY10" fmla="*/ 4389 h 10000"/>
                  <a:gd name="connsiteX11" fmla="*/ 5921 w 10403"/>
                  <a:gd name="connsiteY11" fmla="*/ 4015 h 10000"/>
                  <a:gd name="connsiteX12" fmla="*/ 5921 w 10403"/>
                  <a:gd name="connsiteY12" fmla="*/ 3192 h 10000"/>
                  <a:gd name="connsiteX13" fmla="*/ 6369 w 10403"/>
                  <a:gd name="connsiteY13" fmla="*/ 2818 h 10000"/>
                  <a:gd name="connsiteX14" fmla="*/ 6369 w 10403"/>
                  <a:gd name="connsiteY14" fmla="*/ 2394 h 10000"/>
                  <a:gd name="connsiteX15" fmla="*/ 6815 w 10403"/>
                  <a:gd name="connsiteY15" fmla="*/ 2394 h 10000"/>
                  <a:gd name="connsiteX16" fmla="*/ 7290 w 10403"/>
                  <a:gd name="connsiteY16" fmla="*/ 1621 h 10000"/>
                  <a:gd name="connsiteX17" fmla="*/ 7290 w 10403"/>
                  <a:gd name="connsiteY17" fmla="*/ 798 h 10000"/>
                  <a:gd name="connsiteX18" fmla="*/ 8186 w 10403"/>
                  <a:gd name="connsiteY18" fmla="*/ 424 h 10000"/>
                  <a:gd name="connsiteX19" fmla="*/ 9107 w 10403"/>
                  <a:gd name="connsiteY19" fmla="*/ 0 h 10000"/>
                  <a:gd name="connsiteX20" fmla="*/ 9554 w 10403"/>
                  <a:gd name="connsiteY20" fmla="*/ 0 h 10000"/>
                  <a:gd name="connsiteX21" fmla="*/ 8652 w 10403"/>
                  <a:gd name="connsiteY21" fmla="*/ 800 h 10000"/>
                  <a:gd name="connsiteX22" fmla="*/ 9554 w 10403"/>
                  <a:gd name="connsiteY22" fmla="*/ 1621 h 10000"/>
                  <a:gd name="connsiteX23" fmla="*/ 9107 w 10403"/>
                  <a:gd name="connsiteY23" fmla="*/ 1995 h 10000"/>
                  <a:gd name="connsiteX24" fmla="*/ 9554 w 10403"/>
                  <a:gd name="connsiteY24" fmla="*/ 2394 h 10000"/>
                  <a:gd name="connsiteX25" fmla="*/ 10023 w 10403"/>
                  <a:gd name="connsiteY25" fmla="*/ 2850 h 10000"/>
                  <a:gd name="connsiteX26" fmla="*/ 10381 w 10403"/>
                  <a:gd name="connsiteY26" fmla="*/ 3200 h 10000"/>
                  <a:gd name="connsiteX27" fmla="*/ 10000 w 10403"/>
                  <a:gd name="connsiteY27" fmla="*/ 4389 h 10000"/>
                  <a:gd name="connsiteX28" fmla="*/ 7738 w 10403"/>
                  <a:gd name="connsiteY28" fmla="*/ 6783 h 10000"/>
                  <a:gd name="connsiteX29" fmla="*/ 6815 w 10403"/>
                  <a:gd name="connsiteY29" fmla="*/ 7182 h 10000"/>
                  <a:gd name="connsiteX30" fmla="*/ 6369 w 10403"/>
                  <a:gd name="connsiteY30" fmla="*/ 6783 h 10000"/>
                  <a:gd name="connsiteX31" fmla="*/ 5921 w 10403"/>
                  <a:gd name="connsiteY31" fmla="*/ 7182 h 10000"/>
                  <a:gd name="connsiteX32" fmla="*/ 5921 w 10403"/>
                  <a:gd name="connsiteY32" fmla="*/ 7980 h 10000"/>
                  <a:gd name="connsiteX33" fmla="*/ 6369 w 10403"/>
                  <a:gd name="connsiteY33" fmla="*/ 7980 h 10000"/>
                  <a:gd name="connsiteX34" fmla="*/ 6369 w 10403"/>
                  <a:gd name="connsiteY34" fmla="*/ 8379 h 10000"/>
                  <a:gd name="connsiteX35" fmla="*/ 6815 w 10403"/>
                  <a:gd name="connsiteY35" fmla="*/ 8379 h 10000"/>
                  <a:gd name="connsiteX36" fmla="*/ 6815 w 10403"/>
                  <a:gd name="connsiteY36" fmla="*/ 9177 h 10000"/>
                  <a:gd name="connsiteX37" fmla="*/ 6815 w 10403"/>
                  <a:gd name="connsiteY37" fmla="*/ 9576 h 10000"/>
                  <a:gd name="connsiteX38" fmla="*/ 5448 w 10403"/>
                  <a:gd name="connsiteY38" fmla="*/ 9576 h 10000"/>
                  <a:gd name="connsiteX39" fmla="*/ 5002 w 10403"/>
                  <a:gd name="connsiteY39" fmla="*/ 10000 h 10000"/>
                  <a:gd name="connsiteX40" fmla="*/ 4553 w 10403"/>
                  <a:gd name="connsiteY40" fmla="*/ 9576 h 10000"/>
                  <a:gd name="connsiteX41" fmla="*/ 4105 w 10403"/>
                  <a:gd name="connsiteY41" fmla="*/ 8803 h 10000"/>
                  <a:gd name="connsiteX42" fmla="*/ 2736 w 10403"/>
                  <a:gd name="connsiteY42" fmla="*/ 8803 h 10000"/>
                  <a:gd name="connsiteX43" fmla="*/ 1817 w 10403"/>
                  <a:gd name="connsiteY43" fmla="*/ 8803 h 10000"/>
                  <a:gd name="connsiteX44" fmla="*/ 448 w 10403"/>
                  <a:gd name="connsiteY44" fmla="*/ 8803 h 10000"/>
                  <a:gd name="connsiteX0" fmla="*/ 448 w 10403"/>
                  <a:gd name="connsiteY0" fmla="*/ 8803 h 10000"/>
                  <a:gd name="connsiteX1" fmla="*/ 448 w 10403"/>
                  <a:gd name="connsiteY1" fmla="*/ 8803 h 10000"/>
                  <a:gd name="connsiteX2" fmla="*/ 448 w 10403"/>
                  <a:gd name="connsiteY2" fmla="*/ 7980 h 10000"/>
                  <a:gd name="connsiteX3" fmla="*/ 1369 w 10403"/>
                  <a:gd name="connsiteY3" fmla="*/ 7606 h 10000"/>
                  <a:gd name="connsiteX4" fmla="*/ 922 w 10403"/>
                  <a:gd name="connsiteY4" fmla="*/ 6783 h 10000"/>
                  <a:gd name="connsiteX5" fmla="*/ 448 w 10403"/>
                  <a:gd name="connsiteY5" fmla="*/ 6409 h 10000"/>
                  <a:gd name="connsiteX6" fmla="*/ 0 w 10403"/>
                  <a:gd name="connsiteY6" fmla="*/ 5586 h 10000"/>
                  <a:gd name="connsiteX7" fmla="*/ 922 w 10403"/>
                  <a:gd name="connsiteY7" fmla="*/ 5985 h 10000"/>
                  <a:gd name="connsiteX8" fmla="*/ 3632 w 10403"/>
                  <a:gd name="connsiteY8" fmla="*/ 5586 h 10000"/>
                  <a:gd name="connsiteX9" fmla="*/ 3632 w 10403"/>
                  <a:gd name="connsiteY9" fmla="*/ 4788 h 10000"/>
                  <a:gd name="connsiteX10" fmla="*/ 4105 w 10403"/>
                  <a:gd name="connsiteY10" fmla="*/ 4389 h 10000"/>
                  <a:gd name="connsiteX11" fmla="*/ 5921 w 10403"/>
                  <a:gd name="connsiteY11" fmla="*/ 4015 h 10000"/>
                  <a:gd name="connsiteX12" fmla="*/ 5921 w 10403"/>
                  <a:gd name="connsiteY12" fmla="*/ 3192 h 10000"/>
                  <a:gd name="connsiteX13" fmla="*/ 6369 w 10403"/>
                  <a:gd name="connsiteY13" fmla="*/ 2818 h 10000"/>
                  <a:gd name="connsiteX14" fmla="*/ 6369 w 10403"/>
                  <a:gd name="connsiteY14" fmla="*/ 2394 h 10000"/>
                  <a:gd name="connsiteX15" fmla="*/ 6815 w 10403"/>
                  <a:gd name="connsiteY15" fmla="*/ 2394 h 10000"/>
                  <a:gd name="connsiteX16" fmla="*/ 7290 w 10403"/>
                  <a:gd name="connsiteY16" fmla="*/ 1621 h 10000"/>
                  <a:gd name="connsiteX17" fmla="*/ 7290 w 10403"/>
                  <a:gd name="connsiteY17" fmla="*/ 798 h 10000"/>
                  <a:gd name="connsiteX18" fmla="*/ 8186 w 10403"/>
                  <a:gd name="connsiteY18" fmla="*/ 424 h 10000"/>
                  <a:gd name="connsiteX19" fmla="*/ 9107 w 10403"/>
                  <a:gd name="connsiteY19" fmla="*/ 0 h 10000"/>
                  <a:gd name="connsiteX20" fmla="*/ 9554 w 10403"/>
                  <a:gd name="connsiteY20" fmla="*/ 0 h 10000"/>
                  <a:gd name="connsiteX21" fmla="*/ 9074 w 10403"/>
                  <a:gd name="connsiteY21" fmla="*/ 800 h 10000"/>
                  <a:gd name="connsiteX22" fmla="*/ 9554 w 10403"/>
                  <a:gd name="connsiteY22" fmla="*/ 1621 h 10000"/>
                  <a:gd name="connsiteX23" fmla="*/ 9107 w 10403"/>
                  <a:gd name="connsiteY23" fmla="*/ 1995 h 10000"/>
                  <a:gd name="connsiteX24" fmla="*/ 9554 w 10403"/>
                  <a:gd name="connsiteY24" fmla="*/ 2394 h 10000"/>
                  <a:gd name="connsiteX25" fmla="*/ 10023 w 10403"/>
                  <a:gd name="connsiteY25" fmla="*/ 2850 h 10000"/>
                  <a:gd name="connsiteX26" fmla="*/ 10381 w 10403"/>
                  <a:gd name="connsiteY26" fmla="*/ 3200 h 10000"/>
                  <a:gd name="connsiteX27" fmla="*/ 10000 w 10403"/>
                  <a:gd name="connsiteY27" fmla="*/ 4389 h 10000"/>
                  <a:gd name="connsiteX28" fmla="*/ 7738 w 10403"/>
                  <a:gd name="connsiteY28" fmla="*/ 6783 h 10000"/>
                  <a:gd name="connsiteX29" fmla="*/ 6815 w 10403"/>
                  <a:gd name="connsiteY29" fmla="*/ 7182 h 10000"/>
                  <a:gd name="connsiteX30" fmla="*/ 6369 w 10403"/>
                  <a:gd name="connsiteY30" fmla="*/ 6783 h 10000"/>
                  <a:gd name="connsiteX31" fmla="*/ 5921 w 10403"/>
                  <a:gd name="connsiteY31" fmla="*/ 7182 h 10000"/>
                  <a:gd name="connsiteX32" fmla="*/ 5921 w 10403"/>
                  <a:gd name="connsiteY32" fmla="*/ 7980 h 10000"/>
                  <a:gd name="connsiteX33" fmla="*/ 6369 w 10403"/>
                  <a:gd name="connsiteY33" fmla="*/ 7980 h 10000"/>
                  <a:gd name="connsiteX34" fmla="*/ 6369 w 10403"/>
                  <a:gd name="connsiteY34" fmla="*/ 8379 h 10000"/>
                  <a:gd name="connsiteX35" fmla="*/ 6815 w 10403"/>
                  <a:gd name="connsiteY35" fmla="*/ 8379 h 10000"/>
                  <a:gd name="connsiteX36" fmla="*/ 6815 w 10403"/>
                  <a:gd name="connsiteY36" fmla="*/ 9177 h 10000"/>
                  <a:gd name="connsiteX37" fmla="*/ 6815 w 10403"/>
                  <a:gd name="connsiteY37" fmla="*/ 9576 h 10000"/>
                  <a:gd name="connsiteX38" fmla="*/ 5448 w 10403"/>
                  <a:gd name="connsiteY38" fmla="*/ 9576 h 10000"/>
                  <a:gd name="connsiteX39" fmla="*/ 5002 w 10403"/>
                  <a:gd name="connsiteY39" fmla="*/ 10000 h 10000"/>
                  <a:gd name="connsiteX40" fmla="*/ 4553 w 10403"/>
                  <a:gd name="connsiteY40" fmla="*/ 9576 h 10000"/>
                  <a:gd name="connsiteX41" fmla="*/ 4105 w 10403"/>
                  <a:gd name="connsiteY41" fmla="*/ 8803 h 10000"/>
                  <a:gd name="connsiteX42" fmla="*/ 2736 w 10403"/>
                  <a:gd name="connsiteY42" fmla="*/ 8803 h 10000"/>
                  <a:gd name="connsiteX43" fmla="*/ 1817 w 10403"/>
                  <a:gd name="connsiteY43" fmla="*/ 8803 h 10000"/>
                  <a:gd name="connsiteX44" fmla="*/ 448 w 10403"/>
                  <a:gd name="connsiteY44" fmla="*/ 8803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10403" h="10000">
                    <a:moveTo>
                      <a:pt x="448" y="8803"/>
                    </a:moveTo>
                    <a:lnTo>
                      <a:pt x="448" y="8803"/>
                    </a:lnTo>
                    <a:lnTo>
                      <a:pt x="448" y="7980"/>
                    </a:lnTo>
                    <a:lnTo>
                      <a:pt x="1369" y="7606"/>
                    </a:lnTo>
                    <a:lnTo>
                      <a:pt x="922" y="6783"/>
                    </a:lnTo>
                    <a:lnTo>
                      <a:pt x="448" y="6409"/>
                    </a:lnTo>
                    <a:lnTo>
                      <a:pt x="0" y="5586"/>
                    </a:lnTo>
                    <a:lnTo>
                      <a:pt x="922" y="5985"/>
                    </a:lnTo>
                    <a:lnTo>
                      <a:pt x="3632" y="5586"/>
                    </a:lnTo>
                    <a:lnTo>
                      <a:pt x="3632" y="4788"/>
                    </a:lnTo>
                    <a:lnTo>
                      <a:pt x="4105" y="4389"/>
                    </a:lnTo>
                    <a:lnTo>
                      <a:pt x="5921" y="4015"/>
                    </a:lnTo>
                    <a:lnTo>
                      <a:pt x="5921" y="3192"/>
                    </a:lnTo>
                    <a:lnTo>
                      <a:pt x="6369" y="2818"/>
                    </a:lnTo>
                    <a:lnTo>
                      <a:pt x="6369" y="2394"/>
                    </a:lnTo>
                    <a:lnTo>
                      <a:pt x="6815" y="2394"/>
                    </a:lnTo>
                    <a:lnTo>
                      <a:pt x="7290" y="1621"/>
                    </a:lnTo>
                    <a:lnTo>
                      <a:pt x="7290" y="798"/>
                    </a:lnTo>
                    <a:lnTo>
                      <a:pt x="8186" y="424"/>
                    </a:lnTo>
                    <a:lnTo>
                      <a:pt x="9107" y="0"/>
                    </a:lnTo>
                    <a:lnTo>
                      <a:pt x="9554" y="0"/>
                    </a:lnTo>
                    <a:cubicBezTo>
                      <a:pt x="9570" y="225"/>
                      <a:pt x="9058" y="575"/>
                      <a:pt x="9074" y="800"/>
                    </a:cubicBezTo>
                    <a:cubicBezTo>
                      <a:pt x="9058" y="1115"/>
                      <a:pt x="9570" y="1306"/>
                      <a:pt x="9554" y="1621"/>
                    </a:cubicBezTo>
                    <a:lnTo>
                      <a:pt x="9107" y="1995"/>
                    </a:lnTo>
                    <a:lnTo>
                      <a:pt x="9554" y="2394"/>
                    </a:lnTo>
                    <a:lnTo>
                      <a:pt x="10023" y="2850"/>
                    </a:lnTo>
                    <a:cubicBezTo>
                      <a:pt x="10123" y="3101"/>
                      <a:pt x="10385" y="2944"/>
                      <a:pt x="10381" y="3200"/>
                    </a:cubicBezTo>
                    <a:cubicBezTo>
                      <a:pt x="10377" y="3456"/>
                      <a:pt x="10403" y="3909"/>
                      <a:pt x="10000" y="4389"/>
                    </a:cubicBezTo>
                    <a:lnTo>
                      <a:pt x="7738" y="6783"/>
                    </a:lnTo>
                    <a:lnTo>
                      <a:pt x="6815" y="7182"/>
                    </a:lnTo>
                    <a:lnTo>
                      <a:pt x="6369" y="6783"/>
                    </a:lnTo>
                    <a:lnTo>
                      <a:pt x="5921" y="7182"/>
                    </a:lnTo>
                    <a:lnTo>
                      <a:pt x="5921" y="7980"/>
                    </a:lnTo>
                    <a:lnTo>
                      <a:pt x="6369" y="7980"/>
                    </a:lnTo>
                    <a:lnTo>
                      <a:pt x="6369" y="8379"/>
                    </a:lnTo>
                    <a:lnTo>
                      <a:pt x="6815" y="8379"/>
                    </a:lnTo>
                    <a:lnTo>
                      <a:pt x="6815" y="9177"/>
                    </a:lnTo>
                    <a:lnTo>
                      <a:pt x="6815" y="9576"/>
                    </a:lnTo>
                    <a:lnTo>
                      <a:pt x="5448" y="9576"/>
                    </a:lnTo>
                    <a:lnTo>
                      <a:pt x="5002" y="10000"/>
                    </a:lnTo>
                    <a:lnTo>
                      <a:pt x="4553" y="9576"/>
                    </a:lnTo>
                    <a:lnTo>
                      <a:pt x="4105" y="8803"/>
                    </a:lnTo>
                    <a:lnTo>
                      <a:pt x="2736" y="8803"/>
                    </a:lnTo>
                    <a:lnTo>
                      <a:pt x="1817" y="8803"/>
                    </a:lnTo>
                    <a:lnTo>
                      <a:pt x="448" y="8803"/>
                    </a:lnTo>
                    <a:close/>
                  </a:path>
                </a:pathLst>
              </a:custGeom>
              <a:pattFill prst="pct50">
                <a:fgClr>
                  <a:srgbClr val="91CD9E"/>
                </a:fgClr>
                <a:bgClr>
                  <a:schemeClr val="bg1"/>
                </a:bgClr>
              </a:patt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9" name="Freeform 198">
                <a:extLst>
                  <a:ext uri="{FF2B5EF4-FFF2-40B4-BE49-F238E27FC236}">
                    <a16:creationId xmlns:a16="http://schemas.microsoft.com/office/drawing/2014/main" id="{D7DA52AE-1A5E-4764-AF01-17C3A90724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27761" y="3264589"/>
                <a:ext cx="495655" cy="436332"/>
              </a:xfrm>
              <a:custGeom>
                <a:avLst/>
                <a:gdLst>
                  <a:gd name="T0" fmla="*/ 99219 w 604"/>
                  <a:gd name="T1" fmla="*/ 82550 h 512"/>
                  <a:gd name="T2" fmla="*/ 99219 w 604"/>
                  <a:gd name="T3" fmla="*/ 82550 h 512"/>
                  <a:gd name="T4" fmla="*/ 103188 w 604"/>
                  <a:gd name="T5" fmla="*/ 79375 h 512"/>
                  <a:gd name="T6" fmla="*/ 106363 w 604"/>
                  <a:gd name="T7" fmla="*/ 76200 h 512"/>
                  <a:gd name="T8" fmla="*/ 109538 w 604"/>
                  <a:gd name="T9" fmla="*/ 73025 h 512"/>
                  <a:gd name="T10" fmla="*/ 113506 w 604"/>
                  <a:gd name="T11" fmla="*/ 69850 h 512"/>
                  <a:gd name="T12" fmla="*/ 116681 w 604"/>
                  <a:gd name="T13" fmla="*/ 66675 h 512"/>
                  <a:gd name="T14" fmla="*/ 119856 w 604"/>
                  <a:gd name="T15" fmla="*/ 66675 h 512"/>
                  <a:gd name="T16" fmla="*/ 119856 w 604"/>
                  <a:gd name="T17" fmla="*/ 63500 h 512"/>
                  <a:gd name="T18" fmla="*/ 119856 w 604"/>
                  <a:gd name="T19" fmla="*/ 60325 h 512"/>
                  <a:gd name="T20" fmla="*/ 119856 w 604"/>
                  <a:gd name="T21" fmla="*/ 57150 h 512"/>
                  <a:gd name="T22" fmla="*/ 116681 w 604"/>
                  <a:gd name="T23" fmla="*/ 53975 h 512"/>
                  <a:gd name="T24" fmla="*/ 113506 w 604"/>
                  <a:gd name="T25" fmla="*/ 50800 h 512"/>
                  <a:gd name="T26" fmla="*/ 109538 w 604"/>
                  <a:gd name="T27" fmla="*/ 50800 h 512"/>
                  <a:gd name="T28" fmla="*/ 106363 w 604"/>
                  <a:gd name="T29" fmla="*/ 50800 h 512"/>
                  <a:gd name="T30" fmla="*/ 106363 w 604"/>
                  <a:gd name="T31" fmla="*/ 53975 h 512"/>
                  <a:gd name="T32" fmla="*/ 103188 w 604"/>
                  <a:gd name="T33" fmla="*/ 53975 h 512"/>
                  <a:gd name="T34" fmla="*/ 99219 w 604"/>
                  <a:gd name="T35" fmla="*/ 53975 h 512"/>
                  <a:gd name="T36" fmla="*/ 95250 w 604"/>
                  <a:gd name="T37" fmla="*/ 53975 h 512"/>
                  <a:gd name="T38" fmla="*/ 92075 w 604"/>
                  <a:gd name="T39" fmla="*/ 53975 h 512"/>
                  <a:gd name="T40" fmla="*/ 88900 w 604"/>
                  <a:gd name="T41" fmla="*/ 53975 h 512"/>
                  <a:gd name="T42" fmla="*/ 84931 w 604"/>
                  <a:gd name="T43" fmla="*/ 50800 h 512"/>
                  <a:gd name="T44" fmla="*/ 88900 w 604"/>
                  <a:gd name="T45" fmla="*/ 47625 h 512"/>
                  <a:gd name="T46" fmla="*/ 84931 w 604"/>
                  <a:gd name="T47" fmla="*/ 41275 h 512"/>
                  <a:gd name="T48" fmla="*/ 84931 w 604"/>
                  <a:gd name="T49" fmla="*/ 31750 h 512"/>
                  <a:gd name="T50" fmla="*/ 75406 w 604"/>
                  <a:gd name="T51" fmla="*/ 22225 h 512"/>
                  <a:gd name="T52" fmla="*/ 65087 w 604"/>
                  <a:gd name="T53" fmla="*/ 19050 h 512"/>
                  <a:gd name="T54" fmla="*/ 58738 w 604"/>
                  <a:gd name="T55" fmla="*/ 22225 h 512"/>
                  <a:gd name="T56" fmla="*/ 54769 w 604"/>
                  <a:gd name="T57" fmla="*/ 19050 h 512"/>
                  <a:gd name="T58" fmla="*/ 47625 w 604"/>
                  <a:gd name="T59" fmla="*/ 15875 h 512"/>
                  <a:gd name="T60" fmla="*/ 47625 w 604"/>
                  <a:gd name="T61" fmla="*/ 12700 h 512"/>
                  <a:gd name="T62" fmla="*/ 44450 w 604"/>
                  <a:gd name="T63" fmla="*/ 9525 h 512"/>
                  <a:gd name="T64" fmla="*/ 34131 w 604"/>
                  <a:gd name="T65" fmla="*/ 3175 h 512"/>
                  <a:gd name="T66" fmla="*/ 23812 w 604"/>
                  <a:gd name="T67" fmla="*/ 0 h 512"/>
                  <a:gd name="T68" fmla="*/ 14288 w 604"/>
                  <a:gd name="T69" fmla="*/ 6350 h 512"/>
                  <a:gd name="T70" fmla="*/ 16669 w 604"/>
                  <a:gd name="T71" fmla="*/ 9525 h 512"/>
                  <a:gd name="T72" fmla="*/ 14288 w 604"/>
                  <a:gd name="T73" fmla="*/ 15875 h 512"/>
                  <a:gd name="T74" fmla="*/ 9525 w 604"/>
                  <a:gd name="T75" fmla="*/ 15875 h 512"/>
                  <a:gd name="T76" fmla="*/ 7144 w 604"/>
                  <a:gd name="T77" fmla="*/ 19050 h 512"/>
                  <a:gd name="T78" fmla="*/ 0 w 604"/>
                  <a:gd name="T79" fmla="*/ 19050 h 512"/>
                  <a:gd name="T80" fmla="*/ 0 w 604"/>
                  <a:gd name="T81" fmla="*/ 25400 h 512"/>
                  <a:gd name="T82" fmla="*/ 3969 w 604"/>
                  <a:gd name="T83" fmla="*/ 25400 h 512"/>
                  <a:gd name="T84" fmla="*/ 16669 w 604"/>
                  <a:gd name="T85" fmla="*/ 44450 h 512"/>
                  <a:gd name="T86" fmla="*/ 19844 w 604"/>
                  <a:gd name="T87" fmla="*/ 47625 h 512"/>
                  <a:gd name="T88" fmla="*/ 23812 w 604"/>
                  <a:gd name="T89" fmla="*/ 53975 h 512"/>
                  <a:gd name="T90" fmla="*/ 23812 w 604"/>
                  <a:gd name="T91" fmla="*/ 63500 h 512"/>
                  <a:gd name="T92" fmla="*/ 34131 w 604"/>
                  <a:gd name="T93" fmla="*/ 69850 h 512"/>
                  <a:gd name="T94" fmla="*/ 40481 w 604"/>
                  <a:gd name="T95" fmla="*/ 85725 h 512"/>
                  <a:gd name="T96" fmla="*/ 44450 w 604"/>
                  <a:gd name="T97" fmla="*/ 88900 h 512"/>
                  <a:gd name="T98" fmla="*/ 47625 w 604"/>
                  <a:gd name="T99" fmla="*/ 85725 h 512"/>
                  <a:gd name="T100" fmla="*/ 58738 w 604"/>
                  <a:gd name="T101" fmla="*/ 94456 h 512"/>
                  <a:gd name="T102" fmla="*/ 61119 w 604"/>
                  <a:gd name="T103" fmla="*/ 101600 h 512"/>
                  <a:gd name="T104" fmla="*/ 84931 w 604"/>
                  <a:gd name="T105" fmla="*/ 85725 h 512"/>
                  <a:gd name="T106" fmla="*/ 99219 w 604"/>
                  <a:gd name="T107" fmla="*/ 82550 h 51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604"/>
                  <a:gd name="T163" fmla="*/ 0 h 512"/>
                  <a:gd name="T164" fmla="*/ 604 w 604"/>
                  <a:gd name="T165" fmla="*/ 512 h 512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604" h="512">
                    <a:moveTo>
                      <a:pt x="501" y="416"/>
                    </a:moveTo>
                    <a:lnTo>
                      <a:pt x="501" y="416"/>
                    </a:lnTo>
                    <a:lnTo>
                      <a:pt x="518" y="401"/>
                    </a:lnTo>
                    <a:lnTo>
                      <a:pt x="535" y="384"/>
                    </a:lnTo>
                    <a:lnTo>
                      <a:pt x="552" y="368"/>
                    </a:lnTo>
                    <a:lnTo>
                      <a:pt x="570" y="353"/>
                    </a:lnTo>
                    <a:lnTo>
                      <a:pt x="587" y="336"/>
                    </a:lnTo>
                    <a:lnTo>
                      <a:pt x="604" y="336"/>
                    </a:lnTo>
                    <a:lnTo>
                      <a:pt x="604" y="320"/>
                    </a:lnTo>
                    <a:lnTo>
                      <a:pt x="604" y="305"/>
                    </a:lnTo>
                    <a:lnTo>
                      <a:pt x="604" y="288"/>
                    </a:lnTo>
                    <a:lnTo>
                      <a:pt x="587" y="272"/>
                    </a:lnTo>
                    <a:lnTo>
                      <a:pt x="570" y="257"/>
                    </a:lnTo>
                    <a:lnTo>
                      <a:pt x="552" y="257"/>
                    </a:lnTo>
                    <a:lnTo>
                      <a:pt x="535" y="257"/>
                    </a:lnTo>
                    <a:lnTo>
                      <a:pt x="535" y="272"/>
                    </a:lnTo>
                    <a:lnTo>
                      <a:pt x="518" y="272"/>
                    </a:lnTo>
                    <a:lnTo>
                      <a:pt x="501" y="272"/>
                    </a:lnTo>
                    <a:lnTo>
                      <a:pt x="483" y="272"/>
                    </a:lnTo>
                    <a:lnTo>
                      <a:pt x="466" y="272"/>
                    </a:lnTo>
                    <a:lnTo>
                      <a:pt x="449" y="272"/>
                    </a:lnTo>
                    <a:lnTo>
                      <a:pt x="431" y="257"/>
                    </a:lnTo>
                    <a:lnTo>
                      <a:pt x="449" y="240"/>
                    </a:lnTo>
                    <a:lnTo>
                      <a:pt x="431" y="209"/>
                    </a:lnTo>
                    <a:lnTo>
                      <a:pt x="431" y="161"/>
                    </a:lnTo>
                    <a:lnTo>
                      <a:pt x="380" y="113"/>
                    </a:lnTo>
                    <a:lnTo>
                      <a:pt x="328" y="96"/>
                    </a:lnTo>
                    <a:lnTo>
                      <a:pt x="293" y="113"/>
                    </a:lnTo>
                    <a:lnTo>
                      <a:pt x="276" y="96"/>
                    </a:lnTo>
                    <a:lnTo>
                      <a:pt x="241" y="80"/>
                    </a:lnTo>
                    <a:lnTo>
                      <a:pt x="241" y="65"/>
                    </a:lnTo>
                    <a:lnTo>
                      <a:pt x="224" y="48"/>
                    </a:lnTo>
                    <a:lnTo>
                      <a:pt x="172" y="17"/>
                    </a:lnTo>
                    <a:lnTo>
                      <a:pt x="120" y="0"/>
                    </a:lnTo>
                    <a:lnTo>
                      <a:pt x="69" y="32"/>
                    </a:lnTo>
                    <a:lnTo>
                      <a:pt x="86" y="48"/>
                    </a:lnTo>
                    <a:lnTo>
                      <a:pt x="69" y="80"/>
                    </a:lnTo>
                    <a:lnTo>
                      <a:pt x="51" y="80"/>
                    </a:lnTo>
                    <a:lnTo>
                      <a:pt x="34" y="96"/>
                    </a:lnTo>
                    <a:lnTo>
                      <a:pt x="0" y="96"/>
                    </a:lnTo>
                    <a:lnTo>
                      <a:pt x="0" y="128"/>
                    </a:lnTo>
                    <a:lnTo>
                      <a:pt x="17" y="128"/>
                    </a:lnTo>
                    <a:lnTo>
                      <a:pt x="86" y="224"/>
                    </a:lnTo>
                    <a:lnTo>
                      <a:pt x="103" y="240"/>
                    </a:lnTo>
                    <a:lnTo>
                      <a:pt x="120" y="272"/>
                    </a:lnTo>
                    <a:lnTo>
                      <a:pt x="120" y="320"/>
                    </a:lnTo>
                    <a:lnTo>
                      <a:pt x="172" y="353"/>
                    </a:lnTo>
                    <a:lnTo>
                      <a:pt x="207" y="432"/>
                    </a:lnTo>
                    <a:lnTo>
                      <a:pt x="224" y="449"/>
                    </a:lnTo>
                    <a:lnTo>
                      <a:pt x="241" y="432"/>
                    </a:lnTo>
                    <a:lnTo>
                      <a:pt x="293" y="479"/>
                    </a:lnTo>
                    <a:lnTo>
                      <a:pt x="311" y="512"/>
                    </a:lnTo>
                    <a:lnTo>
                      <a:pt x="431" y="432"/>
                    </a:lnTo>
                    <a:lnTo>
                      <a:pt x="501" y="416"/>
                    </a:lnTo>
                  </a:path>
                </a:pathLst>
              </a:custGeom>
              <a:pattFill prst="pct50">
                <a:fgClr>
                  <a:srgbClr val="91CD9E"/>
                </a:fgClr>
                <a:bgClr>
                  <a:schemeClr val="bg1"/>
                </a:bgClr>
              </a:patt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0" name="Freeform 200">
                <a:extLst>
                  <a:ext uri="{FF2B5EF4-FFF2-40B4-BE49-F238E27FC236}">
                    <a16:creationId xmlns:a16="http://schemas.microsoft.com/office/drawing/2014/main" id="{B7332957-FFC5-4867-959F-E35AA4C20C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38072" y="3455485"/>
                <a:ext cx="155919" cy="177260"/>
              </a:xfrm>
              <a:custGeom>
                <a:avLst/>
                <a:gdLst>
                  <a:gd name="T0" fmla="*/ 0 w 190"/>
                  <a:gd name="T1" fmla="*/ 41275 h 208"/>
                  <a:gd name="T2" fmla="*/ 0 w 190"/>
                  <a:gd name="T3" fmla="*/ 41275 h 208"/>
                  <a:gd name="T4" fmla="*/ 9525 w 190"/>
                  <a:gd name="T5" fmla="*/ 41275 h 208"/>
                  <a:gd name="T6" fmla="*/ 14288 w 190"/>
                  <a:gd name="T7" fmla="*/ 38100 h 208"/>
                  <a:gd name="T8" fmla="*/ 17463 w 190"/>
                  <a:gd name="T9" fmla="*/ 35719 h 208"/>
                  <a:gd name="T10" fmla="*/ 23813 w 190"/>
                  <a:gd name="T11" fmla="*/ 31750 h 208"/>
                  <a:gd name="T12" fmla="*/ 27781 w 190"/>
                  <a:gd name="T13" fmla="*/ 28575 h 208"/>
                  <a:gd name="T14" fmla="*/ 27781 w 190"/>
                  <a:gd name="T15" fmla="*/ 26194 h 208"/>
                  <a:gd name="T16" fmla="*/ 34131 w 190"/>
                  <a:gd name="T17" fmla="*/ 16669 h 208"/>
                  <a:gd name="T18" fmla="*/ 38100 w 190"/>
                  <a:gd name="T19" fmla="*/ 12700 h 208"/>
                  <a:gd name="T20" fmla="*/ 30956 w 190"/>
                  <a:gd name="T21" fmla="*/ 7144 h 208"/>
                  <a:gd name="T22" fmla="*/ 23813 w 190"/>
                  <a:gd name="T23" fmla="*/ 3175 h 208"/>
                  <a:gd name="T24" fmla="*/ 19844 w 190"/>
                  <a:gd name="T25" fmla="*/ 0 h 208"/>
                  <a:gd name="T26" fmla="*/ 14288 w 190"/>
                  <a:gd name="T27" fmla="*/ 7144 h 208"/>
                  <a:gd name="T28" fmla="*/ 17463 w 190"/>
                  <a:gd name="T29" fmla="*/ 9525 h 208"/>
                  <a:gd name="T30" fmla="*/ 19844 w 190"/>
                  <a:gd name="T31" fmla="*/ 12700 h 208"/>
                  <a:gd name="T32" fmla="*/ 19844 w 190"/>
                  <a:gd name="T33" fmla="*/ 16669 h 208"/>
                  <a:gd name="T34" fmla="*/ 19844 w 190"/>
                  <a:gd name="T35" fmla="*/ 19050 h 208"/>
                  <a:gd name="T36" fmla="*/ 19844 w 190"/>
                  <a:gd name="T37" fmla="*/ 22225 h 208"/>
                  <a:gd name="T38" fmla="*/ 17463 w 190"/>
                  <a:gd name="T39" fmla="*/ 22225 h 208"/>
                  <a:gd name="T40" fmla="*/ 14288 w 190"/>
                  <a:gd name="T41" fmla="*/ 26194 h 208"/>
                  <a:gd name="T42" fmla="*/ 9525 w 190"/>
                  <a:gd name="T43" fmla="*/ 28575 h 208"/>
                  <a:gd name="T44" fmla="*/ 7144 w 190"/>
                  <a:gd name="T45" fmla="*/ 31750 h 208"/>
                  <a:gd name="T46" fmla="*/ 3969 w 190"/>
                  <a:gd name="T47" fmla="*/ 35719 h 208"/>
                  <a:gd name="T48" fmla="*/ 0 w 190"/>
                  <a:gd name="T49" fmla="*/ 38100 h 208"/>
                  <a:gd name="T50" fmla="*/ 0 w 190"/>
                  <a:gd name="T51" fmla="*/ 41275 h 208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90"/>
                  <a:gd name="T79" fmla="*/ 0 h 208"/>
                  <a:gd name="T80" fmla="*/ 190 w 190"/>
                  <a:gd name="T81" fmla="*/ 208 h 208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90" h="208">
                    <a:moveTo>
                      <a:pt x="0" y="208"/>
                    </a:moveTo>
                    <a:lnTo>
                      <a:pt x="0" y="208"/>
                    </a:lnTo>
                    <a:lnTo>
                      <a:pt x="51" y="208"/>
                    </a:lnTo>
                    <a:lnTo>
                      <a:pt x="69" y="192"/>
                    </a:lnTo>
                    <a:lnTo>
                      <a:pt x="86" y="177"/>
                    </a:lnTo>
                    <a:lnTo>
                      <a:pt x="121" y="160"/>
                    </a:lnTo>
                    <a:lnTo>
                      <a:pt x="138" y="144"/>
                    </a:lnTo>
                    <a:lnTo>
                      <a:pt x="138" y="129"/>
                    </a:lnTo>
                    <a:lnTo>
                      <a:pt x="172" y="81"/>
                    </a:lnTo>
                    <a:lnTo>
                      <a:pt x="190" y="64"/>
                    </a:lnTo>
                    <a:lnTo>
                      <a:pt x="155" y="33"/>
                    </a:lnTo>
                    <a:lnTo>
                      <a:pt x="121" y="16"/>
                    </a:lnTo>
                    <a:lnTo>
                      <a:pt x="103" y="0"/>
                    </a:lnTo>
                    <a:lnTo>
                      <a:pt x="69" y="33"/>
                    </a:lnTo>
                    <a:lnTo>
                      <a:pt x="86" y="48"/>
                    </a:lnTo>
                    <a:lnTo>
                      <a:pt x="103" y="64"/>
                    </a:lnTo>
                    <a:lnTo>
                      <a:pt x="103" y="81"/>
                    </a:lnTo>
                    <a:lnTo>
                      <a:pt x="103" y="96"/>
                    </a:lnTo>
                    <a:lnTo>
                      <a:pt x="103" y="112"/>
                    </a:lnTo>
                    <a:lnTo>
                      <a:pt x="86" y="112"/>
                    </a:lnTo>
                    <a:lnTo>
                      <a:pt x="69" y="129"/>
                    </a:lnTo>
                    <a:lnTo>
                      <a:pt x="51" y="144"/>
                    </a:lnTo>
                    <a:lnTo>
                      <a:pt x="34" y="160"/>
                    </a:lnTo>
                    <a:lnTo>
                      <a:pt x="17" y="177"/>
                    </a:lnTo>
                    <a:lnTo>
                      <a:pt x="0" y="192"/>
                    </a:lnTo>
                    <a:lnTo>
                      <a:pt x="0" y="208"/>
                    </a:lnTo>
                    <a:close/>
                  </a:path>
                </a:pathLst>
              </a:custGeom>
              <a:pattFill prst="pct50">
                <a:fgClr>
                  <a:srgbClr val="91CD9E"/>
                </a:fgClr>
                <a:bgClr>
                  <a:schemeClr val="bg1"/>
                </a:bgClr>
              </a:patt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1" name="Freeform 204">
                <a:extLst>
                  <a:ext uri="{FF2B5EF4-FFF2-40B4-BE49-F238E27FC236}">
                    <a16:creationId xmlns:a16="http://schemas.microsoft.com/office/drawing/2014/main" id="{BA18DAE4-05AF-4AB6-8FD2-9AD46FAD1B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27761" y="3239024"/>
                <a:ext cx="96834" cy="107379"/>
              </a:xfrm>
              <a:custGeom>
                <a:avLst/>
                <a:gdLst>
                  <a:gd name="T0" fmla="*/ 22825 w 119"/>
                  <a:gd name="T1" fmla="*/ 5513 h 127"/>
                  <a:gd name="T2" fmla="*/ 22825 w 119"/>
                  <a:gd name="T3" fmla="*/ 5513 h 127"/>
                  <a:gd name="T4" fmla="*/ 22825 w 119"/>
                  <a:gd name="T5" fmla="*/ 0 h 127"/>
                  <a:gd name="T6" fmla="*/ 19677 w 119"/>
                  <a:gd name="T7" fmla="*/ 0 h 127"/>
                  <a:gd name="T8" fmla="*/ 9445 w 119"/>
                  <a:gd name="T9" fmla="*/ 5513 h 127"/>
                  <a:gd name="T10" fmla="*/ 2361 w 119"/>
                  <a:gd name="T11" fmla="*/ 5513 h 127"/>
                  <a:gd name="T12" fmla="*/ 2361 w 119"/>
                  <a:gd name="T13" fmla="*/ 9450 h 127"/>
                  <a:gd name="T14" fmla="*/ 2361 w 119"/>
                  <a:gd name="T15" fmla="*/ 14963 h 127"/>
                  <a:gd name="T16" fmla="*/ 0 w 119"/>
                  <a:gd name="T17" fmla="*/ 24413 h 127"/>
                  <a:gd name="T18" fmla="*/ 6297 w 119"/>
                  <a:gd name="T19" fmla="*/ 24413 h 127"/>
                  <a:gd name="T20" fmla="*/ 9445 w 119"/>
                  <a:gd name="T21" fmla="*/ 21263 h 127"/>
                  <a:gd name="T22" fmla="*/ 12593 w 119"/>
                  <a:gd name="T23" fmla="*/ 21263 h 127"/>
                  <a:gd name="T24" fmla="*/ 16529 w 119"/>
                  <a:gd name="T25" fmla="*/ 14963 h 127"/>
                  <a:gd name="T26" fmla="*/ 12593 w 119"/>
                  <a:gd name="T27" fmla="*/ 11813 h 127"/>
                  <a:gd name="T28" fmla="*/ 22825 w 119"/>
                  <a:gd name="T29" fmla="*/ 5513 h 12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19"/>
                  <a:gd name="T46" fmla="*/ 0 h 127"/>
                  <a:gd name="T47" fmla="*/ 119 w 119"/>
                  <a:gd name="T48" fmla="*/ 127 h 127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19" h="127">
                    <a:moveTo>
                      <a:pt x="119" y="31"/>
                    </a:moveTo>
                    <a:lnTo>
                      <a:pt x="119" y="31"/>
                    </a:lnTo>
                    <a:lnTo>
                      <a:pt x="119" y="0"/>
                    </a:lnTo>
                    <a:lnTo>
                      <a:pt x="101" y="0"/>
                    </a:lnTo>
                    <a:lnTo>
                      <a:pt x="49" y="31"/>
                    </a:lnTo>
                    <a:lnTo>
                      <a:pt x="15" y="31"/>
                    </a:lnTo>
                    <a:lnTo>
                      <a:pt x="15" y="48"/>
                    </a:lnTo>
                    <a:lnTo>
                      <a:pt x="15" y="79"/>
                    </a:lnTo>
                    <a:lnTo>
                      <a:pt x="0" y="127"/>
                    </a:lnTo>
                    <a:lnTo>
                      <a:pt x="32" y="127"/>
                    </a:lnTo>
                    <a:lnTo>
                      <a:pt x="49" y="111"/>
                    </a:lnTo>
                    <a:lnTo>
                      <a:pt x="67" y="111"/>
                    </a:lnTo>
                    <a:lnTo>
                      <a:pt x="84" y="79"/>
                    </a:lnTo>
                    <a:lnTo>
                      <a:pt x="67" y="63"/>
                    </a:lnTo>
                    <a:lnTo>
                      <a:pt x="119" y="31"/>
                    </a:lnTo>
                    <a:close/>
                  </a:path>
                </a:pathLst>
              </a:custGeom>
              <a:pattFill prst="pct50">
                <a:fgClr>
                  <a:srgbClr val="91CD9E"/>
                </a:fgClr>
                <a:bgClr>
                  <a:schemeClr val="bg1"/>
                </a:bgClr>
              </a:patt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2" name="Freeform 205">
                <a:extLst>
                  <a:ext uri="{FF2B5EF4-FFF2-40B4-BE49-F238E27FC236}">
                    <a16:creationId xmlns:a16="http://schemas.microsoft.com/office/drawing/2014/main" id="{C089A2F7-B2BE-4D69-A369-2D70EA9027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2270" y="3428214"/>
                <a:ext cx="141147" cy="68177"/>
              </a:xfrm>
              <a:custGeom>
                <a:avLst/>
                <a:gdLst>
                  <a:gd name="T0" fmla="*/ 26832 w 173"/>
                  <a:gd name="T1" fmla="*/ 13494 h 80"/>
                  <a:gd name="T2" fmla="*/ 26832 w 173"/>
                  <a:gd name="T3" fmla="*/ 13494 h 80"/>
                  <a:gd name="T4" fmla="*/ 33934 w 173"/>
                  <a:gd name="T5" fmla="*/ 6350 h 80"/>
                  <a:gd name="T6" fmla="*/ 33934 w 173"/>
                  <a:gd name="T7" fmla="*/ 3969 h 80"/>
                  <a:gd name="T8" fmla="*/ 30777 w 173"/>
                  <a:gd name="T9" fmla="*/ 0 h 80"/>
                  <a:gd name="T10" fmla="*/ 20518 w 173"/>
                  <a:gd name="T11" fmla="*/ 9525 h 80"/>
                  <a:gd name="T12" fmla="*/ 10259 w 173"/>
                  <a:gd name="T13" fmla="*/ 9525 h 80"/>
                  <a:gd name="T14" fmla="*/ 3157 w 173"/>
                  <a:gd name="T15" fmla="*/ 9525 h 80"/>
                  <a:gd name="T16" fmla="*/ 0 w 173"/>
                  <a:gd name="T17" fmla="*/ 13494 h 80"/>
                  <a:gd name="T18" fmla="*/ 3157 w 173"/>
                  <a:gd name="T19" fmla="*/ 15875 h 80"/>
                  <a:gd name="T20" fmla="*/ 6313 w 173"/>
                  <a:gd name="T21" fmla="*/ 15875 h 80"/>
                  <a:gd name="T22" fmla="*/ 10259 w 173"/>
                  <a:gd name="T23" fmla="*/ 15875 h 80"/>
                  <a:gd name="T24" fmla="*/ 13416 w 173"/>
                  <a:gd name="T25" fmla="*/ 15875 h 80"/>
                  <a:gd name="T26" fmla="*/ 16572 w 173"/>
                  <a:gd name="T27" fmla="*/ 15875 h 80"/>
                  <a:gd name="T28" fmla="*/ 20518 w 173"/>
                  <a:gd name="T29" fmla="*/ 15875 h 80"/>
                  <a:gd name="T30" fmla="*/ 20518 w 173"/>
                  <a:gd name="T31" fmla="*/ 13494 h 80"/>
                  <a:gd name="T32" fmla="*/ 23675 w 173"/>
                  <a:gd name="T33" fmla="*/ 13494 h 80"/>
                  <a:gd name="T34" fmla="*/ 26832 w 173"/>
                  <a:gd name="T35" fmla="*/ 13494 h 80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173"/>
                  <a:gd name="T55" fmla="*/ 0 h 80"/>
                  <a:gd name="T56" fmla="*/ 173 w 173"/>
                  <a:gd name="T57" fmla="*/ 80 h 80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173" h="80">
                    <a:moveTo>
                      <a:pt x="139" y="65"/>
                    </a:moveTo>
                    <a:lnTo>
                      <a:pt x="139" y="65"/>
                    </a:lnTo>
                    <a:lnTo>
                      <a:pt x="173" y="32"/>
                    </a:lnTo>
                    <a:lnTo>
                      <a:pt x="173" y="17"/>
                    </a:lnTo>
                    <a:lnTo>
                      <a:pt x="156" y="0"/>
                    </a:lnTo>
                    <a:lnTo>
                      <a:pt x="104" y="48"/>
                    </a:lnTo>
                    <a:lnTo>
                      <a:pt x="52" y="48"/>
                    </a:lnTo>
                    <a:lnTo>
                      <a:pt x="18" y="48"/>
                    </a:lnTo>
                    <a:lnTo>
                      <a:pt x="0" y="65"/>
                    </a:lnTo>
                    <a:lnTo>
                      <a:pt x="18" y="80"/>
                    </a:lnTo>
                    <a:lnTo>
                      <a:pt x="35" y="80"/>
                    </a:lnTo>
                    <a:lnTo>
                      <a:pt x="52" y="80"/>
                    </a:lnTo>
                    <a:lnTo>
                      <a:pt x="70" y="80"/>
                    </a:lnTo>
                    <a:lnTo>
                      <a:pt x="87" y="80"/>
                    </a:lnTo>
                    <a:lnTo>
                      <a:pt x="104" y="80"/>
                    </a:lnTo>
                    <a:lnTo>
                      <a:pt x="104" y="65"/>
                    </a:lnTo>
                    <a:lnTo>
                      <a:pt x="121" y="65"/>
                    </a:lnTo>
                    <a:lnTo>
                      <a:pt x="139" y="65"/>
                    </a:lnTo>
                    <a:close/>
                  </a:path>
                </a:pathLst>
              </a:custGeom>
              <a:pattFill prst="pct50">
                <a:fgClr>
                  <a:srgbClr val="91CD9E"/>
                </a:fgClr>
                <a:bgClr>
                  <a:schemeClr val="bg1"/>
                </a:bgClr>
              </a:patt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3" name="Freeform 207">
                <a:extLst>
                  <a:ext uri="{FF2B5EF4-FFF2-40B4-BE49-F238E27FC236}">
                    <a16:creationId xmlns:a16="http://schemas.microsoft.com/office/drawing/2014/main" id="{F25F7546-38BD-4B2C-B97D-ACE759500D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09940" y="3619109"/>
                <a:ext cx="228133" cy="109084"/>
              </a:xfrm>
              <a:custGeom>
                <a:avLst/>
                <a:gdLst>
                  <a:gd name="T0" fmla="*/ 0 w 279"/>
                  <a:gd name="T1" fmla="*/ 6301 h 129"/>
                  <a:gd name="T2" fmla="*/ 0 w 279"/>
                  <a:gd name="T3" fmla="*/ 6301 h 129"/>
                  <a:gd name="T4" fmla="*/ 3164 w 279"/>
                  <a:gd name="T5" fmla="*/ 3150 h 129"/>
                  <a:gd name="T6" fmla="*/ 13445 w 279"/>
                  <a:gd name="T7" fmla="*/ 11814 h 129"/>
                  <a:gd name="T8" fmla="*/ 16609 w 279"/>
                  <a:gd name="T9" fmla="*/ 18902 h 129"/>
                  <a:gd name="T10" fmla="*/ 41127 w 279"/>
                  <a:gd name="T11" fmla="*/ 3150 h 129"/>
                  <a:gd name="T12" fmla="*/ 54573 w 279"/>
                  <a:gd name="T13" fmla="*/ 0 h 129"/>
                  <a:gd name="T14" fmla="*/ 54573 w 279"/>
                  <a:gd name="T15" fmla="*/ 3150 h 129"/>
                  <a:gd name="T16" fmla="*/ 51409 w 279"/>
                  <a:gd name="T17" fmla="*/ 6301 h 129"/>
                  <a:gd name="T18" fmla="*/ 51409 w 279"/>
                  <a:gd name="T19" fmla="*/ 9451 h 129"/>
                  <a:gd name="T20" fmla="*/ 37964 w 279"/>
                  <a:gd name="T21" fmla="*/ 11814 h 129"/>
                  <a:gd name="T22" fmla="*/ 23727 w 279"/>
                  <a:gd name="T23" fmla="*/ 21265 h 129"/>
                  <a:gd name="T24" fmla="*/ 16609 w 279"/>
                  <a:gd name="T25" fmla="*/ 21265 h 129"/>
                  <a:gd name="T26" fmla="*/ 10282 w 279"/>
                  <a:gd name="T27" fmla="*/ 25203 h 129"/>
                  <a:gd name="T28" fmla="*/ 3164 w 279"/>
                  <a:gd name="T29" fmla="*/ 25203 h 129"/>
                  <a:gd name="T30" fmla="*/ 0 w 279"/>
                  <a:gd name="T31" fmla="*/ 6301 h 12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79"/>
                  <a:gd name="T49" fmla="*/ 0 h 129"/>
                  <a:gd name="T50" fmla="*/ 279 w 279"/>
                  <a:gd name="T51" fmla="*/ 129 h 129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79" h="129">
                    <a:moveTo>
                      <a:pt x="0" y="33"/>
                    </a:moveTo>
                    <a:lnTo>
                      <a:pt x="0" y="33"/>
                    </a:lnTo>
                    <a:lnTo>
                      <a:pt x="17" y="16"/>
                    </a:lnTo>
                    <a:lnTo>
                      <a:pt x="69" y="63"/>
                    </a:lnTo>
                    <a:lnTo>
                      <a:pt x="87" y="96"/>
                    </a:lnTo>
                    <a:lnTo>
                      <a:pt x="209" y="16"/>
                    </a:lnTo>
                    <a:lnTo>
                      <a:pt x="279" y="0"/>
                    </a:lnTo>
                    <a:lnTo>
                      <a:pt x="279" y="16"/>
                    </a:lnTo>
                    <a:lnTo>
                      <a:pt x="261" y="33"/>
                    </a:lnTo>
                    <a:lnTo>
                      <a:pt x="261" y="48"/>
                    </a:lnTo>
                    <a:lnTo>
                      <a:pt x="192" y="63"/>
                    </a:lnTo>
                    <a:lnTo>
                      <a:pt x="123" y="111"/>
                    </a:lnTo>
                    <a:lnTo>
                      <a:pt x="87" y="111"/>
                    </a:lnTo>
                    <a:lnTo>
                      <a:pt x="52" y="129"/>
                    </a:lnTo>
                    <a:lnTo>
                      <a:pt x="17" y="129"/>
                    </a:lnTo>
                    <a:lnTo>
                      <a:pt x="0" y="33"/>
                    </a:lnTo>
                    <a:close/>
                  </a:path>
                </a:pathLst>
              </a:custGeom>
              <a:pattFill prst="pct50">
                <a:fgClr>
                  <a:srgbClr val="91CD9E"/>
                </a:fgClr>
                <a:bgClr>
                  <a:schemeClr val="bg1"/>
                </a:bgClr>
              </a:patt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4" name="Freeform 218">
                <a:extLst>
                  <a:ext uri="{FF2B5EF4-FFF2-40B4-BE49-F238E27FC236}">
                    <a16:creationId xmlns:a16="http://schemas.microsoft.com/office/drawing/2014/main" id="{B56F3399-CB33-46BA-B7E7-818FD1CDD5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4596" y="3128235"/>
                <a:ext cx="213362" cy="218166"/>
              </a:xfrm>
              <a:custGeom>
                <a:avLst/>
                <a:gdLst>
                  <a:gd name="T0" fmla="*/ 31076 w 259"/>
                  <a:gd name="T1" fmla="*/ 3175 h 256"/>
                  <a:gd name="T2" fmla="*/ 31076 w 259"/>
                  <a:gd name="T3" fmla="*/ 3175 h 256"/>
                  <a:gd name="T4" fmla="*/ 34263 w 259"/>
                  <a:gd name="T5" fmla="*/ 9525 h 256"/>
                  <a:gd name="T6" fmla="*/ 38247 w 259"/>
                  <a:gd name="T7" fmla="*/ 9525 h 256"/>
                  <a:gd name="T8" fmla="*/ 38247 w 259"/>
                  <a:gd name="T9" fmla="*/ 15875 h 256"/>
                  <a:gd name="T10" fmla="*/ 34263 w 259"/>
                  <a:gd name="T11" fmla="*/ 22225 h 256"/>
                  <a:gd name="T12" fmla="*/ 38247 w 259"/>
                  <a:gd name="T13" fmla="*/ 28575 h 256"/>
                  <a:gd name="T14" fmla="*/ 44622 w 259"/>
                  <a:gd name="T15" fmla="*/ 31750 h 256"/>
                  <a:gd name="T16" fmla="*/ 48606 w 259"/>
                  <a:gd name="T17" fmla="*/ 41275 h 256"/>
                  <a:gd name="T18" fmla="*/ 51793 w 259"/>
                  <a:gd name="T19" fmla="*/ 44450 h 256"/>
                  <a:gd name="T20" fmla="*/ 51793 w 259"/>
                  <a:gd name="T21" fmla="*/ 47625 h 256"/>
                  <a:gd name="T22" fmla="*/ 44622 w 259"/>
                  <a:gd name="T23" fmla="*/ 47625 h 256"/>
                  <a:gd name="T24" fmla="*/ 41434 w 259"/>
                  <a:gd name="T25" fmla="*/ 50800 h 256"/>
                  <a:gd name="T26" fmla="*/ 34263 w 259"/>
                  <a:gd name="T27" fmla="*/ 47625 h 256"/>
                  <a:gd name="T28" fmla="*/ 31076 w 259"/>
                  <a:gd name="T29" fmla="*/ 50800 h 256"/>
                  <a:gd name="T30" fmla="*/ 23904 w 259"/>
                  <a:gd name="T31" fmla="*/ 47625 h 256"/>
                  <a:gd name="T32" fmla="*/ 23904 w 259"/>
                  <a:gd name="T33" fmla="*/ 44450 h 256"/>
                  <a:gd name="T34" fmla="*/ 20717 w 259"/>
                  <a:gd name="T35" fmla="*/ 41275 h 256"/>
                  <a:gd name="T36" fmla="*/ 10359 w 259"/>
                  <a:gd name="T37" fmla="*/ 34925 h 256"/>
                  <a:gd name="T38" fmla="*/ 0 w 259"/>
                  <a:gd name="T39" fmla="*/ 31750 h 256"/>
                  <a:gd name="T40" fmla="*/ 0 w 259"/>
                  <a:gd name="T41" fmla="*/ 25400 h 256"/>
                  <a:gd name="T42" fmla="*/ 10359 w 259"/>
                  <a:gd name="T43" fmla="*/ 19050 h 256"/>
                  <a:gd name="T44" fmla="*/ 14343 w 259"/>
                  <a:gd name="T45" fmla="*/ 6350 h 256"/>
                  <a:gd name="T46" fmla="*/ 20717 w 259"/>
                  <a:gd name="T47" fmla="*/ 3175 h 256"/>
                  <a:gd name="T48" fmla="*/ 20717 w 259"/>
                  <a:gd name="T49" fmla="*/ 0 h 256"/>
                  <a:gd name="T50" fmla="*/ 31076 w 259"/>
                  <a:gd name="T51" fmla="*/ 3175 h 25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259"/>
                  <a:gd name="T79" fmla="*/ 0 h 256"/>
                  <a:gd name="T80" fmla="*/ 259 w 259"/>
                  <a:gd name="T81" fmla="*/ 256 h 25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259" h="256">
                    <a:moveTo>
                      <a:pt x="155" y="16"/>
                    </a:moveTo>
                    <a:lnTo>
                      <a:pt x="155" y="16"/>
                    </a:lnTo>
                    <a:lnTo>
                      <a:pt x="172" y="48"/>
                    </a:lnTo>
                    <a:lnTo>
                      <a:pt x="190" y="48"/>
                    </a:lnTo>
                    <a:lnTo>
                      <a:pt x="190" y="81"/>
                    </a:lnTo>
                    <a:lnTo>
                      <a:pt x="172" y="112"/>
                    </a:lnTo>
                    <a:lnTo>
                      <a:pt x="190" y="144"/>
                    </a:lnTo>
                    <a:lnTo>
                      <a:pt x="224" y="160"/>
                    </a:lnTo>
                    <a:lnTo>
                      <a:pt x="241" y="208"/>
                    </a:lnTo>
                    <a:lnTo>
                      <a:pt x="259" y="225"/>
                    </a:lnTo>
                    <a:lnTo>
                      <a:pt x="259" y="240"/>
                    </a:lnTo>
                    <a:lnTo>
                      <a:pt x="224" y="240"/>
                    </a:lnTo>
                    <a:lnTo>
                      <a:pt x="207" y="256"/>
                    </a:lnTo>
                    <a:lnTo>
                      <a:pt x="172" y="240"/>
                    </a:lnTo>
                    <a:lnTo>
                      <a:pt x="155" y="256"/>
                    </a:lnTo>
                    <a:lnTo>
                      <a:pt x="120" y="240"/>
                    </a:lnTo>
                    <a:lnTo>
                      <a:pt x="120" y="225"/>
                    </a:lnTo>
                    <a:lnTo>
                      <a:pt x="103" y="208"/>
                    </a:lnTo>
                    <a:lnTo>
                      <a:pt x="51" y="177"/>
                    </a:lnTo>
                    <a:lnTo>
                      <a:pt x="0" y="160"/>
                    </a:lnTo>
                    <a:lnTo>
                      <a:pt x="0" y="129"/>
                    </a:lnTo>
                    <a:lnTo>
                      <a:pt x="51" y="96"/>
                    </a:lnTo>
                    <a:lnTo>
                      <a:pt x="69" y="33"/>
                    </a:lnTo>
                    <a:lnTo>
                      <a:pt x="103" y="16"/>
                    </a:lnTo>
                    <a:lnTo>
                      <a:pt x="103" y="0"/>
                    </a:lnTo>
                    <a:lnTo>
                      <a:pt x="155" y="16"/>
                    </a:lnTo>
                  </a:path>
                </a:pathLst>
              </a:custGeom>
              <a:pattFill prst="pct50">
                <a:fgClr>
                  <a:srgbClr val="91CD9E"/>
                </a:fgClr>
                <a:bgClr>
                  <a:schemeClr val="bg1"/>
                </a:bgClr>
              </a:patt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5" name="Freeform 281">
                <a:extLst>
                  <a:ext uri="{FF2B5EF4-FFF2-40B4-BE49-F238E27FC236}">
                    <a16:creationId xmlns:a16="http://schemas.microsoft.com/office/drawing/2014/main" id="{EA13EE63-2F55-4066-8063-187AA2420D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4969" y="3250953"/>
                <a:ext cx="357791" cy="327249"/>
              </a:xfrm>
              <a:custGeom>
                <a:avLst/>
                <a:gdLst>
                  <a:gd name="T0" fmla="*/ 14320 w 435"/>
                  <a:gd name="T1" fmla="*/ 54769 h 384"/>
                  <a:gd name="T2" fmla="*/ 14320 w 435"/>
                  <a:gd name="T3" fmla="*/ 54769 h 384"/>
                  <a:gd name="T4" fmla="*/ 10342 w 435"/>
                  <a:gd name="T5" fmla="*/ 47625 h 384"/>
                  <a:gd name="T6" fmla="*/ 7160 w 435"/>
                  <a:gd name="T7" fmla="*/ 47625 h 384"/>
                  <a:gd name="T8" fmla="*/ 0 w 435"/>
                  <a:gd name="T9" fmla="*/ 38100 h 384"/>
                  <a:gd name="T10" fmla="*/ 3978 w 435"/>
                  <a:gd name="T11" fmla="*/ 35719 h 384"/>
                  <a:gd name="T12" fmla="*/ 3978 w 435"/>
                  <a:gd name="T13" fmla="*/ 28575 h 384"/>
                  <a:gd name="T14" fmla="*/ 3978 w 435"/>
                  <a:gd name="T15" fmla="*/ 22225 h 384"/>
                  <a:gd name="T16" fmla="*/ 0 w 435"/>
                  <a:gd name="T17" fmla="*/ 19050 h 384"/>
                  <a:gd name="T18" fmla="*/ 0 w 435"/>
                  <a:gd name="T19" fmla="*/ 16669 h 384"/>
                  <a:gd name="T20" fmla="*/ 3978 w 435"/>
                  <a:gd name="T21" fmla="*/ 12700 h 384"/>
                  <a:gd name="T22" fmla="*/ 3978 w 435"/>
                  <a:gd name="T23" fmla="*/ 9525 h 384"/>
                  <a:gd name="T24" fmla="*/ 10342 w 435"/>
                  <a:gd name="T25" fmla="*/ 3175 h 384"/>
                  <a:gd name="T26" fmla="*/ 10342 w 435"/>
                  <a:gd name="T27" fmla="*/ 0 h 384"/>
                  <a:gd name="T28" fmla="*/ 17503 w 435"/>
                  <a:gd name="T29" fmla="*/ 0 h 384"/>
                  <a:gd name="T30" fmla="*/ 27845 w 435"/>
                  <a:gd name="T31" fmla="*/ 3175 h 384"/>
                  <a:gd name="T32" fmla="*/ 35005 w 435"/>
                  <a:gd name="T33" fmla="*/ 3175 h 384"/>
                  <a:gd name="T34" fmla="*/ 35005 w 435"/>
                  <a:gd name="T35" fmla="*/ 9525 h 384"/>
                  <a:gd name="T36" fmla="*/ 55690 w 435"/>
                  <a:gd name="T37" fmla="*/ 16669 h 384"/>
                  <a:gd name="T38" fmla="*/ 58873 w 435"/>
                  <a:gd name="T39" fmla="*/ 12700 h 384"/>
                  <a:gd name="T40" fmla="*/ 58873 w 435"/>
                  <a:gd name="T41" fmla="*/ 7144 h 384"/>
                  <a:gd name="T42" fmla="*/ 70011 w 435"/>
                  <a:gd name="T43" fmla="*/ 0 h 384"/>
                  <a:gd name="T44" fmla="*/ 76375 w 435"/>
                  <a:gd name="T45" fmla="*/ 3175 h 384"/>
                  <a:gd name="T46" fmla="*/ 76375 w 435"/>
                  <a:gd name="T47" fmla="*/ 7144 h 384"/>
                  <a:gd name="T48" fmla="*/ 86718 w 435"/>
                  <a:gd name="T49" fmla="*/ 7144 h 384"/>
                  <a:gd name="T50" fmla="*/ 83535 w 435"/>
                  <a:gd name="T51" fmla="*/ 19050 h 384"/>
                  <a:gd name="T52" fmla="*/ 86718 w 435"/>
                  <a:gd name="T53" fmla="*/ 26194 h 384"/>
                  <a:gd name="T54" fmla="*/ 86718 w 435"/>
                  <a:gd name="T55" fmla="*/ 60325 h 384"/>
                  <a:gd name="T56" fmla="*/ 86718 w 435"/>
                  <a:gd name="T57" fmla="*/ 69850 h 384"/>
                  <a:gd name="T58" fmla="*/ 83535 w 435"/>
                  <a:gd name="T59" fmla="*/ 73819 h 384"/>
                  <a:gd name="T60" fmla="*/ 80353 w 435"/>
                  <a:gd name="T61" fmla="*/ 76200 h 384"/>
                  <a:gd name="T62" fmla="*/ 38188 w 435"/>
                  <a:gd name="T63" fmla="*/ 54769 h 384"/>
                  <a:gd name="T64" fmla="*/ 31823 w 435"/>
                  <a:gd name="T65" fmla="*/ 57150 h 384"/>
                  <a:gd name="T66" fmla="*/ 27845 w 435"/>
                  <a:gd name="T67" fmla="*/ 54769 h 384"/>
                  <a:gd name="T68" fmla="*/ 14320 w 435"/>
                  <a:gd name="T69" fmla="*/ 54769 h 384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435"/>
                  <a:gd name="T106" fmla="*/ 0 h 384"/>
                  <a:gd name="T107" fmla="*/ 435 w 435"/>
                  <a:gd name="T108" fmla="*/ 384 h 384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435" h="384">
                    <a:moveTo>
                      <a:pt x="69" y="273"/>
                    </a:moveTo>
                    <a:lnTo>
                      <a:pt x="69" y="273"/>
                    </a:lnTo>
                    <a:lnTo>
                      <a:pt x="51" y="240"/>
                    </a:lnTo>
                    <a:lnTo>
                      <a:pt x="34" y="240"/>
                    </a:lnTo>
                    <a:lnTo>
                      <a:pt x="0" y="192"/>
                    </a:lnTo>
                    <a:lnTo>
                      <a:pt x="17" y="177"/>
                    </a:lnTo>
                    <a:lnTo>
                      <a:pt x="17" y="144"/>
                    </a:lnTo>
                    <a:lnTo>
                      <a:pt x="17" y="112"/>
                    </a:lnTo>
                    <a:lnTo>
                      <a:pt x="0" y="96"/>
                    </a:lnTo>
                    <a:lnTo>
                      <a:pt x="0" y="81"/>
                    </a:lnTo>
                    <a:lnTo>
                      <a:pt x="17" y="64"/>
                    </a:lnTo>
                    <a:lnTo>
                      <a:pt x="17" y="48"/>
                    </a:lnTo>
                    <a:lnTo>
                      <a:pt x="51" y="16"/>
                    </a:lnTo>
                    <a:lnTo>
                      <a:pt x="51" y="0"/>
                    </a:lnTo>
                    <a:lnTo>
                      <a:pt x="86" y="0"/>
                    </a:lnTo>
                    <a:lnTo>
                      <a:pt x="140" y="16"/>
                    </a:lnTo>
                    <a:lnTo>
                      <a:pt x="174" y="16"/>
                    </a:lnTo>
                    <a:lnTo>
                      <a:pt x="174" y="48"/>
                    </a:lnTo>
                    <a:lnTo>
                      <a:pt x="278" y="81"/>
                    </a:lnTo>
                    <a:lnTo>
                      <a:pt x="295" y="64"/>
                    </a:lnTo>
                    <a:lnTo>
                      <a:pt x="295" y="33"/>
                    </a:lnTo>
                    <a:lnTo>
                      <a:pt x="349" y="0"/>
                    </a:lnTo>
                    <a:lnTo>
                      <a:pt x="384" y="16"/>
                    </a:lnTo>
                    <a:lnTo>
                      <a:pt x="384" y="33"/>
                    </a:lnTo>
                    <a:lnTo>
                      <a:pt x="435" y="33"/>
                    </a:lnTo>
                    <a:lnTo>
                      <a:pt x="418" y="96"/>
                    </a:lnTo>
                    <a:lnTo>
                      <a:pt x="435" y="129"/>
                    </a:lnTo>
                    <a:lnTo>
                      <a:pt x="435" y="304"/>
                    </a:lnTo>
                    <a:lnTo>
                      <a:pt x="435" y="352"/>
                    </a:lnTo>
                    <a:lnTo>
                      <a:pt x="418" y="369"/>
                    </a:lnTo>
                    <a:lnTo>
                      <a:pt x="401" y="384"/>
                    </a:lnTo>
                    <a:lnTo>
                      <a:pt x="192" y="273"/>
                    </a:lnTo>
                    <a:lnTo>
                      <a:pt x="157" y="288"/>
                    </a:lnTo>
                    <a:lnTo>
                      <a:pt x="140" y="273"/>
                    </a:lnTo>
                    <a:lnTo>
                      <a:pt x="69" y="273"/>
                    </a:lnTo>
                    <a:close/>
                  </a:path>
                </a:pathLst>
              </a:custGeom>
              <a:pattFill prst="pct50">
                <a:fgClr>
                  <a:srgbClr val="91CD9E"/>
                </a:fgClr>
                <a:bgClr>
                  <a:schemeClr val="bg1"/>
                </a:bgClr>
              </a:patt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6" name="Freeform 282">
                <a:extLst>
                  <a:ext uri="{FF2B5EF4-FFF2-40B4-BE49-F238E27FC236}">
                    <a16:creationId xmlns:a16="http://schemas.microsoft.com/office/drawing/2014/main" id="{1171E293-EB4F-457C-8178-6BF780F562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99629" y="3279928"/>
                <a:ext cx="254394" cy="243733"/>
              </a:xfrm>
              <a:custGeom>
                <a:avLst/>
                <a:gdLst>
                  <a:gd name="T0" fmla="*/ 60922 w 311"/>
                  <a:gd name="T1" fmla="*/ 49659 h 288"/>
                  <a:gd name="T2" fmla="*/ 60922 w 311"/>
                  <a:gd name="T3" fmla="*/ 49659 h 288"/>
                  <a:gd name="T4" fmla="*/ 50637 w 311"/>
                  <a:gd name="T5" fmla="*/ 55965 h 288"/>
                  <a:gd name="T6" fmla="*/ 47472 w 311"/>
                  <a:gd name="T7" fmla="*/ 52812 h 288"/>
                  <a:gd name="T8" fmla="*/ 3165 w 311"/>
                  <a:gd name="T9" fmla="*/ 52812 h 288"/>
                  <a:gd name="T10" fmla="*/ 3165 w 311"/>
                  <a:gd name="T11" fmla="*/ 18918 h 288"/>
                  <a:gd name="T12" fmla="*/ 0 w 311"/>
                  <a:gd name="T13" fmla="*/ 11824 h 288"/>
                  <a:gd name="T14" fmla="*/ 3165 w 311"/>
                  <a:gd name="T15" fmla="*/ 0 h 288"/>
                  <a:gd name="T16" fmla="*/ 3165 w 311"/>
                  <a:gd name="T17" fmla="*/ 2365 h 288"/>
                  <a:gd name="T18" fmla="*/ 13450 w 311"/>
                  <a:gd name="T19" fmla="*/ 2365 h 288"/>
                  <a:gd name="T20" fmla="*/ 23736 w 311"/>
                  <a:gd name="T21" fmla="*/ 5518 h 288"/>
                  <a:gd name="T22" fmla="*/ 37186 w 311"/>
                  <a:gd name="T23" fmla="*/ 2365 h 288"/>
                  <a:gd name="T24" fmla="*/ 40351 w 311"/>
                  <a:gd name="T25" fmla="*/ 2365 h 288"/>
                  <a:gd name="T26" fmla="*/ 40351 w 311"/>
                  <a:gd name="T27" fmla="*/ 5518 h 288"/>
                  <a:gd name="T28" fmla="*/ 44307 w 311"/>
                  <a:gd name="T29" fmla="*/ 2365 h 288"/>
                  <a:gd name="T30" fmla="*/ 44307 w 311"/>
                  <a:gd name="T31" fmla="*/ 5518 h 288"/>
                  <a:gd name="T32" fmla="*/ 50637 w 311"/>
                  <a:gd name="T33" fmla="*/ 2365 h 288"/>
                  <a:gd name="T34" fmla="*/ 54593 w 311"/>
                  <a:gd name="T35" fmla="*/ 14977 h 288"/>
                  <a:gd name="T36" fmla="*/ 50637 w 311"/>
                  <a:gd name="T37" fmla="*/ 24435 h 288"/>
                  <a:gd name="T38" fmla="*/ 47472 w 311"/>
                  <a:gd name="T39" fmla="*/ 18918 h 288"/>
                  <a:gd name="T40" fmla="*/ 44307 w 311"/>
                  <a:gd name="T41" fmla="*/ 9459 h 288"/>
                  <a:gd name="T42" fmla="*/ 44307 w 311"/>
                  <a:gd name="T43" fmla="*/ 11824 h 288"/>
                  <a:gd name="T44" fmla="*/ 44307 w 311"/>
                  <a:gd name="T45" fmla="*/ 14977 h 288"/>
                  <a:gd name="T46" fmla="*/ 60922 w 311"/>
                  <a:gd name="T47" fmla="*/ 49659 h 288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311"/>
                  <a:gd name="T73" fmla="*/ 0 h 288"/>
                  <a:gd name="T74" fmla="*/ 311 w 311"/>
                  <a:gd name="T75" fmla="*/ 288 h 288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311" h="288">
                    <a:moveTo>
                      <a:pt x="311" y="255"/>
                    </a:moveTo>
                    <a:lnTo>
                      <a:pt x="311" y="255"/>
                    </a:lnTo>
                    <a:lnTo>
                      <a:pt x="259" y="288"/>
                    </a:lnTo>
                    <a:lnTo>
                      <a:pt x="242" y="271"/>
                    </a:lnTo>
                    <a:lnTo>
                      <a:pt x="17" y="271"/>
                    </a:lnTo>
                    <a:lnTo>
                      <a:pt x="17" y="96"/>
                    </a:lnTo>
                    <a:lnTo>
                      <a:pt x="0" y="63"/>
                    </a:lnTo>
                    <a:lnTo>
                      <a:pt x="17" y="0"/>
                    </a:lnTo>
                    <a:lnTo>
                      <a:pt x="17" y="15"/>
                    </a:lnTo>
                    <a:lnTo>
                      <a:pt x="69" y="15"/>
                    </a:lnTo>
                    <a:lnTo>
                      <a:pt x="121" y="31"/>
                    </a:lnTo>
                    <a:lnTo>
                      <a:pt x="190" y="15"/>
                    </a:lnTo>
                    <a:lnTo>
                      <a:pt x="207" y="15"/>
                    </a:lnTo>
                    <a:lnTo>
                      <a:pt x="207" y="31"/>
                    </a:lnTo>
                    <a:lnTo>
                      <a:pt x="225" y="15"/>
                    </a:lnTo>
                    <a:lnTo>
                      <a:pt x="225" y="31"/>
                    </a:lnTo>
                    <a:lnTo>
                      <a:pt x="259" y="15"/>
                    </a:lnTo>
                    <a:lnTo>
                      <a:pt x="277" y="79"/>
                    </a:lnTo>
                    <a:lnTo>
                      <a:pt x="259" y="127"/>
                    </a:lnTo>
                    <a:lnTo>
                      <a:pt x="242" y="96"/>
                    </a:lnTo>
                    <a:lnTo>
                      <a:pt x="225" y="48"/>
                    </a:lnTo>
                    <a:lnTo>
                      <a:pt x="225" y="63"/>
                    </a:lnTo>
                    <a:lnTo>
                      <a:pt x="225" y="79"/>
                    </a:lnTo>
                    <a:lnTo>
                      <a:pt x="311" y="255"/>
                    </a:lnTo>
                    <a:close/>
                  </a:path>
                </a:pathLst>
              </a:custGeom>
              <a:pattFill prst="pct50">
                <a:fgClr>
                  <a:srgbClr val="91CD9E"/>
                </a:fgClr>
                <a:bgClr>
                  <a:schemeClr val="bg1"/>
                </a:bgClr>
              </a:patt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7" name="Freeform 285">
                <a:extLst>
                  <a:ext uri="{FF2B5EF4-FFF2-40B4-BE49-F238E27FC236}">
                    <a16:creationId xmlns:a16="http://schemas.microsoft.com/office/drawing/2014/main" id="{9BBE37FF-5E4A-4788-8F8F-4A778347B6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8366" y="3482755"/>
                <a:ext cx="224850" cy="354521"/>
              </a:xfrm>
              <a:custGeom>
                <a:avLst/>
                <a:gdLst>
                  <a:gd name="T0" fmla="*/ 6327 w 275"/>
                  <a:gd name="T1" fmla="*/ 3190 h 414"/>
                  <a:gd name="T2" fmla="*/ 6327 w 275"/>
                  <a:gd name="T3" fmla="*/ 3190 h 414"/>
                  <a:gd name="T4" fmla="*/ 6327 w 275"/>
                  <a:gd name="T5" fmla="*/ 9571 h 414"/>
                  <a:gd name="T6" fmla="*/ 13445 w 275"/>
                  <a:gd name="T7" fmla="*/ 15952 h 414"/>
                  <a:gd name="T8" fmla="*/ 10281 w 275"/>
                  <a:gd name="T9" fmla="*/ 35094 h 414"/>
                  <a:gd name="T10" fmla="*/ 0 w 275"/>
                  <a:gd name="T11" fmla="*/ 48653 h 414"/>
                  <a:gd name="T12" fmla="*/ 0 w 275"/>
                  <a:gd name="T13" fmla="*/ 51045 h 414"/>
                  <a:gd name="T14" fmla="*/ 3163 w 275"/>
                  <a:gd name="T15" fmla="*/ 54236 h 414"/>
                  <a:gd name="T16" fmla="*/ 3163 w 275"/>
                  <a:gd name="T17" fmla="*/ 58224 h 414"/>
                  <a:gd name="T18" fmla="*/ 10281 w 275"/>
                  <a:gd name="T19" fmla="*/ 70187 h 414"/>
                  <a:gd name="T20" fmla="*/ 3163 w 275"/>
                  <a:gd name="T21" fmla="*/ 70187 h 414"/>
                  <a:gd name="T22" fmla="*/ 3163 w 275"/>
                  <a:gd name="T23" fmla="*/ 73378 h 414"/>
                  <a:gd name="T24" fmla="*/ 6327 w 275"/>
                  <a:gd name="T25" fmla="*/ 77366 h 414"/>
                  <a:gd name="T26" fmla="*/ 10281 w 275"/>
                  <a:gd name="T27" fmla="*/ 83746 h 414"/>
                  <a:gd name="T28" fmla="*/ 26889 w 275"/>
                  <a:gd name="T29" fmla="*/ 79758 h 414"/>
                  <a:gd name="T30" fmla="*/ 30053 w 275"/>
                  <a:gd name="T31" fmla="*/ 77366 h 414"/>
                  <a:gd name="T32" fmla="*/ 26889 w 275"/>
                  <a:gd name="T33" fmla="*/ 77366 h 414"/>
                  <a:gd name="T34" fmla="*/ 37171 w 275"/>
                  <a:gd name="T35" fmla="*/ 73378 h 414"/>
                  <a:gd name="T36" fmla="*/ 43498 w 275"/>
                  <a:gd name="T37" fmla="*/ 67795 h 414"/>
                  <a:gd name="T38" fmla="*/ 47452 w 275"/>
                  <a:gd name="T39" fmla="*/ 63807 h 414"/>
                  <a:gd name="T40" fmla="*/ 50615 w 275"/>
                  <a:gd name="T41" fmla="*/ 63807 h 414"/>
                  <a:gd name="T42" fmla="*/ 43498 w 275"/>
                  <a:gd name="T43" fmla="*/ 54236 h 414"/>
                  <a:gd name="T44" fmla="*/ 50615 w 275"/>
                  <a:gd name="T45" fmla="*/ 41474 h 414"/>
                  <a:gd name="T46" fmla="*/ 53779 w 275"/>
                  <a:gd name="T47" fmla="*/ 41474 h 414"/>
                  <a:gd name="T48" fmla="*/ 53779 w 275"/>
                  <a:gd name="T49" fmla="*/ 38284 h 414"/>
                  <a:gd name="T50" fmla="*/ 53779 w 275"/>
                  <a:gd name="T51" fmla="*/ 22332 h 414"/>
                  <a:gd name="T52" fmla="*/ 13445 w 275"/>
                  <a:gd name="T53" fmla="*/ 0 h 414"/>
                  <a:gd name="T54" fmla="*/ 6327 w 275"/>
                  <a:gd name="T55" fmla="*/ 3190 h 41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275"/>
                  <a:gd name="T85" fmla="*/ 0 h 414"/>
                  <a:gd name="T86" fmla="*/ 275 w 275"/>
                  <a:gd name="T87" fmla="*/ 414 h 414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275" h="414">
                    <a:moveTo>
                      <a:pt x="35" y="15"/>
                    </a:moveTo>
                    <a:lnTo>
                      <a:pt x="35" y="15"/>
                    </a:lnTo>
                    <a:lnTo>
                      <a:pt x="35" y="48"/>
                    </a:lnTo>
                    <a:lnTo>
                      <a:pt x="70" y="79"/>
                    </a:lnTo>
                    <a:lnTo>
                      <a:pt x="52" y="175"/>
                    </a:lnTo>
                    <a:lnTo>
                      <a:pt x="0" y="240"/>
                    </a:lnTo>
                    <a:lnTo>
                      <a:pt x="0" y="255"/>
                    </a:lnTo>
                    <a:lnTo>
                      <a:pt x="18" y="270"/>
                    </a:lnTo>
                    <a:lnTo>
                      <a:pt x="18" y="288"/>
                    </a:lnTo>
                    <a:lnTo>
                      <a:pt x="52" y="351"/>
                    </a:lnTo>
                    <a:lnTo>
                      <a:pt x="18" y="351"/>
                    </a:lnTo>
                    <a:lnTo>
                      <a:pt x="18" y="366"/>
                    </a:lnTo>
                    <a:lnTo>
                      <a:pt x="35" y="384"/>
                    </a:lnTo>
                    <a:lnTo>
                      <a:pt x="52" y="414"/>
                    </a:lnTo>
                    <a:lnTo>
                      <a:pt x="137" y="399"/>
                    </a:lnTo>
                    <a:lnTo>
                      <a:pt x="154" y="384"/>
                    </a:lnTo>
                    <a:lnTo>
                      <a:pt x="137" y="384"/>
                    </a:lnTo>
                    <a:lnTo>
                      <a:pt x="189" y="366"/>
                    </a:lnTo>
                    <a:lnTo>
                      <a:pt x="223" y="336"/>
                    </a:lnTo>
                    <a:lnTo>
                      <a:pt x="240" y="318"/>
                    </a:lnTo>
                    <a:lnTo>
                      <a:pt x="258" y="318"/>
                    </a:lnTo>
                    <a:lnTo>
                      <a:pt x="223" y="270"/>
                    </a:lnTo>
                    <a:lnTo>
                      <a:pt x="258" y="207"/>
                    </a:lnTo>
                    <a:lnTo>
                      <a:pt x="275" y="207"/>
                    </a:lnTo>
                    <a:lnTo>
                      <a:pt x="275" y="192"/>
                    </a:lnTo>
                    <a:lnTo>
                      <a:pt x="275" y="111"/>
                    </a:lnTo>
                    <a:lnTo>
                      <a:pt x="70" y="0"/>
                    </a:lnTo>
                    <a:lnTo>
                      <a:pt x="35" y="15"/>
                    </a:lnTo>
                    <a:close/>
                  </a:path>
                </a:pathLst>
              </a:custGeom>
              <a:pattFill prst="pct50">
                <a:fgClr>
                  <a:srgbClr val="91CD9E"/>
                </a:fgClr>
                <a:bgClr>
                  <a:schemeClr val="bg1"/>
                </a:bgClr>
              </a:patt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8" name="Freeform 287a">
                <a:extLst>
                  <a:ext uri="{FF2B5EF4-FFF2-40B4-BE49-F238E27FC236}">
                    <a16:creationId xmlns:a16="http://schemas.microsoft.com/office/drawing/2014/main" id="{F99D0E54-5259-416E-885D-8B25E74267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0545" y="3496390"/>
                <a:ext cx="372563" cy="315160"/>
              </a:xfrm>
              <a:custGeom>
                <a:avLst/>
                <a:gdLst/>
                <a:ahLst/>
                <a:cxnLst>
                  <a:cxn ang="0">
                    <a:pos x="347" y="90"/>
                  </a:cxn>
                  <a:cxn ang="0">
                    <a:pos x="332" y="15"/>
                  </a:cxn>
                  <a:cxn ang="0">
                    <a:pos x="304" y="0"/>
                  </a:cxn>
                  <a:cxn ang="0">
                    <a:pos x="262" y="26"/>
                  </a:cxn>
                  <a:cxn ang="0">
                    <a:pos x="247" y="15"/>
                  </a:cxn>
                  <a:cxn ang="0">
                    <a:pos x="70" y="15"/>
                  </a:cxn>
                  <a:cxn ang="0">
                    <a:pos x="70" y="52"/>
                  </a:cxn>
                  <a:cxn ang="0">
                    <a:pos x="56" y="67"/>
                  </a:cxn>
                  <a:cxn ang="0">
                    <a:pos x="42" y="78"/>
                  </a:cxn>
                  <a:cxn ang="0">
                    <a:pos x="42" y="142"/>
                  </a:cxn>
                  <a:cxn ang="0">
                    <a:pos x="42" y="154"/>
                  </a:cxn>
                  <a:cxn ang="0">
                    <a:pos x="28" y="154"/>
                  </a:cxn>
                  <a:cxn ang="0">
                    <a:pos x="0" y="206"/>
                  </a:cxn>
                  <a:cxn ang="0">
                    <a:pos x="28" y="244"/>
                  </a:cxn>
                  <a:cxn ang="0">
                    <a:pos x="14" y="244"/>
                  </a:cxn>
                  <a:cxn ang="0">
                    <a:pos x="42" y="270"/>
                  </a:cxn>
                  <a:cxn ang="0">
                    <a:pos x="42" y="296"/>
                  </a:cxn>
                  <a:cxn ang="0">
                    <a:pos x="42" y="296"/>
                  </a:cxn>
                  <a:cxn ang="0">
                    <a:pos x="54" y="296"/>
                  </a:cxn>
                  <a:cxn ang="0">
                    <a:pos x="70" y="277"/>
                  </a:cxn>
                  <a:cxn ang="0">
                    <a:pos x="80" y="263"/>
                  </a:cxn>
                  <a:cxn ang="0">
                    <a:pos x="94" y="260"/>
                  </a:cxn>
                  <a:cxn ang="0">
                    <a:pos x="115" y="282"/>
                  </a:cxn>
                  <a:cxn ang="0">
                    <a:pos x="141" y="284"/>
                  </a:cxn>
                  <a:cxn ang="0">
                    <a:pos x="181" y="267"/>
                  </a:cxn>
                  <a:cxn ang="0">
                    <a:pos x="212" y="279"/>
                  </a:cxn>
                  <a:cxn ang="0">
                    <a:pos x="231" y="258"/>
                  </a:cxn>
                  <a:cxn ang="0">
                    <a:pos x="229" y="227"/>
                  </a:cxn>
                  <a:cxn ang="0">
                    <a:pos x="255" y="223"/>
                  </a:cxn>
                  <a:cxn ang="0">
                    <a:pos x="255" y="251"/>
                  </a:cxn>
                  <a:cxn ang="0">
                    <a:pos x="273" y="263"/>
                  </a:cxn>
                  <a:cxn ang="0">
                    <a:pos x="276" y="258"/>
                  </a:cxn>
                  <a:cxn ang="0">
                    <a:pos x="318" y="206"/>
                  </a:cxn>
                  <a:cxn ang="0">
                    <a:pos x="318" y="182"/>
                  </a:cxn>
                  <a:cxn ang="0">
                    <a:pos x="332" y="130"/>
                  </a:cxn>
                  <a:cxn ang="0">
                    <a:pos x="358" y="116"/>
                  </a:cxn>
                  <a:cxn ang="0">
                    <a:pos x="358" y="104"/>
                  </a:cxn>
                  <a:cxn ang="0">
                    <a:pos x="347" y="90"/>
                  </a:cxn>
                </a:cxnLst>
                <a:rect l="0" t="0" r="r" b="b"/>
                <a:pathLst>
                  <a:path w="358" h="296">
                    <a:moveTo>
                      <a:pt x="347" y="90"/>
                    </a:moveTo>
                    <a:lnTo>
                      <a:pt x="332" y="15"/>
                    </a:lnTo>
                    <a:lnTo>
                      <a:pt x="304" y="0"/>
                    </a:lnTo>
                    <a:lnTo>
                      <a:pt x="262" y="26"/>
                    </a:lnTo>
                    <a:lnTo>
                      <a:pt x="247" y="15"/>
                    </a:lnTo>
                    <a:lnTo>
                      <a:pt x="70" y="15"/>
                    </a:lnTo>
                    <a:lnTo>
                      <a:pt x="70" y="52"/>
                    </a:lnTo>
                    <a:lnTo>
                      <a:pt x="56" y="67"/>
                    </a:lnTo>
                    <a:lnTo>
                      <a:pt x="42" y="78"/>
                    </a:lnTo>
                    <a:lnTo>
                      <a:pt x="42" y="142"/>
                    </a:lnTo>
                    <a:lnTo>
                      <a:pt x="42" y="154"/>
                    </a:lnTo>
                    <a:lnTo>
                      <a:pt x="28" y="154"/>
                    </a:lnTo>
                    <a:lnTo>
                      <a:pt x="0" y="206"/>
                    </a:lnTo>
                    <a:lnTo>
                      <a:pt x="28" y="244"/>
                    </a:lnTo>
                    <a:lnTo>
                      <a:pt x="14" y="244"/>
                    </a:lnTo>
                    <a:lnTo>
                      <a:pt x="42" y="270"/>
                    </a:lnTo>
                    <a:lnTo>
                      <a:pt x="42" y="296"/>
                    </a:lnTo>
                    <a:lnTo>
                      <a:pt x="42" y="296"/>
                    </a:lnTo>
                    <a:lnTo>
                      <a:pt x="54" y="296"/>
                    </a:lnTo>
                    <a:lnTo>
                      <a:pt x="70" y="277"/>
                    </a:lnTo>
                    <a:lnTo>
                      <a:pt x="80" y="263"/>
                    </a:lnTo>
                    <a:lnTo>
                      <a:pt x="94" y="260"/>
                    </a:lnTo>
                    <a:lnTo>
                      <a:pt x="115" y="282"/>
                    </a:lnTo>
                    <a:lnTo>
                      <a:pt x="141" y="284"/>
                    </a:lnTo>
                    <a:lnTo>
                      <a:pt x="181" y="267"/>
                    </a:lnTo>
                    <a:lnTo>
                      <a:pt x="212" y="279"/>
                    </a:lnTo>
                    <a:lnTo>
                      <a:pt x="231" y="258"/>
                    </a:lnTo>
                    <a:lnTo>
                      <a:pt x="229" y="227"/>
                    </a:lnTo>
                    <a:lnTo>
                      <a:pt x="255" y="223"/>
                    </a:lnTo>
                    <a:lnTo>
                      <a:pt x="255" y="251"/>
                    </a:lnTo>
                    <a:lnTo>
                      <a:pt x="273" y="263"/>
                    </a:lnTo>
                    <a:lnTo>
                      <a:pt x="276" y="258"/>
                    </a:lnTo>
                    <a:lnTo>
                      <a:pt x="318" y="206"/>
                    </a:lnTo>
                    <a:lnTo>
                      <a:pt x="318" y="182"/>
                    </a:lnTo>
                    <a:lnTo>
                      <a:pt x="332" y="130"/>
                    </a:lnTo>
                    <a:lnTo>
                      <a:pt x="358" y="116"/>
                    </a:lnTo>
                    <a:lnTo>
                      <a:pt x="358" y="104"/>
                    </a:lnTo>
                    <a:lnTo>
                      <a:pt x="347" y="90"/>
                    </a:lnTo>
                    <a:close/>
                  </a:path>
                </a:pathLst>
              </a:custGeom>
              <a:pattFill prst="pct50">
                <a:fgClr>
                  <a:srgbClr val="91CD9E"/>
                </a:fgClr>
                <a:bgClr>
                  <a:schemeClr val="bg1"/>
                </a:bgClr>
              </a:patt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9" name="Freeform 296">
                <a:extLst>
                  <a:ext uri="{FF2B5EF4-FFF2-40B4-BE49-F238E27FC236}">
                    <a16:creationId xmlns:a16="http://schemas.microsoft.com/office/drawing/2014/main" id="{7502860C-73A6-4D06-AC8B-8A6E41DB39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7673" y="3184482"/>
                <a:ext cx="270806" cy="204530"/>
              </a:xfrm>
              <a:custGeom>
                <a:avLst/>
                <a:gdLst>
                  <a:gd name="T0" fmla="*/ 58738 w 330"/>
                  <a:gd name="T1" fmla="*/ 3969 h 240"/>
                  <a:gd name="T2" fmla="*/ 58738 w 330"/>
                  <a:gd name="T3" fmla="*/ 3969 h 240"/>
                  <a:gd name="T4" fmla="*/ 62706 w 330"/>
                  <a:gd name="T5" fmla="*/ 3969 h 240"/>
                  <a:gd name="T6" fmla="*/ 65881 w 330"/>
                  <a:gd name="T7" fmla="*/ 19050 h 240"/>
                  <a:gd name="T8" fmla="*/ 52388 w 330"/>
                  <a:gd name="T9" fmla="*/ 23019 h 240"/>
                  <a:gd name="T10" fmla="*/ 52388 w 330"/>
                  <a:gd name="T11" fmla="*/ 25400 h 240"/>
                  <a:gd name="T12" fmla="*/ 41275 w 330"/>
                  <a:gd name="T13" fmla="*/ 32544 h 240"/>
                  <a:gd name="T14" fmla="*/ 27781 w 330"/>
                  <a:gd name="T15" fmla="*/ 38100 h 240"/>
                  <a:gd name="T16" fmla="*/ 23813 w 330"/>
                  <a:gd name="T17" fmla="*/ 42069 h 240"/>
                  <a:gd name="T18" fmla="*/ 23813 w 330"/>
                  <a:gd name="T19" fmla="*/ 47625 h 240"/>
                  <a:gd name="T20" fmla="*/ 0 w 330"/>
                  <a:gd name="T21" fmla="*/ 44450 h 240"/>
                  <a:gd name="T22" fmla="*/ 7144 w 330"/>
                  <a:gd name="T23" fmla="*/ 44450 h 240"/>
                  <a:gd name="T24" fmla="*/ 14288 w 330"/>
                  <a:gd name="T25" fmla="*/ 38100 h 240"/>
                  <a:gd name="T26" fmla="*/ 17463 w 330"/>
                  <a:gd name="T27" fmla="*/ 32544 h 240"/>
                  <a:gd name="T28" fmla="*/ 17463 w 330"/>
                  <a:gd name="T29" fmla="*/ 25400 h 240"/>
                  <a:gd name="T30" fmla="*/ 20638 w 330"/>
                  <a:gd name="T31" fmla="*/ 19050 h 240"/>
                  <a:gd name="T32" fmla="*/ 23813 w 330"/>
                  <a:gd name="T33" fmla="*/ 13494 h 240"/>
                  <a:gd name="T34" fmla="*/ 34131 w 330"/>
                  <a:gd name="T35" fmla="*/ 9525 h 240"/>
                  <a:gd name="T36" fmla="*/ 38100 w 330"/>
                  <a:gd name="T37" fmla="*/ 0 h 240"/>
                  <a:gd name="T38" fmla="*/ 41275 w 330"/>
                  <a:gd name="T39" fmla="*/ 0 h 240"/>
                  <a:gd name="T40" fmla="*/ 44450 w 330"/>
                  <a:gd name="T41" fmla="*/ 3969 h 240"/>
                  <a:gd name="T42" fmla="*/ 55563 w 330"/>
                  <a:gd name="T43" fmla="*/ 3969 h 240"/>
                  <a:gd name="T44" fmla="*/ 58738 w 330"/>
                  <a:gd name="T45" fmla="*/ 3969 h 24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30"/>
                  <a:gd name="T70" fmla="*/ 0 h 240"/>
                  <a:gd name="T71" fmla="*/ 330 w 330"/>
                  <a:gd name="T72" fmla="*/ 240 h 240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30" h="240">
                    <a:moveTo>
                      <a:pt x="296" y="17"/>
                    </a:moveTo>
                    <a:lnTo>
                      <a:pt x="296" y="17"/>
                    </a:lnTo>
                    <a:lnTo>
                      <a:pt x="313" y="17"/>
                    </a:lnTo>
                    <a:lnTo>
                      <a:pt x="330" y="96"/>
                    </a:lnTo>
                    <a:lnTo>
                      <a:pt x="261" y="113"/>
                    </a:lnTo>
                    <a:lnTo>
                      <a:pt x="261" y="128"/>
                    </a:lnTo>
                    <a:lnTo>
                      <a:pt x="209" y="161"/>
                    </a:lnTo>
                    <a:lnTo>
                      <a:pt x="140" y="192"/>
                    </a:lnTo>
                    <a:lnTo>
                      <a:pt x="123" y="209"/>
                    </a:lnTo>
                    <a:lnTo>
                      <a:pt x="123" y="240"/>
                    </a:lnTo>
                    <a:lnTo>
                      <a:pt x="0" y="224"/>
                    </a:lnTo>
                    <a:lnTo>
                      <a:pt x="36" y="224"/>
                    </a:lnTo>
                    <a:lnTo>
                      <a:pt x="71" y="192"/>
                    </a:lnTo>
                    <a:lnTo>
                      <a:pt x="88" y="161"/>
                    </a:lnTo>
                    <a:lnTo>
                      <a:pt x="88" y="128"/>
                    </a:lnTo>
                    <a:lnTo>
                      <a:pt x="106" y="96"/>
                    </a:lnTo>
                    <a:lnTo>
                      <a:pt x="123" y="65"/>
                    </a:lnTo>
                    <a:lnTo>
                      <a:pt x="175" y="48"/>
                    </a:lnTo>
                    <a:lnTo>
                      <a:pt x="192" y="0"/>
                    </a:lnTo>
                    <a:lnTo>
                      <a:pt x="209" y="0"/>
                    </a:lnTo>
                    <a:lnTo>
                      <a:pt x="227" y="17"/>
                    </a:lnTo>
                    <a:lnTo>
                      <a:pt x="278" y="17"/>
                    </a:lnTo>
                    <a:lnTo>
                      <a:pt x="296" y="17"/>
                    </a:lnTo>
                  </a:path>
                </a:pathLst>
              </a:custGeom>
              <a:pattFill prst="pct50">
                <a:fgClr>
                  <a:srgbClr val="91CD9E"/>
                </a:fgClr>
                <a:bgClr>
                  <a:schemeClr val="bg1"/>
                </a:bgClr>
              </a:patt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0" name="Freeform 297">
                <a:extLst>
                  <a:ext uri="{FF2B5EF4-FFF2-40B4-BE49-F238E27FC236}">
                    <a16:creationId xmlns:a16="http://schemas.microsoft.com/office/drawing/2014/main" id="{CBA27AFB-EE12-4369-A540-32D305D8C0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7788" y="3143576"/>
                <a:ext cx="456264" cy="436332"/>
              </a:xfrm>
              <a:custGeom>
                <a:avLst/>
                <a:gdLst>
                  <a:gd name="T0" fmla="*/ 34988 w 555"/>
                  <a:gd name="T1" fmla="*/ 12700 h 512"/>
                  <a:gd name="T2" fmla="*/ 34988 w 555"/>
                  <a:gd name="T3" fmla="*/ 12700 h 512"/>
                  <a:gd name="T4" fmla="*/ 38169 w 555"/>
                  <a:gd name="T5" fmla="*/ 12700 h 512"/>
                  <a:gd name="T6" fmla="*/ 42145 w 555"/>
                  <a:gd name="T7" fmla="*/ 28575 h 512"/>
                  <a:gd name="T8" fmla="*/ 27831 w 555"/>
                  <a:gd name="T9" fmla="*/ 31750 h 512"/>
                  <a:gd name="T10" fmla="*/ 27831 w 555"/>
                  <a:gd name="T11" fmla="*/ 34925 h 512"/>
                  <a:gd name="T12" fmla="*/ 17494 w 555"/>
                  <a:gd name="T13" fmla="*/ 41275 h 512"/>
                  <a:gd name="T14" fmla="*/ 3976 w 555"/>
                  <a:gd name="T15" fmla="*/ 47625 h 512"/>
                  <a:gd name="T16" fmla="*/ 0 w 555"/>
                  <a:gd name="T17" fmla="*/ 50800 h 512"/>
                  <a:gd name="T18" fmla="*/ 0 w 555"/>
                  <a:gd name="T19" fmla="*/ 57150 h 512"/>
                  <a:gd name="T20" fmla="*/ 20675 w 555"/>
                  <a:gd name="T21" fmla="*/ 69850 h 512"/>
                  <a:gd name="T22" fmla="*/ 52482 w 555"/>
                  <a:gd name="T23" fmla="*/ 92075 h 512"/>
                  <a:gd name="T24" fmla="*/ 55663 w 555"/>
                  <a:gd name="T25" fmla="*/ 95250 h 512"/>
                  <a:gd name="T26" fmla="*/ 62819 w 555"/>
                  <a:gd name="T27" fmla="*/ 98425 h 512"/>
                  <a:gd name="T28" fmla="*/ 66000 w 555"/>
                  <a:gd name="T29" fmla="*/ 101600 h 512"/>
                  <a:gd name="T30" fmla="*/ 69181 w 555"/>
                  <a:gd name="T31" fmla="*/ 101600 h 512"/>
                  <a:gd name="T32" fmla="*/ 76337 w 555"/>
                  <a:gd name="T33" fmla="*/ 101600 h 512"/>
                  <a:gd name="T34" fmla="*/ 110530 w 555"/>
                  <a:gd name="T35" fmla="*/ 79375 h 512"/>
                  <a:gd name="T36" fmla="*/ 107349 w 555"/>
                  <a:gd name="T37" fmla="*/ 73025 h 512"/>
                  <a:gd name="T38" fmla="*/ 103373 w 555"/>
                  <a:gd name="T39" fmla="*/ 73025 h 512"/>
                  <a:gd name="T40" fmla="*/ 97012 w 555"/>
                  <a:gd name="T41" fmla="*/ 63500 h 512"/>
                  <a:gd name="T42" fmla="*/ 100193 w 555"/>
                  <a:gd name="T43" fmla="*/ 60325 h 512"/>
                  <a:gd name="T44" fmla="*/ 100193 w 555"/>
                  <a:gd name="T45" fmla="*/ 53975 h 512"/>
                  <a:gd name="T46" fmla="*/ 100193 w 555"/>
                  <a:gd name="T47" fmla="*/ 47625 h 512"/>
                  <a:gd name="T48" fmla="*/ 97012 w 555"/>
                  <a:gd name="T49" fmla="*/ 44450 h 512"/>
                  <a:gd name="T50" fmla="*/ 97012 w 555"/>
                  <a:gd name="T51" fmla="*/ 41275 h 512"/>
                  <a:gd name="T52" fmla="*/ 97012 w 555"/>
                  <a:gd name="T53" fmla="*/ 31750 h 512"/>
                  <a:gd name="T54" fmla="*/ 89855 w 555"/>
                  <a:gd name="T55" fmla="*/ 28575 h 512"/>
                  <a:gd name="T56" fmla="*/ 86675 w 555"/>
                  <a:gd name="T57" fmla="*/ 22225 h 512"/>
                  <a:gd name="T58" fmla="*/ 93036 w 555"/>
                  <a:gd name="T59" fmla="*/ 15875 h 512"/>
                  <a:gd name="T60" fmla="*/ 89855 w 555"/>
                  <a:gd name="T61" fmla="*/ 3175 h 512"/>
                  <a:gd name="T62" fmla="*/ 93036 w 555"/>
                  <a:gd name="T63" fmla="*/ 0 h 512"/>
                  <a:gd name="T64" fmla="*/ 89855 w 555"/>
                  <a:gd name="T65" fmla="*/ 3175 h 512"/>
                  <a:gd name="T66" fmla="*/ 79518 w 555"/>
                  <a:gd name="T67" fmla="*/ 0 h 512"/>
                  <a:gd name="T68" fmla="*/ 76337 w 555"/>
                  <a:gd name="T69" fmla="*/ 3175 h 512"/>
                  <a:gd name="T70" fmla="*/ 69181 w 555"/>
                  <a:gd name="T71" fmla="*/ 0 h 512"/>
                  <a:gd name="T72" fmla="*/ 62819 w 555"/>
                  <a:gd name="T73" fmla="*/ 3175 h 512"/>
                  <a:gd name="T74" fmla="*/ 52482 w 555"/>
                  <a:gd name="T75" fmla="*/ 3175 h 512"/>
                  <a:gd name="T76" fmla="*/ 34988 w 555"/>
                  <a:gd name="T77" fmla="*/ 12700 h 51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555"/>
                  <a:gd name="T118" fmla="*/ 0 h 512"/>
                  <a:gd name="T119" fmla="*/ 555 w 555"/>
                  <a:gd name="T120" fmla="*/ 512 h 512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555" h="512">
                    <a:moveTo>
                      <a:pt x="173" y="65"/>
                    </a:moveTo>
                    <a:lnTo>
                      <a:pt x="173" y="65"/>
                    </a:lnTo>
                    <a:lnTo>
                      <a:pt x="192" y="65"/>
                    </a:lnTo>
                    <a:lnTo>
                      <a:pt x="209" y="144"/>
                    </a:lnTo>
                    <a:lnTo>
                      <a:pt x="138" y="161"/>
                    </a:lnTo>
                    <a:lnTo>
                      <a:pt x="138" y="176"/>
                    </a:lnTo>
                    <a:lnTo>
                      <a:pt x="86" y="209"/>
                    </a:lnTo>
                    <a:lnTo>
                      <a:pt x="17" y="240"/>
                    </a:lnTo>
                    <a:lnTo>
                      <a:pt x="0" y="257"/>
                    </a:lnTo>
                    <a:lnTo>
                      <a:pt x="0" y="288"/>
                    </a:lnTo>
                    <a:lnTo>
                      <a:pt x="104" y="353"/>
                    </a:lnTo>
                    <a:lnTo>
                      <a:pt x="261" y="464"/>
                    </a:lnTo>
                    <a:lnTo>
                      <a:pt x="278" y="480"/>
                    </a:lnTo>
                    <a:lnTo>
                      <a:pt x="313" y="497"/>
                    </a:lnTo>
                    <a:lnTo>
                      <a:pt x="330" y="512"/>
                    </a:lnTo>
                    <a:lnTo>
                      <a:pt x="347" y="512"/>
                    </a:lnTo>
                    <a:lnTo>
                      <a:pt x="382" y="512"/>
                    </a:lnTo>
                    <a:lnTo>
                      <a:pt x="555" y="401"/>
                    </a:lnTo>
                    <a:lnTo>
                      <a:pt x="537" y="368"/>
                    </a:lnTo>
                    <a:lnTo>
                      <a:pt x="520" y="368"/>
                    </a:lnTo>
                    <a:lnTo>
                      <a:pt x="486" y="320"/>
                    </a:lnTo>
                    <a:lnTo>
                      <a:pt x="503" y="305"/>
                    </a:lnTo>
                    <a:lnTo>
                      <a:pt x="503" y="272"/>
                    </a:lnTo>
                    <a:lnTo>
                      <a:pt x="503" y="240"/>
                    </a:lnTo>
                    <a:lnTo>
                      <a:pt x="486" y="224"/>
                    </a:lnTo>
                    <a:lnTo>
                      <a:pt x="486" y="209"/>
                    </a:lnTo>
                    <a:lnTo>
                      <a:pt x="486" y="161"/>
                    </a:lnTo>
                    <a:lnTo>
                      <a:pt x="451" y="144"/>
                    </a:lnTo>
                    <a:lnTo>
                      <a:pt x="434" y="113"/>
                    </a:lnTo>
                    <a:lnTo>
                      <a:pt x="468" y="80"/>
                    </a:lnTo>
                    <a:lnTo>
                      <a:pt x="451" y="17"/>
                    </a:lnTo>
                    <a:lnTo>
                      <a:pt x="468" y="0"/>
                    </a:lnTo>
                    <a:lnTo>
                      <a:pt x="451" y="17"/>
                    </a:lnTo>
                    <a:lnTo>
                      <a:pt x="399" y="0"/>
                    </a:lnTo>
                    <a:lnTo>
                      <a:pt x="382" y="17"/>
                    </a:lnTo>
                    <a:lnTo>
                      <a:pt x="347" y="0"/>
                    </a:lnTo>
                    <a:lnTo>
                      <a:pt x="313" y="17"/>
                    </a:lnTo>
                    <a:lnTo>
                      <a:pt x="261" y="17"/>
                    </a:lnTo>
                    <a:lnTo>
                      <a:pt x="173" y="65"/>
                    </a:lnTo>
                    <a:close/>
                  </a:path>
                </a:pathLst>
              </a:custGeom>
              <a:pattFill prst="pct50">
                <a:fgClr>
                  <a:srgbClr val="91CD9E"/>
                </a:fgClr>
                <a:bgClr>
                  <a:schemeClr val="bg1"/>
                </a:bgClr>
              </a:patt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1" name="Freeform 298">
                <a:extLst>
                  <a:ext uri="{FF2B5EF4-FFF2-40B4-BE49-F238E27FC236}">
                    <a16:creationId xmlns:a16="http://schemas.microsoft.com/office/drawing/2014/main" id="{6B61435A-0457-42F6-8FF9-06375B65D3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12298" y="3143576"/>
                <a:ext cx="86986" cy="178966"/>
              </a:xfrm>
              <a:custGeom>
                <a:avLst/>
                <a:gdLst>
                  <a:gd name="T0" fmla="*/ 21635 w 105"/>
                  <a:gd name="T1" fmla="*/ 25522 h 209"/>
                  <a:gd name="T2" fmla="*/ 21635 w 105"/>
                  <a:gd name="T3" fmla="*/ 25522 h 209"/>
                  <a:gd name="T4" fmla="*/ 21635 w 105"/>
                  <a:gd name="T5" fmla="*/ 28712 h 209"/>
                  <a:gd name="T6" fmla="*/ 14424 w 105"/>
                  <a:gd name="T7" fmla="*/ 35092 h 209"/>
                  <a:gd name="T8" fmla="*/ 14424 w 105"/>
                  <a:gd name="T9" fmla="*/ 38282 h 209"/>
                  <a:gd name="T10" fmla="*/ 11218 w 105"/>
                  <a:gd name="T11" fmla="*/ 42270 h 209"/>
                  <a:gd name="T12" fmla="*/ 11218 w 105"/>
                  <a:gd name="T13" fmla="*/ 32700 h 209"/>
                  <a:gd name="T14" fmla="*/ 4007 w 105"/>
                  <a:gd name="T15" fmla="*/ 28712 h 209"/>
                  <a:gd name="T16" fmla="*/ 0 w 105"/>
                  <a:gd name="T17" fmla="*/ 23129 h 209"/>
                  <a:gd name="T18" fmla="*/ 7212 w 105"/>
                  <a:gd name="T19" fmla="*/ 15951 h 209"/>
                  <a:gd name="T20" fmla="*/ 4007 w 105"/>
                  <a:gd name="T21" fmla="*/ 3988 h 209"/>
                  <a:gd name="T22" fmla="*/ 7212 w 105"/>
                  <a:gd name="T23" fmla="*/ 0 h 209"/>
                  <a:gd name="T24" fmla="*/ 14424 w 105"/>
                  <a:gd name="T25" fmla="*/ 0 h 209"/>
                  <a:gd name="T26" fmla="*/ 17629 w 105"/>
                  <a:gd name="T27" fmla="*/ 3988 h 209"/>
                  <a:gd name="T28" fmla="*/ 21635 w 105"/>
                  <a:gd name="T29" fmla="*/ 0 h 209"/>
                  <a:gd name="T30" fmla="*/ 17629 w 105"/>
                  <a:gd name="T31" fmla="*/ 6380 h 209"/>
                  <a:gd name="T32" fmla="*/ 21635 w 105"/>
                  <a:gd name="T33" fmla="*/ 13558 h 209"/>
                  <a:gd name="T34" fmla="*/ 14424 w 105"/>
                  <a:gd name="T35" fmla="*/ 19141 h 209"/>
                  <a:gd name="T36" fmla="*/ 14424 w 105"/>
                  <a:gd name="T37" fmla="*/ 23129 h 209"/>
                  <a:gd name="T38" fmla="*/ 21635 w 105"/>
                  <a:gd name="T39" fmla="*/ 23129 h 209"/>
                  <a:gd name="T40" fmla="*/ 21635 w 105"/>
                  <a:gd name="T41" fmla="*/ 25522 h 20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05"/>
                  <a:gd name="T64" fmla="*/ 0 h 209"/>
                  <a:gd name="T65" fmla="*/ 105 w 105"/>
                  <a:gd name="T66" fmla="*/ 209 h 20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05" h="209">
                    <a:moveTo>
                      <a:pt x="105" y="128"/>
                    </a:moveTo>
                    <a:lnTo>
                      <a:pt x="105" y="128"/>
                    </a:lnTo>
                    <a:lnTo>
                      <a:pt x="105" y="144"/>
                    </a:lnTo>
                    <a:lnTo>
                      <a:pt x="71" y="176"/>
                    </a:lnTo>
                    <a:lnTo>
                      <a:pt x="71" y="192"/>
                    </a:lnTo>
                    <a:lnTo>
                      <a:pt x="54" y="209"/>
                    </a:lnTo>
                    <a:lnTo>
                      <a:pt x="54" y="161"/>
                    </a:lnTo>
                    <a:lnTo>
                      <a:pt x="17" y="144"/>
                    </a:lnTo>
                    <a:lnTo>
                      <a:pt x="0" y="113"/>
                    </a:lnTo>
                    <a:lnTo>
                      <a:pt x="34" y="80"/>
                    </a:lnTo>
                    <a:lnTo>
                      <a:pt x="17" y="17"/>
                    </a:lnTo>
                    <a:lnTo>
                      <a:pt x="34" y="0"/>
                    </a:lnTo>
                    <a:lnTo>
                      <a:pt x="71" y="0"/>
                    </a:lnTo>
                    <a:lnTo>
                      <a:pt x="88" y="17"/>
                    </a:lnTo>
                    <a:lnTo>
                      <a:pt x="105" y="0"/>
                    </a:lnTo>
                    <a:lnTo>
                      <a:pt x="88" y="32"/>
                    </a:lnTo>
                    <a:lnTo>
                      <a:pt x="105" y="65"/>
                    </a:lnTo>
                    <a:lnTo>
                      <a:pt x="71" y="96"/>
                    </a:lnTo>
                    <a:lnTo>
                      <a:pt x="71" y="113"/>
                    </a:lnTo>
                    <a:lnTo>
                      <a:pt x="105" y="113"/>
                    </a:lnTo>
                    <a:lnTo>
                      <a:pt x="105" y="128"/>
                    </a:lnTo>
                    <a:close/>
                  </a:path>
                </a:pathLst>
              </a:custGeom>
              <a:pattFill prst="pct50">
                <a:fgClr>
                  <a:srgbClr val="91CD9E"/>
                </a:fgClr>
                <a:bgClr>
                  <a:schemeClr val="bg1"/>
                </a:bgClr>
              </a:patt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2" name="Freeform 299">
                <a:extLst>
                  <a:ext uri="{FF2B5EF4-FFF2-40B4-BE49-F238E27FC236}">
                    <a16:creationId xmlns:a16="http://schemas.microsoft.com/office/drawing/2014/main" id="{A66C4C7D-A1F7-41A8-B7AC-82EF32D567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4084" y="3441849"/>
                <a:ext cx="367639" cy="340885"/>
              </a:xfrm>
              <a:custGeom>
                <a:avLst/>
                <a:gdLst>
                  <a:gd name="T0" fmla="*/ 41183 w 449"/>
                  <a:gd name="T1" fmla="*/ 0 h 399"/>
                  <a:gd name="T2" fmla="*/ 41183 w 449"/>
                  <a:gd name="T3" fmla="*/ 0 h 399"/>
                  <a:gd name="T4" fmla="*/ 71278 w 449"/>
                  <a:gd name="T5" fmla="*/ 22281 h 399"/>
                  <a:gd name="T6" fmla="*/ 75238 w 449"/>
                  <a:gd name="T7" fmla="*/ 25464 h 399"/>
                  <a:gd name="T8" fmla="*/ 81574 w 449"/>
                  <a:gd name="T9" fmla="*/ 28647 h 399"/>
                  <a:gd name="T10" fmla="*/ 85534 w 449"/>
                  <a:gd name="T11" fmla="*/ 31830 h 399"/>
                  <a:gd name="T12" fmla="*/ 88702 w 449"/>
                  <a:gd name="T13" fmla="*/ 31830 h 399"/>
                  <a:gd name="T14" fmla="*/ 88702 w 449"/>
                  <a:gd name="T15" fmla="*/ 47744 h 399"/>
                  <a:gd name="T16" fmla="*/ 85534 w 449"/>
                  <a:gd name="T17" fmla="*/ 50927 h 399"/>
                  <a:gd name="T18" fmla="*/ 68110 w 449"/>
                  <a:gd name="T19" fmla="*/ 54110 h 399"/>
                  <a:gd name="T20" fmla="*/ 60983 w 449"/>
                  <a:gd name="T21" fmla="*/ 54110 h 399"/>
                  <a:gd name="T22" fmla="*/ 54647 w 449"/>
                  <a:gd name="T23" fmla="*/ 60476 h 399"/>
                  <a:gd name="T24" fmla="*/ 47519 w 449"/>
                  <a:gd name="T25" fmla="*/ 63659 h 399"/>
                  <a:gd name="T26" fmla="*/ 41183 w 449"/>
                  <a:gd name="T27" fmla="*/ 73208 h 399"/>
                  <a:gd name="T28" fmla="*/ 37223 w 449"/>
                  <a:gd name="T29" fmla="*/ 76391 h 399"/>
                  <a:gd name="T30" fmla="*/ 34055 w 449"/>
                  <a:gd name="T31" fmla="*/ 79574 h 399"/>
                  <a:gd name="T32" fmla="*/ 30887 w 449"/>
                  <a:gd name="T33" fmla="*/ 76391 h 399"/>
                  <a:gd name="T34" fmla="*/ 26927 w 449"/>
                  <a:gd name="T35" fmla="*/ 79574 h 399"/>
                  <a:gd name="T36" fmla="*/ 23759 w 449"/>
                  <a:gd name="T37" fmla="*/ 79574 h 399"/>
                  <a:gd name="T38" fmla="*/ 16632 w 449"/>
                  <a:gd name="T39" fmla="*/ 66842 h 399"/>
                  <a:gd name="T40" fmla="*/ 10296 w 449"/>
                  <a:gd name="T41" fmla="*/ 70025 h 399"/>
                  <a:gd name="T42" fmla="*/ 3168 w 449"/>
                  <a:gd name="T43" fmla="*/ 70025 h 399"/>
                  <a:gd name="T44" fmla="*/ 6336 w 449"/>
                  <a:gd name="T45" fmla="*/ 66842 h 399"/>
                  <a:gd name="T46" fmla="*/ 0 w 449"/>
                  <a:gd name="T47" fmla="*/ 54110 h 399"/>
                  <a:gd name="T48" fmla="*/ 6336 w 449"/>
                  <a:gd name="T49" fmla="*/ 50927 h 399"/>
                  <a:gd name="T50" fmla="*/ 10296 w 449"/>
                  <a:gd name="T51" fmla="*/ 54110 h 399"/>
                  <a:gd name="T52" fmla="*/ 13464 w 449"/>
                  <a:gd name="T53" fmla="*/ 50927 h 399"/>
                  <a:gd name="T54" fmla="*/ 37223 w 449"/>
                  <a:gd name="T55" fmla="*/ 50927 h 399"/>
                  <a:gd name="T56" fmla="*/ 30887 w 449"/>
                  <a:gd name="T57" fmla="*/ 0 h 399"/>
                  <a:gd name="T58" fmla="*/ 41183 w 449"/>
                  <a:gd name="T59" fmla="*/ 0 h 399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449"/>
                  <a:gd name="T91" fmla="*/ 0 h 399"/>
                  <a:gd name="T92" fmla="*/ 449 w 449"/>
                  <a:gd name="T93" fmla="*/ 399 h 399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449" h="399">
                    <a:moveTo>
                      <a:pt x="208" y="0"/>
                    </a:moveTo>
                    <a:lnTo>
                      <a:pt x="208" y="0"/>
                    </a:lnTo>
                    <a:lnTo>
                      <a:pt x="363" y="111"/>
                    </a:lnTo>
                    <a:lnTo>
                      <a:pt x="380" y="127"/>
                    </a:lnTo>
                    <a:lnTo>
                      <a:pt x="415" y="144"/>
                    </a:lnTo>
                    <a:lnTo>
                      <a:pt x="432" y="159"/>
                    </a:lnTo>
                    <a:lnTo>
                      <a:pt x="449" y="159"/>
                    </a:lnTo>
                    <a:lnTo>
                      <a:pt x="449" y="240"/>
                    </a:lnTo>
                    <a:lnTo>
                      <a:pt x="432" y="255"/>
                    </a:lnTo>
                    <a:lnTo>
                      <a:pt x="346" y="270"/>
                    </a:lnTo>
                    <a:lnTo>
                      <a:pt x="311" y="270"/>
                    </a:lnTo>
                    <a:lnTo>
                      <a:pt x="277" y="303"/>
                    </a:lnTo>
                    <a:lnTo>
                      <a:pt x="242" y="318"/>
                    </a:lnTo>
                    <a:lnTo>
                      <a:pt x="208" y="366"/>
                    </a:lnTo>
                    <a:lnTo>
                      <a:pt x="190" y="384"/>
                    </a:lnTo>
                    <a:lnTo>
                      <a:pt x="173" y="399"/>
                    </a:lnTo>
                    <a:lnTo>
                      <a:pt x="156" y="384"/>
                    </a:lnTo>
                    <a:lnTo>
                      <a:pt x="138" y="399"/>
                    </a:lnTo>
                    <a:lnTo>
                      <a:pt x="121" y="399"/>
                    </a:lnTo>
                    <a:lnTo>
                      <a:pt x="87" y="336"/>
                    </a:lnTo>
                    <a:lnTo>
                      <a:pt x="52" y="351"/>
                    </a:lnTo>
                    <a:lnTo>
                      <a:pt x="17" y="351"/>
                    </a:lnTo>
                    <a:lnTo>
                      <a:pt x="35" y="336"/>
                    </a:lnTo>
                    <a:lnTo>
                      <a:pt x="0" y="270"/>
                    </a:lnTo>
                    <a:lnTo>
                      <a:pt x="35" y="255"/>
                    </a:lnTo>
                    <a:lnTo>
                      <a:pt x="52" y="270"/>
                    </a:lnTo>
                    <a:lnTo>
                      <a:pt x="69" y="255"/>
                    </a:lnTo>
                    <a:lnTo>
                      <a:pt x="190" y="255"/>
                    </a:lnTo>
                    <a:lnTo>
                      <a:pt x="156" y="0"/>
                    </a:lnTo>
                    <a:lnTo>
                      <a:pt x="208" y="0"/>
                    </a:lnTo>
                    <a:close/>
                  </a:path>
                </a:pathLst>
              </a:custGeom>
              <a:pattFill prst="pct50">
                <a:fgClr>
                  <a:srgbClr val="91CD9E"/>
                </a:fgClr>
                <a:bgClr>
                  <a:schemeClr val="bg1"/>
                </a:bgClr>
              </a:patt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3" name="Freeform 301">
                <a:extLst>
                  <a:ext uri="{FF2B5EF4-FFF2-40B4-BE49-F238E27FC236}">
                    <a16:creationId xmlns:a16="http://schemas.microsoft.com/office/drawing/2014/main" id="{BBA8A271-9101-4B3A-91F5-1BD04FE32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2327" y="3375377"/>
                <a:ext cx="185461" cy="163625"/>
              </a:xfrm>
              <a:custGeom>
                <a:avLst/>
                <a:gdLst>
                  <a:gd name="T0" fmla="*/ 0 w 227"/>
                  <a:gd name="T1" fmla="*/ 38100 h 192"/>
                  <a:gd name="T2" fmla="*/ 0 w 227"/>
                  <a:gd name="T3" fmla="*/ 38100 h 192"/>
                  <a:gd name="T4" fmla="*/ 3161 w 227"/>
                  <a:gd name="T5" fmla="*/ 35719 h 192"/>
                  <a:gd name="T6" fmla="*/ 20547 w 227"/>
                  <a:gd name="T7" fmla="*/ 35719 h 192"/>
                  <a:gd name="T8" fmla="*/ 20547 w 227"/>
                  <a:gd name="T9" fmla="*/ 28575 h 192"/>
                  <a:gd name="T10" fmla="*/ 27659 w 227"/>
                  <a:gd name="T11" fmla="*/ 26194 h 192"/>
                  <a:gd name="T12" fmla="*/ 27659 w 227"/>
                  <a:gd name="T13" fmla="*/ 9525 h 192"/>
                  <a:gd name="T14" fmla="*/ 44254 w 227"/>
                  <a:gd name="T15" fmla="*/ 9525 h 192"/>
                  <a:gd name="T16" fmla="*/ 44254 w 227"/>
                  <a:gd name="T17" fmla="*/ 3175 h 192"/>
                  <a:gd name="T18" fmla="*/ 20547 w 227"/>
                  <a:gd name="T19" fmla="*/ 0 h 192"/>
                  <a:gd name="T20" fmla="*/ 17386 w 227"/>
                  <a:gd name="T21" fmla="*/ 7144 h 192"/>
                  <a:gd name="T22" fmla="*/ 13434 w 227"/>
                  <a:gd name="T23" fmla="*/ 9525 h 192"/>
                  <a:gd name="T24" fmla="*/ 10273 w 227"/>
                  <a:gd name="T25" fmla="*/ 19050 h 192"/>
                  <a:gd name="T26" fmla="*/ 0 w 227"/>
                  <a:gd name="T27" fmla="*/ 31750 h 192"/>
                  <a:gd name="T28" fmla="*/ 0 w 227"/>
                  <a:gd name="T29" fmla="*/ 38100 h 19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27"/>
                  <a:gd name="T46" fmla="*/ 0 h 192"/>
                  <a:gd name="T47" fmla="*/ 227 w 227"/>
                  <a:gd name="T48" fmla="*/ 192 h 192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27" h="192">
                    <a:moveTo>
                      <a:pt x="0" y="192"/>
                    </a:moveTo>
                    <a:lnTo>
                      <a:pt x="0" y="192"/>
                    </a:lnTo>
                    <a:lnTo>
                      <a:pt x="18" y="177"/>
                    </a:lnTo>
                    <a:lnTo>
                      <a:pt x="106" y="177"/>
                    </a:lnTo>
                    <a:lnTo>
                      <a:pt x="106" y="144"/>
                    </a:lnTo>
                    <a:lnTo>
                      <a:pt x="140" y="129"/>
                    </a:lnTo>
                    <a:lnTo>
                      <a:pt x="140" y="48"/>
                    </a:lnTo>
                    <a:lnTo>
                      <a:pt x="227" y="48"/>
                    </a:lnTo>
                    <a:lnTo>
                      <a:pt x="227" y="16"/>
                    </a:lnTo>
                    <a:lnTo>
                      <a:pt x="106" y="0"/>
                    </a:lnTo>
                    <a:lnTo>
                      <a:pt x="89" y="33"/>
                    </a:lnTo>
                    <a:lnTo>
                      <a:pt x="69" y="48"/>
                    </a:lnTo>
                    <a:lnTo>
                      <a:pt x="52" y="96"/>
                    </a:lnTo>
                    <a:lnTo>
                      <a:pt x="0" y="160"/>
                    </a:lnTo>
                    <a:lnTo>
                      <a:pt x="0" y="192"/>
                    </a:lnTo>
                  </a:path>
                </a:pathLst>
              </a:custGeom>
              <a:pattFill prst="pct50">
                <a:fgClr>
                  <a:srgbClr val="91CD9E"/>
                </a:fgClr>
                <a:bgClr>
                  <a:schemeClr val="bg1"/>
                </a:bgClr>
              </a:patt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4" name="Freeform 309">
                <a:extLst>
                  <a:ext uri="{FF2B5EF4-FFF2-40B4-BE49-F238E27FC236}">
                    <a16:creationId xmlns:a16="http://schemas.microsoft.com/office/drawing/2014/main" id="{69843E3C-D3DC-4C31-BD31-F4D1C3B50D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6379" y="3482755"/>
                <a:ext cx="357791" cy="259073"/>
              </a:xfrm>
              <a:custGeom>
                <a:avLst/>
                <a:gdLst>
                  <a:gd name="T0" fmla="*/ 73025 w 436"/>
                  <a:gd name="T1" fmla="*/ 50968 h 303"/>
                  <a:gd name="T2" fmla="*/ 73025 w 436"/>
                  <a:gd name="T3" fmla="*/ 50968 h 303"/>
                  <a:gd name="T4" fmla="*/ 73025 w 436"/>
                  <a:gd name="T5" fmla="*/ 47782 h 303"/>
                  <a:gd name="T6" fmla="*/ 83344 w 436"/>
                  <a:gd name="T7" fmla="*/ 35040 h 303"/>
                  <a:gd name="T8" fmla="*/ 86519 w 436"/>
                  <a:gd name="T9" fmla="*/ 15927 h 303"/>
                  <a:gd name="T10" fmla="*/ 80169 w 436"/>
                  <a:gd name="T11" fmla="*/ 9556 h 303"/>
                  <a:gd name="T12" fmla="*/ 80169 w 436"/>
                  <a:gd name="T13" fmla="*/ 3185 h 303"/>
                  <a:gd name="T14" fmla="*/ 76200 w 436"/>
                  <a:gd name="T15" fmla="*/ 0 h 303"/>
                  <a:gd name="T16" fmla="*/ 62706 w 436"/>
                  <a:gd name="T17" fmla="*/ 0 h 303"/>
                  <a:gd name="T18" fmla="*/ 27781 w 436"/>
                  <a:gd name="T19" fmla="*/ 22298 h 303"/>
                  <a:gd name="T20" fmla="*/ 21431 w 436"/>
                  <a:gd name="T21" fmla="*/ 22298 h 303"/>
                  <a:gd name="T22" fmla="*/ 21431 w 436"/>
                  <a:gd name="T23" fmla="*/ 38226 h 303"/>
                  <a:gd name="T24" fmla="*/ 17463 w 436"/>
                  <a:gd name="T25" fmla="*/ 41411 h 303"/>
                  <a:gd name="T26" fmla="*/ 0 w 436"/>
                  <a:gd name="T27" fmla="*/ 44597 h 303"/>
                  <a:gd name="T28" fmla="*/ 0 w 436"/>
                  <a:gd name="T29" fmla="*/ 50968 h 303"/>
                  <a:gd name="T30" fmla="*/ 7144 w 436"/>
                  <a:gd name="T31" fmla="*/ 57339 h 303"/>
                  <a:gd name="T32" fmla="*/ 10319 w 436"/>
                  <a:gd name="T33" fmla="*/ 57339 h 303"/>
                  <a:gd name="T34" fmla="*/ 10319 w 436"/>
                  <a:gd name="T35" fmla="*/ 60524 h 303"/>
                  <a:gd name="T36" fmla="*/ 10319 w 436"/>
                  <a:gd name="T37" fmla="*/ 57339 h 303"/>
                  <a:gd name="T38" fmla="*/ 14288 w 436"/>
                  <a:gd name="T39" fmla="*/ 57339 h 303"/>
                  <a:gd name="T40" fmla="*/ 17463 w 436"/>
                  <a:gd name="T41" fmla="*/ 60524 h 303"/>
                  <a:gd name="T42" fmla="*/ 17463 w 436"/>
                  <a:gd name="T43" fmla="*/ 57339 h 303"/>
                  <a:gd name="T44" fmla="*/ 23812 w 436"/>
                  <a:gd name="T45" fmla="*/ 50968 h 303"/>
                  <a:gd name="T46" fmla="*/ 27781 w 436"/>
                  <a:gd name="T47" fmla="*/ 50968 h 303"/>
                  <a:gd name="T48" fmla="*/ 38100 w 436"/>
                  <a:gd name="T49" fmla="*/ 54153 h 303"/>
                  <a:gd name="T50" fmla="*/ 42069 w 436"/>
                  <a:gd name="T51" fmla="*/ 54153 h 303"/>
                  <a:gd name="T52" fmla="*/ 48419 w 436"/>
                  <a:gd name="T53" fmla="*/ 57339 h 303"/>
                  <a:gd name="T54" fmla="*/ 55563 w 436"/>
                  <a:gd name="T55" fmla="*/ 54153 h 303"/>
                  <a:gd name="T56" fmla="*/ 65881 w 436"/>
                  <a:gd name="T57" fmla="*/ 54153 h 303"/>
                  <a:gd name="T58" fmla="*/ 69850 w 436"/>
                  <a:gd name="T59" fmla="*/ 50968 h 303"/>
                  <a:gd name="T60" fmla="*/ 73025 w 436"/>
                  <a:gd name="T61" fmla="*/ 50968 h 303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436"/>
                  <a:gd name="T94" fmla="*/ 0 h 303"/>
                  <a:gd name="T95" fmla="*/ 436 w 436"/>
                  <a:gd name="T96" fmla="*/ 303 h 303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436" h="303">
                    <a:moveTo>
                      <a:pt x="366" y="255"/>
                    </a:moveTo>
                    <a:lnTo>
                      <a:pt x="366" y="255"/>
                    </a:lnTo>
                    <a:lnTo>
                      <a:pt x="366" y="240"/>
                    </a:lnTo>
                    <a:lnTo>
                      <a:pt x="418" y="175"/>
                    </a:lnTo>
                    <a:lnTo>
                      <a:pt x="436" y="79"/>
                    </a:lnTo>
                    <a:lnTo>
                      <a:pt x="401" y="48"/>
                    </a:lnTo>
                    <a:lnTo>
                      <a:pt x="401" y="15"/>
                    </a:lnTo>
                    <a:lnTo>
                      <a:pt x="384" y="0"/>
                    </a:lnTo>
                    <a:lnTo>
                      <a:pt x="313" y="0"/>
                    </a:lnTo>
                    <a:lnTo>
                      <a:pt x="140" y="111"/>
                    </a:lnTo>
                    <a:lnTo>
                      <a:pt x="105" y="111"/>
                    </a:lnTo>
                    <a:lnTo>
                      <a:pt x="105" y="192"/>
                    </a:lnTo>
                    <a:lnTo>
                      <a:pt x="86" y="207"/>
                    </a:lnTo>
                    <a:lnTo>
                      <a:pt x="0" y="222"/>
                    </a:lnTo>
                    <a:lnTo>
                      <a:pt x="0" y="255"/>
                    </a:lnTo>
                    <a:lnTo>
                      <a:pt x="34" y="288"/>
                    </a:lnTo>
                    <a:lnTo>
                      <a:pt x="52" y="288"/>
                    </a:lnTo>
                    <a:lnTo>
                      <a:pt x="52" y="303"/>
                    </a:lnTo>
                    <a:lnTo>
                      <a:pt x="52" y="288"/>
                    </a:lnTo>
                    <a:lnTo>
                      <a:pt x="69" y="288"/>
                    </a:lnTo>
                    <a:lnTo>
                      <a:pt x="86" y="303"/>
                    </a:lnTo>
                    <a:lnTo>
                      <a:pt x="86" y="288"/>
                    </a:lnTo>
                    <a:lnTo>
                      <a:pt x="123" y="255"/>
                    </a:lnTo>
                    <a:lnTo>
                      <a:pt x="140" y="255"/>
                    </a:lnTo>
                    <a:lnTo>
                      <a:pt x="192" y="270"/>
                    </a:lnTo>
                    <a:lnTo>
                      <a:pt x="209" y="270"/>
                    </a:lnTo>
                    <a:lnTo>
                      <a:pt x="244" y="288"/>
                    </a:lnTo>
                    <a:lnTo>
                      <a:pt x="278" y="270"/>
                    </a:lnTo>
                    <a:lnTo>
                      <a:pt x="332" y="270"/>
                    </a:lnTo>
                    <a:lnTo>
                      <a:pt x="349" y="255"/>
                    </a:lnTo>
                    <a:lnTo>
                      <a:pt x="366" y="255"/>
                    </a:lnTo>
                    <a:close/>
                  </a:path>
                </a:pathLst>
              </a:custGeom>
              <a:pattFill prst="pct50">
                <a:fgClr>
                  <a:srgbClr val="91CD9E"/>
                </a:fgClr>
                <a:bgClr>
                  <a:schemeClr val="bg1"/>
                </a:bgClr>
              </a:patt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29" name="Group 128">
              <a:extLst>
                <a:ext uri="{FF2B5EF4-FFF2-40B4-BE49-F238E27FC236}">
                  <a16:creationId xmlns:a16="http://schemas.microsoft.com/office/drawing/2014/main" id="{5CDA0DD9-83AC-4BBB-BFFA-B089825E81FD}"/>
                </a:ext>
              </a:extLst>
            </p:cNvPr>
            <p:cNvGrpSpPr/>
            <p:nvPr/>
          </p:nvGrpSpPr>
          <p:grpSpPr>
            <a:xfrm>
              <a:off x="5144729" y="3777577"/>
              <a:ext cx="1963794" cy="1627953"/>
              <a:chOff x="5459197" y="3389012"/>
              <a:chExt cx="1692121" cy="1402741"/>
            </a:xfrm>
            <a:pattFill prst="pct50">
              <a:fgClr>
                <a:schemeClr val="accent3"/>
              </a:fgClr>
              <a:bgClr>
                <a:schemeClr val="bg1"/>
              </a:bgClr>
            </a:pattFill>
          </p:grpSpPr>
          <p:sp>
            <p:nvSpPr>
              <p:cNvPr id="205" name="Line 192">
                <a:extLst>
                  <a:ext uri="{FF2B5EF4-FFF2-40B4-BE49-F238E27FC236}">
                    <a16:creationId xmlns:a16="http://schemas.microsoft.com/office/drawing/2014/main" id="{58284A7A-1488-4CEC-A02D-A951E4EF019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061049" y="3748645"/>
                <a:ext cx="13130" cy="0"/>
              </a:xfrm>
              <a:prstGeom prst="line">
                <a:avLst/>
              </a:pr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6" name="Freeform 264">
                <a:extLst>
                  <a:ext uri="{FF2B5EF4-FFF2-40B4-BE49-F238E27FC236}">
                    <a16:creationId xmlns:a16="http://schemas.microsoft.com/office/drawing/2014/main" id="{974B19F9-8430-4F2A-AC02-432B2AA2F1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5693" y="4369055"/>
                <a:ext cx="297066" cy="272708"/>
              </a:xfrm>
              <a:custGeom>
                <a:avLst/>
                <a:gdLst>
                  <a:gd name="T0" fmla="*/ 23813 w 362"/>
                  <a:gd name="T1" fmla="*/ 63500 h 320"/>
                  <a:gd name="T2" fmla="*/ 23813 w 362"/>
                  <a:gd name="T3" fmla="*/ 63500 h 320"/>
                  <a:gd name="T4" fmla="*/ 19844 w 362"/>
                  <a:gd name="T5" fmla="*/ 57150 h 320"/>
                  <a:gd name="T6" fmla="*/ 14288 w 362"/>
                  <a:gd name="T7" fmla="*/ 38100 h 320"/>
                  <a:gd name="T8" fmla="*/ 14288 w 362"/>
                  <a:gd name="T9" fmla="*/ 28575 h 320"/>
                  <a:gd name="T10" fmla="*/ 0 w 362"/>
                  <a:gd name="T11" fmla="*/ 3969 h 320"/>
                  <a:gd name="T12" fmla="*/ 0 w 362"/>
                  <a:gd name="T13" fmla="*/ 0 h 320"/>
                  <a:gd name="T14" fmla="*/ 7144 w 362"/>
                  <a:gd name="T15" fmla="*/ 0 h 320"/>
                  <a:gd name="T16" fmla="*/ 14288 w 362"/>
                  <a:gd name="T17" fmla="*/ 0 h 320"/>
                  <a:gd name="T18" fmla="*/ 34131 w 362"/>
                  <a:gd name="T19" fmla="*/ 3969 h 320"/>
                  <a:gd name="T20" fmla="*/ 40481 w 362"/>
                  <a:gd name="T21" fmla="*/ 3969 h 320"/>
                  <a:gd name="T22" fmla="*/ 54769 w 362"/>
                  <a:gd name="T23" fmla="*/ 7144 h 320"/>
                  <a:gd name="T24" fmla="*/ 61913 w 362"/>
                  <a:gd name="T25" fmla="*/ 3969 h 320"/>
                  <a:gd name="T26" fmla="*/ 65088 w 362"/>
                  <a:gd name="T27" fmla="*/ 0 h 320"/>
                  <a:gd name="T28" fmla="*/ 72231 w 362"/>
                  <a:gd name="T29" fmla="*/ 3969 h 320"/>
                  <a:gd name="T30" fmla="*/ 65088 w 362"/>
                  <a:gd name="T31" fmla="*/ 9525 h 320"/>
                  <a:gd name="T32" fmla="*/ 61913 w 362"/>
                  <a:gd name="T33" fmla="*/ 7144 h 320"/>
                  <a:gd name="T34" fmla="*/ 51594 w 362"/>
                  <a:gd name="T35" fmla="*/ 7144 h 320"/>
                  <a:gd name="T36" fmla="*/ 47625 w 362"/>
                  <a:gd name="T37" fmla="*/ 26194 h 320"/>
                  <a:gd name="T38" fmla="*/ 44450 w 362"/>
                  <a:gd name="T39" fmla="*/ 28575 h 320"/>
                  <a:gd name="T40" fmla="*/ 44450 w 362"/>
                  <a:gd name="T41" fmla="*/ 41275 h 320"/>
                  <a:gd name="T42" fmla="*/ 44450 w 362"/>
                  <a:gd name="T43" fmla="*/ 61119 h 320"/>
                  <a:gd name="T44" fmla="*/ 37306 w 362"/>
                  <a:gd name="T45" fmla="*/ 63500 h 320"/>
                  <a:gd name="T46" fmla="*/ 30956 w 362"/>
                  <a:gd name="T47" fmla="*/ 63500 h 320"/>
                  <a:gd name="T48" fmla="*/ 27781 w 362"/>
                  <a:gd name="T49" fmla="*/ 61119 h 320"/>
                  <a:gd name="T50" fmla="*/ 23813 w 362"/>
                  <a:gd name="T51" fmla="*/ 63500 h 32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362"/>
                  <a:gd name="T79" fmla="*/ 0 h 320"/>
                  <a:gd name="T80" fmla="*/ 362 w 362"/>
                  <a:gd name="T81" fmla="*/ 320 h 320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362" h="320">
                    <a:moveTo>
                      <a:pt x="121" y="320"/>
                    </a:moveTo>
                    <a:lnTo>
                      <a:pt x="121" y="320"/>
                    </a:lnTo>
                    <a:lnTo>
                      <a:pt x="103" y="288"/>
                    </a:lnTo>
                    <a:lnTo>
                      <a:pt x="69" y="192"/>
                    </a:lnTo>
                    <a:lnTo>
                      <a:pt x="69" y="144"/>
                    </a:lnTo>
                    <a:lnTo>
                      <a:pt x="0" y="17"/>
                    </a:lnTo>
                    <a:lnTo>
                      <a:pt x="0" y="0"/>
                    </a:lnTo>
                    <a:lnTo>
                      <a:pt x="34" y="0"/>
                    </a:lnTo>
                    <a:lnTo>
                      <a:pt x="69" y="0"/>
                    </a:lnTo>
                    <a:lnTo>
                      <a:pt x="172" y="17"/>
                    </a:lnTo>
                    <a:lnTo>
                      <a:pt x="207" y="17"/>
                    </a:lnTo>
                    <a:lnTo>
                      <a:pt x="276" y="33"/>
                    </a:lnTo>
                    <a:lnTo>
                      <a:pt x="311" y="17"/>
                    </a:lnTo>
                    <a:lnTo>
                      <a:pt x="328" y="0"/>
                    </a:lnTo>
                    <a:lnTo>
                      <a:pt x="362" y="17"/>
                    </a:lnTo>
                    <a:lnTo>
                      <a:pt x="328" y="48"/>
                    </a:lnTo>
                    <a:lnTo>
                      <a:pt x="311" y="33"/>
                    </a:lnTo>
                    <a:lnTo>
                      <a:pt x="259" y="33"/>
                    </a:lnTo>
                    <a:lnTo>
                      <a:pt x="241" y="129"/>
                    </a:lnTo>
                    <a:lnTo>
                      <a:pt x="224" y="144"/>
                    </a:lnTo>
                    <a:lnTo>
                      <a:pt x="224" y="209"/>
                    </a:lnTo>
                    <a:lnTo>
                      <a:pt x="224" y="305"/>
                    </a:lnTo>
                    <a:lnTo>
                      <a:pt x="190" y="320"/>
                    </a:lnTo>
                    <a:lnTo>
                      <a:pt x="155" y="320"/>
                    </a:lnTo>
                    <a:lnTo>
                      <a:pt x="138" y="305"/>
                    </a:lnTo>
                    <a:lnTo>
                      <a:pt x="121" y="32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7" name="Freeform 265">
                <a:extLst>
                  <a:ext uri="{FF2B5EF4-FFF2-40B4-BE49-F238E27FC236}">
                    <a16:creationId xmlns:a16="http://schemas.microsoft.com/office/drawing/2014/main" id="{1031041A-28BD-4EE5-ACE8-9100ECC20E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2528" y="4478139"/>
                <a:ext cx="370920" cy="313614"/>
              </a:xfrm>
              <a:custGeom>
                <a:avLst/>
                <a:gdLst>
                  <a:gd name="T0" fmla="*/ 82733 w 451"/>
                  <a:gd name="T1" fmla="*/ 2381 h 368"/>
                  <a:gd name="T2" fmla="*/ 86711 w 451"/>
                  <a:gd name="T3" fmla="*/ 21431 h 368"/>
                  <a:gd name="T4" fmla="*/ 82733 w 451"/>
                  <a:gd name="T5" fmla="*/ 21431 h 368"/>
                  <a:gd name="T6" fmla="*/ 79551 w 451"/>
                  <a:gd name="T7" fmla="*/ 25400 h 368"/>
                  <a:gd name="T8" fmla="*/ 82733 w 451"/>
                  <a:gd name="T9" fmla="*/ 28575 h 368"/>
                  <a:gd name="T10" fmla="*/ 86711 w 451"/>
                  <a:gd name="T11" fmla="*/ 25400 h 368"/>
                  <a:gd name="T12" fmla="*/ 89893 w 451"/>
                  <a:gd name="T13" fmla="*/ 25400 h 368"/>
                  <a:gd name="T14" fmla="*/ 89893 w 451"/>
                  <a:gd name="T15" fmla="*/ 28575 h 368"/>
                  <a:gd name="T16" fmla="*/ 89893 w 451"/>
                  <a:gd name="T17" fmla="*/ 37306 h 368"/>
                  <a:gd name="T18" fmla="*/ 82733 w 451"/>
                  <a:gd name="T19" fmla="*/ 40481 h 368"/>
                  <a:gd name="T20" fmla="*/ 76369 w 451"/>
                  <a:gd name="T21" fmla="*/ 50006 h 368"/>
                  <a:gd name="T22" fmla="*/ 66027 w 451"/>
                  <a:gd name="T23" fmla="*/ 60325 h 368"/>
                  <a:gd name="T24" fmla="*/ 58868 w 451"/>
                  <a:gd name="T25" fmla="*/ 66675 h 368"/>
                  <a:gd name="T26" fmla="*/ 48526 w 451"/>
                  <a:gd name="T27" fmla="*/ 69850 h 368"/>
                  <a:gd name="T28" fmla="*/ 42162 w 451"/>
                  <a:gd name="T29" fmla="*/ 69850 h 368"/>
                  <a:gd name="T30" fmla="*/ 31820 w 451"/>
                  <a:gd name="T31" fmla="*/ 69850 h 368"/>
                  <a:gd name="T32" fmla="*/ 20683 w 451"/>
                  <a:gd name="T33" fmla="*/ 73025 h 368"/>
                  <a:gd name="T34" fmla="*/ 17501 w 451"/>
                  <a:gd name="T35" fmla="*/ 73025 h 368"/>
                  <a:gd name="T36" fmla="*/ 14319 w 451"/>
                  <a:gd name="T37" fmla="*/ 69850 h 368"/>
                  <a:gd name="T38" fmla="*/ 10342 w 451"/>
                  <a:gd name="T39" fmla="*/ 60325 h 368"/>
                  <a:gd name="T40" fmla="*/ 10342 w 451"/>
                  <a:gd name="T41" fmla="*/ 57150 h 368"/>
                  <a:gd name="T42" fmla="*/ 3978 w 451"/>
                  <a:gd name="T43" fmla="*/ 37306 h 368"/>
                  <a:gd name="T44" fmla="*/ 0 w 451"/>
                  <a:gd name="T45" fmla="*/ 37306 h 368"/>
                  <a:gd name="T46" fmla="*/ 3978 w 451"/>
                  <a:gd name="T47" fmla="*/ 34925 h 368"/>
                  <a:gd name="T48" fmla="*/ 7160 w 451"/>
                  <a:gd name="T49" fmla="*/ 37306 h 368"/>
                  <a:gd name="T50" fmla="*/ 14319 w 451"/>
                  <a:gd name="T51" fmla="*/ 37306 h 368"/>
                  <a:gd name="T52" fmla="*/ 20683 w 451"/>
                  <a:gd name="T53" fmla="*/ 34925 h 368"/>
                  <a:gd name="T54" fmla="*/ 20683 w 451"/>
                  <a:gd name="T55" fmla="*/ 15875 h 368"/>
                  <a:gd name="T56" fmla="*/ 24661 w 451"/>
                  <a:gd name="T57" fmla="*/ 19050 h 368"/>
                  <a:gd name="T58" fmla="*/ 24661 w 451"/>
                  <a:gd name="T59" fmla="*/ 25400 h 368"/>
                  <a:gd name="T60" fmla="*/ 31820 w 451"/>
                  <a:gd name="T61" fmla="*/ 25400 h 368"/>
                  <a:gd name="T62" fmla="*/ 42162 w 451"/>
                  <a:gd name="T63" fmla="*/ 19050 h 368"/>
                  <a:gd name="T64" fmla="*/ 45344 w 451"/>
                  <a:gd name="T65" fmla="*/ 21431 h 368"/>
                  <a:gd name="T66" fmla="*/ 48526 w 451"/>
                  <a:gd name="T67" fmla="*/ 19050 h 368"/>
                  <a:gd name="T68" fmla="*/ 62845 w 451"/>
                  <a:gd name="T69" fmla="*/ 6350 h 368"/>
                  <a:gd name="T70" fmla="*/ 72391 w 451"/>
                  <a:gd name="T71" fmla="*/ 0 h 368"/>
                  <a:gd name="T72" fmla="*/ 79551 w 451"/>
                  <a:gd name="T73" fmla="*/ 2381 h 368"/>
                  <a:gd name="T74" fmla="*/ 82733 w 451"/>
                  <a:gd name="T75" fmla="*/ 2381 h 36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451"/>
                  <a:gd name="T115" fmla="*/ 0 h 368"/>
                  <a:gd name="T116" fmla="*/ 451 w 451"/>
                  <a:gd name="T117" fmla="*/ 368 h 36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451" h="368">
                    <a:moveTo>
                      <a:pt x="416" y="15"/>
                    </a:moveTo>
                    <a:lnTo>
                      <a:pt x="433" y="111"/>
                    </a:lnTo>
                    <a:lnTo>
                      <a:pt x="416" y="111"/>
                    </a:lnTo>
                    <a:lnTo>
                      <a:pt x="399" y="128"/>
                    </a:lnTo>
                    <a:lnTo>
                      <a:pt x="416" y="143"/>
                    </a:lnTo>
                    <a:lnTo>
                      <a:pt x="433" y="128"/>
                    </a:lnTo>
                    <a:lnTo>
                      <a:pt x="451" y="128"/>
                    </a:lnTo>
                    <a:lnTo>
                      <a:pt x="451" y="143"/>
                    </a:lnTo>
                    <a:lnTo>
                      <a:pt x="451" y="191"/>
                    </a:lnTo>
                    <a:lnTo>
                      <a:pt x="416" y="207"/>
                    </a:lnTo>
                    <a:lnTo>
                      <a:pt x="382" y="255"/>
                    </a:lnTo>
                    <a:lnTo>
                      <a:pt x="330" y="303"/>
                    </a:lnTo>
                    <a:lnTo>
                      <a:pt x="295" y="335"/>
                    </a:lnTo>
                    <a:lnTo>
                      <a:pt x="243" y="351"/>
                    </a:lnTo>
                    <a:lnTo>
                      <a:pt x="209" y="351"/>
                    </a:lnTo>
                    <a:lnTo>
                      <a:pt x="157" y="351"/>
                    </a:lnTo>
                    <a:lnTo>
                      <a:pt x="103" y="368"/>
                    </a:lnTo>
                    <a:lnTo>
                      <a:pt x="86" y="368"/>
                    </a:lnTo>
                    <a:lnTo>
                      <a:pt x="69" y="351"/>
                    </a:lnTo>
                    <a:lnTo>
                      <a:pt x="51" y="303"/>
                    </a:lnTo>
                    <a:lnTo>
                      <a:pt x="51" y="287"/>
                    </a:lnTo>
                    <a:lnTo>
                      <a:pt x="17" y="191"/>
                    </a:lnTo>
                    <a:lnTo>
                      <a:pt x="0" y="191"/>
                    </a:lnTo>
                    <a:lnTo>
                      <a:pt x="17" y="176"/>
                    </a:lnTo>
                    <a:lnTo>
                      <a:pt x="34" y="191"/>
                    </a:lnTo>
                    <a:lnTo>
                      <a:pt x="69" y="191"/>
                    </a:lnTo>
                    <a:lnTo>
                      <a:pt x="103" y="176"/>
                    </a:lnTo>
                    <a:lnTo>
                      <a:pt x="103" y="80"/>
                    </a:lnTo>
                    <a:lnTo>
                      <a:pt x="121" y="96"/>
                    </a:lnTo>
                    <a:lnTo>
                      <a:pt x="121" y="128"/>
                    </a:lnTo>
                    <a:lnTo>
                      <a:pt x="157" y="128"/>
                    </a:lnTo>
                    <a:lnTo>
                      <a:pt x="209" y="96"/>
                    </a:lnTo>
                    <a:lnTo>
                      <a:pt x="226" y="111"/>
                    </a:lnTo>
                    <a:lnTo>
                      <a:pt x="243" y="96"/>
                    </a:lnTo>
                    <a:lnTo>
                      <a:pt x="313" y="32"/>
                    </a:lnTo>
                    <a:lnTo>
                      <a:pt x="364" y="0"/>
                    </a:lnTo>
                    <a:lnTo>
                      <a:pt x="399" y="15"/>
                    </a:lnTo>
                    <a:lnTo>
                      <a:pt x="416" y="1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8" name="Freeform 266">
                <a:extLst>
                  <a:ext uri="{FF2B5EF4-FFF2-40B4-BE49-F238E27FC236}">
                    <a16:creationId xmlns:a16="http://schemas.microsoft.com/office/drawing/2014/main" id="{94FCA60F-A150-4D4B-A479-2D054AA16B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873" y="4382691"/>
                <a:ext cx="215003" cy="204530"/>
              </a:xfrm>
              <a:custGeom>
                <a:avLst/>
                <a:gdLst>
                  <a:gd name="T0" fmla="*/ 0 w 261"/>
                  <a:gd name="T1" fmla="*/ 38100 h 240"/>
                  <a:gd name="T2" fmla="*/ 0 w 261"/>
                  <a:gd name="T3" fmla="*/ 38100 h 240"/>
                  <a:gd name="T4" fmla="*/ 3984 w 261"/>
                  <a:gd name="T5" fmla="*/ 41275 h 240"/>
                  <a:gd name="T6" fmla="*/ 3984 w 261"/>
                  <a:gd name="T7" fmla="*/ 47625 h 240"/>
                  <a:gd name="T8" fmla="*/ 10358 w 261"/>
                  <a:gd name="T9" fmla="*/ 47625 h 240"/>
                  <a:gd name="T10" fmla="*/ 20717 w 261"/>
                  <a:gd name="T11" fmla="*/ 41275 h 240"/>
                  <a:gd name="T12" fmla="*/ 24701 w 261"/>
                  <a:gd name="T13" fmla="*/ 44450 h 240"/>
                  <a:gd name="T14" fmla="*/ 27888 w 261"/>
                  <a:gd name="T15" fmla="*/ 41275 h 240"/>
                  <a:gd name="T16" fmla="*/ 42230 w 261"/>
                  <a:gd name="T17" fmla="*/ 28575 h 240"/>
                  <a:gd name="T18" fmla="*/ 52588 w 261"/>
                  <a:gd name="T19" fmla="*/ 22225 h 240"/>
                  <a:gd name="T20" fmla="*/ 45417 w 261"/>
                  <a:gd name="T21" fmla="*/ 22225 h 240"/>
                  <a:gd name="T22" fmla="*/ 42230 w 261"/>
                  <a:gd name="T23" fmla="*/ 15875 h 240"/>
                  <a:gd name="T24" fmla="*/ 35059 w 261"/>
                  <a:gd name="T25" fmla="*/ 9525 h 240"/>
                  <a:gd name="T26" fmla="*/ 27888 w 261"/>
                  <a:gd name="T27" fmla="*/ 0 h 240"/>
                  <a:gd name="T28" fmla="*/ 20717 w 261"/>
                  <a:gd name="T29" fmla="*/ 6350 h 240"/>
                  <a:gd name="T30" fmla="*/ 17529 w 261"/>
                  <a:gd name="T31" fmla="*/ 3175 h 240"/>
                  <a:gd name="T32" fmla="*/ 7171 w 261"/>
                  <a:gd name="T33" fmla="*/ 3175 h 240"/>
                  <a:gd name="T34" fmla="*/ 3984 w 261"/>
                  <a:gd name="T35" fmla="*/ 22225 h 240"/>
                  <a:gd name="T36" fmla="*/ 0 w 261"/>
                  <a:gd name="T37" fmla="*/ 24606 h 240"/>
                  <a:gd name="T38" fmla="*/ 0 w 261"/>
                  <a:gd name="T39" fmla="*/ 38100 h 240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61"/>
                  <a:gd name="T61" fmla="*/ 0 h 240"/>
                  <a:gd name="T62" fmla="*/ 261 w 261"/>
                  <a:gd name="T63" fmla="*/ 240 h 240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61" h="240">
                    <a:moveTo>
                      <a:pt x="0" y="192"/>
                    </a:moveTo>
                    <a:lnTo>
                      <a:pt x="0" y="192"/>
                    </a:lnTo>
                    <a:lnTo>
                      <a:pt x="18" y="208"/>
                    </a:lnTo>
                    <a:lnTo>
                      <a:pt x="18" y="240"/>
                    </a:lnTo>
                    <a:lnTo>
                      <a:pt x="52" y="240"/>
                    </a:lnTo>
                    <a:lnTo>
                      <a:pt x="104" y="208"/>
                    </a:lnTo>
                    <a:lnTo>
                      <a:pt x="121" y="223"/>
                    </a:lnTo>
                    <a:lnTo>
                      <a:pt x="139" y="208"/>
                    </a:lnTo>
                    <a:lnTo>
                      <a:pt x="210" y="144"/>
                    </a:lnTo>
                    <a:lnTo>
                      <a:pt x="261" y="112"/>
                    </a:lnTo>
                    <a:lnTo>
                      <a:pt x="227" y="112"/>
                    </a:lnTo>
                    <a:lnTo>
                      <a:pt x="210" y="79"/>
                    </a:lnTo>
                    <a:lnTo>
                      <a:pt x="173" y="48"/>
                    </a:lnTo>
                    <a:lnTo>
                      <a:pt x="139" y="0"/>
                    </a:lnTo>
                    <a:lnTo>
                      <a:pt x="104" y="31"/>
                    </a:lnTo>
                    <a:lnTo>
                      <a:pt x="87" y="16"/>
                    </a:lnTo>
                    <a:lnTo>
                      <a:pt x="35" y="16"/>
                    </a:lnTo>
                    <a:lnTo>
                      <a:pt x="18" y="112"/>
                    </a:lnTo>
                    <a:lnTo>
                      <a:pt x="0" y="127"/>
                    </a:lnTo>
                    <a:lnTo>
                      <a:pt x="0" y="19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9" name="Freeform 267">
                <a:extLst>
                  <a:ext uri="{FF2B5EF4-FFF2-40B4-BE49-F238E27FC236}">
                    <a16:creationId xmlns:a16="http://schemas.microsoft.com/office/drawing/2014/main" id="{8CF7107A-CACB-4A0C-8BA8-24649CA54D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12760" y="4341785"/>
                <a:ext cx="185461" cy="148285"/>
              </a:xfrm>
              <a:custGeom>
                <a:avLst/>
                <a:gdLst>
                  <a:gd name="T0" fmla="*/ 27905 w 225"/>
                  <a:gd name="T1" fmla="*/ 0 h 175"/>
                  <a:gd name="T2" fmla="*/ 27905 w 225"/>
                  <a:gd name="T3" fmla="*/ 0 h 175"/>
                  <a:gd name="T4" fmla="*/ 20729 w 225"/>
                  <a:gd name="T5" fmla="*/ 0 h 175"/>
                  <a:gd name="T6" fmla="*/ 20729 w 225"/>
                  <a:gd name="T7" fmla="*/ 3157 h 175"/>
                  <a:gd name="T8" fmla="*/ 10365 w 225"/>
                  <a:gd name="T9" fmla="*/ 9471 h 175"/>
                  <a:gd name="T10" fmla="*/ 0 w 225"/>
                  <a:gd name="T11" fmla="*/ 9471 h 175"/>
                  <a:gd name="T12" fmla="*/ 7176 w 225"/>
                  <a:gd name="T13" fmla="*/ 18941 h 175"/>
                  <a:gd name="T14" fmla="*/ 14351 w 225"/>
                  <a:gd name="T15" fmla="*/ 24466 h 175"/>
                  <a:gd name="T16" fmla="*/ 17540 w 225"/>
                  <a:gd name="T17" fmla="*/ 31569 h 175"/>
                  <a:gd name="T18" fmla="*/ 24716 w 225"/>
                  <a:gd name="T19" fmla="*/ 31569 h 175"/>
                  <a:gd name="T20" fmla="*/ 31094 w 225"/>
                  <a:gd name="T21" fmla="*/ 33936 h 175"/>
                  <a:gd name="T22" fmla="*/ 35080 w 225"/>
                  <a:gd name="T23" fmla="*/ 33936 h 175"/>
                  <a:gd name="T24" fmla="*/ 41459 w 225"/>
                  <a:gd name="T25" fmla="*/ 22098 h 175"/>
                  <a:gd name="T26" fmla="*/ 45445 w 225"/>
                  <a:gd name="T27" fmla="*/ 9471 h 175"/>
                  <a:gd name="T28" fmla="*/ 41459 w 225"/>
                  <a:gd name="T29" fmla="*/ 3157 h 175"/>
                  <a:gd name="T30" fmla="*/ 35080 w 225"/>
                  <a:gd name="T31" fmla="*/ 0 h 175"/>
                  <a:gd name="T32" fmla="*/ 27905 w 225"/>
                  <a:gd name="T33" fmla="*/ 0 h 17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25"/>
                  <a:gd name="T52" fmla="*/ 0 h 175"/>
                  <a:gd name="T53" fmla="*/ 225 w 225"/>
                  <a:gd name="T54" fmla="*/ 175 h 17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25" h="175">
                    <a:moveTo>
                      <a:pt x="139" y="0"/>
                    </a:moveTo>
                    <a:lnTo>
                      <a:pt x="139" y="0"/>
                    </a:lnTo>
                    <a:lnTo>
                      <a:pt x="104" y="0"/>
                    </a:lnTo>
                    <a:lnTo>
                      <a:pt x="104" y="16"/>
                    </a:lnTo>
                    <a:lnTo>
                      <a:pt x="52" y="48"/>
                    </a:lnTo>
                    <a:lnTo>
                      <a:pt x="0" y="48"/>
                    </a:lnTo>
                    <a:lnTo>
                      <a:pt x="35" y="96"/>
                    </a:lnTo>
                    <a:lnTo>
                      <a:pt x="70" y="127"/>
                    </a:lnTo>
                    <a:lnTo>
                      <a:pt x="87" y="160"/>
                    </a:lnTo>
                    <a:lnTo>
                      <a:pt x="121" y="160"/>
                    </a:lnTo>
                    <a:lnTo>
                      <a:pt x="156" y="175"/>
                    </a:lnTo>
                    <a:lnTo>
                      <a:pt x="173" y="175"/>
                    </a:lnTo>
                    <a:lnTo>
                      <a:pt x="208" y="112"/>
                    </a:lnTo>
                    <a:lnTo>
                      <a:pt x="225" y="48"/>
                    </a:lnTo>
                    <a:lnTo>
                      <a:pt x="208" y="16"/>
                    </a:lnTo>
                    <a:lnTo>
                      <a:pt x="173" y="0"/>
                    </a:lnTo>
                    <a:lnTo>
                      <a:pt x="139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0" name="Freeform 268">
                <a:extLst>
                  <a:ext uri="{FF2B5EF4-FFF2-40B4-BE49-F238E27FC236}">
                    <a16:creationId xmlns:a16="http://schemas.microsoft.com/office/drawing/2014/main" id="{896691B3-8B3A-4D27-9B52-E688568770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6005" y="4219067"/>
                <a:ext cx="241263" cy="368156"/>
              </a:xfrm>
              <a:custGeom>
                <a:avLst/>
                <a:gdLst>
                  <a:gd name="T0" fmla="*/ 14336 w 293"/>
                  <a:gd name="T1" fmla="*/ 85725 h 432"/>
                  <a:gd name="T2" fmla="*/ 14336 w 293"/>
                  <a:gd name="T3" fmla="*/ 85725 h 432"/>
                  <a:gd name="T4" fmla="*/ 14336 w 293"/>
                  <a:gd name="T5" fmla="*/ 82550 h 432"/>
                  <a:gd name="T6" fmla="*/ 14336 w 293"/>
                  <a:gd name="T7" fmla="*/ 79375 h 432"/>
                  <a:gd name="T8" fmla="*/ 27876 w 293"/>
                  <a:gd name="T9" fmla="*/ 76200 h 432"/>
                  <a:gd name="T10" fmla="*/ 31062 w 293"/>
                  <a:gd name="T11" fmla="*/ 73025 h 432"/>
                  <a:gd name="T12" fmla="*/ 31062 w 293"/>
                  <a:gd name="T13" fmla="*/ 63500 h 432"/>
                  <a:gd name="T14" fmla="*/ 24690 w 293"/>
                  <a:gd name="T15" fmla="*/ 50800 h 432"/>
                  <a:gd name="T16" fmla="*/ 38230 w 293"/>
                  <a:gd name="T17" fmla="*/ 38100 h 432"/>
                  <a:gd name="T18" fmla="*/ 48584 w 293"/>
                  <a:gd name="T19" fmla="*/ 34925 h 432"/>
                  <a:gd name="T20" fmla="*/ 58938 w 293"/>
                  <a:gd name="T21" fmla="*/ 24606 h 432"/>
                  <a:gd name="T22" fmla="*/ 54956 w 293"/>
                  <a:gd name="T23" fmla="*/ 0 h 432"/>
                  <a:gd name="T24" fmla="*/ 48584 w 293"/>
                  <a:gd name="T25" fmla="*/ 5556 h 432"/>
                  <a:gd name="T26" fmla="*/ 34248 w 293"/>
                  <a:gd name="T27" fmla="*/ 5556 h 432"/>
                  <a:gd name="T28" fmla="*/ 27876 w 293"/>
                  <a:gd name="T29" fmla="*/ 5556 h 432"/>
                  <a:gd name="T30" fmla="*/ 24690 w 293"/>
                  <a:gd name="T31" fmla="*/ 9525 h 432"/>
                  <a:gd name="T32" fmla="*/ 27876 w 293"/>
                  <a:gd name="T33" fmla="*/ 15875 h 432"/>
                  <a:gd name="T34" fmla="*/ 31062 w 293"/>
                  <a:gd name="T35" fmla="*/ 22225 h 432"/>
                  <a:gd name="T36" fmla="*/ 31062 w 293"/>
                  <a:gd name="T37" fmla="*/ 28575 h 432"/>
                  <a:gd name="T38" fmla="*/ 27876 w 293"/>
                  <a:gd name="T39" fmla="*/ 34925 h 432"/>
                  <a:gd name="T40" fmla="*/ 24690 w 293"/>
                  <a:gd name="T41" fmla="*/ 28575 h 432"/>
                  <a:gd name="T42" fmla="*/ 24690 w 293"/>
                  <a:gd name="T43" fmla="*/ 22225 h 432"/>
                  <a:gd name="T44" fmla="*/ 20708 w 293"/>
                  <a:gd name="T45" fmla="*/ 22225 h 432"/>
                  <a:gd name="T46" fmla="*/ 17522 w 293"/>
                  <a:gd name="T47" fmla="*/ 19050 h 432"/>
                  <a:gd name="T48" fmla="*/ 0 w 293"/>
                  <a:gd name="T49" fmla="*/ 24606 h 432"/>
                  <a:gd name="T50" fmla="*/ 0 w 293"/>
                  <a:gd name="T51" fmla="*/ 28575 h 432"/>
                  <a:gd name="T52" fmla="*/ 7168 w 293"/>
                  <a:gd name="T53" fmla="*/ 28575 h 432"/>
                  <a:gd name="T54" fmla="*/ 14336 w 293"/>
                  <a:gd name="T55" fmla="*/ 31750 h 432"/>
                  <a:gd name="T56" fmla="*/ 17522 w 293"/>
                  <a:gd name="T57" fmla="*/ 38100 h 432"/>
                  <a:gd name="T58" fmla="*/ 14336 w 293"/>
                  <a:gd name="T59" fmla="*/ 50800 h 432"/>
                  <a:gd name="T60" fmla="*/ 7168 w 293"/>
                  <a:gd name="T61" fmla="*/ 63500 h 432"/>
                  <a:gd name="T62" fmla="*/ 10354 w 293"/>
                  <a:gd name="T63" fmla="*/ 82550 h 432"/>
                  <a:gd name="T64" fmla="*/ 10354 w 293"/>
                  <a:gd name="T65" fmla="*/ 85725 h 432"/>
                  <a:gd name="T66" fmla="*/ 14336 w 293"/>
                  <a:gd name="T67" fmla="*/ 85725 h 432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293"/>
                  <a:gd name="T103" fmla="*/ 0 h 432"/>
                  <a:gd name="T104" fmla="*/ 293 w 293"/>
                  <a:gd name="T105" fmla="*/ 432 h 432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293" h="432">
                    <a:moveTo>
                      <a:pt x="69" y="432"/>
                    </a:moveTo>
                    <a:lnTo>
                      <a:pt x="69" y="432"/>
                    </a:lnTo>
                    <a:lnTo>
                      <a:pt x="69" y="415"/>
                    </a:lnTo>
                    <a:lnTo>
                      <a:pt x="69" y="400"/>
                    </a:lnTo>
                    <a:lnTo>
                      <a:pt x="138" y="384"/>
                    </a:lnTo>
                    <a:lnTo>
                      <a:pt x="155" y="367"/>
                    </a:lnTo>
                    <a:lnTo>
                      <a:pt x="155" y="319"/>
                    </a:lnTo>
                    <a:lnTo>
                      <a:pt x="121" y="256"/>
                    </a:lnTo>
                    <a:lnTo>
                      <a:pt x="190" y="192"/>
                    </a:lnTo>
                    <a:lnTo>
                      <a:pt x="242" y="175"/>
                    </a:lnTo>
                    <a:lnTo>
                      <a:pt x="293" y="127"/>
                    </a:lnTo>
                    <a:lnTo>
                      <a:pt x="276" y="0"/>
                    </a:lnTo>
                    <a:lnTo>
                      <a:pt x="242" y="31"/>
                    </a:lnTo>
                    <a:lnTo>
                      <a:pt x="172" y="31"/>
                    </a:lnTo>
                    <a:lnTo>
                      <a:pt x="138" y="31"/>
                    </a:lnTo>
                    <a:lnTo>
                      <a:pt x="121" y="48"/>
                    </a:lnTo>
                    <a:lnTo>
                      <a:pt x="138" y="79"/>
                    </a:lnTo>
                    <a:lnTo>
                      <a:pt x="155" y="112"/>
                    </a:lnTo>
                    <a:lnTo>
                      <a:pt x="155" y="144"/>
                    </a:lnTo>
                    <a:lnTo>
                      <a:pt x="138" y="175"/>
                    </a:lnTo>
                    <a:lnTo>
                      <a:pt x="121" y="144"/>
                    </a:lnTo>
                    <a:lnTo>
                      <a:pt x="121" y="112"/>
                    </a:lnTo>
                    <a:lnTo>
                      <a:pt x="103" y="112"/>
                    </a:lnTo>
                    <a:lnTo>
                      <a:pt x="86" y="96"/>
                    </a:lnTo>
                    <a:lnTo>
                      <a:pt x="0" y="127"/>
                    </a:lnTo>
                    <a:lnTo>
                      <a:pt x="0" y="144"/>
                    </a:lnTo>
                    <a:lnTo>
                      <a:pt x="34" y="144"/>
                    </a:lnTo>
                    <a:lnTo>
                      <a:pt x="69" y="160"/>
                    </a:lnTo>
                    <a:lnTo>
                      <a:pt x="86" y="192"/>
                    </a:lnTo>
                    <a:lnTo>
                      <a:pt x="69" y="256"/>
                    </a:lnTo>
                    <a:lnTo>
                      <a:pt x="34" y="319"/>
                    </a:lnTo>
                    <a:lnTo>
                      <a:pt x="51" y="415"/>
                    </a:lnTo>
                    <a:lnTo>
                      <a:pt x="51" y="432"/>
                    </a:lnTo>
                    <a:lnTo>
                      <a:pt x="69" y="43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1" name="Freeform 269">
                <a:extLst>
                  <a:ext uri="{FF2B5EF4-FFF2-40B4-BE49-F238E27FC236}">
                    <a16:creationId xmlns:a16="http://schemas.microsoft.com/office/drawing/2014/main" id="{5B8D0AAC-2D19-4012-B847-325653F951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3449" y="4205431"/>
                <a:ext cx="70574" cy="163625"/>
              </a:xfrm>
              <a:custGeom>
                <a:avLst/>
                <a:gdLst>
                  <a:gd name="T0" fmla="*/ 3969 w 86"/>
                  <a:gd name="T1" fmla="*/ 22225 h 192"/>
                  <a:gd name="T2" fmla="*/ 3969 w 86"/>
                  <a:gd name="T3" fmla="*/ 22225 h 192"/>
                  <a:gd name="T4" fmla="*/ 0 w 86"/>
                  <a:gd name="T5" fmla="*/ 19050 h 192"/>
                  <a:gd name="T6" fmla="*/ 3969 w 86"/>
                  <a:gd name="T7" fmla="*/ 13494 h 192"/>
                  <a:gd name="T8" fmla="*/ 3969 w 86"/>
                  <a:gd name="T9" fmla="*/ 9525 h 192"/>
                  <a:gd name="T10" fmla="*/ 7144 w 86"/>
                  <a:gd name="T11" fmla="*/ 7144 h 192"/>
                  <a:gd name="T12" fmla="*/ 3969 w 86"/>
                  <a:gd name="T13" fmla="*/ 0 h 192"/>
                  <a:gd name="T14" fmla="*/ 7144 w 86"/>
                  <a:gd name="T15" fmla="*/ 0 h 192"/>
                  <a:gd name="T16" fmla="*/ 10319 w 86"/>
                  <a:gd name="T17" fmla="*/ 0 h 192"/>
                  <a:gd name="T18" fmla="*/ 14288 w 86"/>
                  <a:gd name="T19" fmla="*/ 9525 h 192"/>
                  <a:gd name="T20" fmla="*/ 10319 w 86"/>
                  <a:gd name="T21" fmla="*/ 13494 h 192"/>
                  <a:gd name="T22" fmla="*/ 14288 w 86"/>
                  <a:gd name="T23" fmla="*/ 19050 h 192"/>
                  <a:gd name="T24" fmla="*/ 17463 w 86"/>
                  <a:gd name="T25" fmla="*/ 26194 h 192"/>
                  <a:gd name="T26" fmla="*/ 17463 w 86"/>
                  <a:gd name="T27" fmla="*/ 32544 h 192"/>
                  <a:gd name="T28" fmla="*/ 14288 w 86"/>
                  <a:gd name="T29" fmla="*/ 38100 h 192"/>
                  <a:gd name="T30" fmla="*/ 10319 w 86"/>
                  <a:gd name="T31" fmla="*/ 32544 h 192"/>
                  <a:gd name="T32" fmla="*/ 10319 w 86"/>
                  <a:gd name="T33" fmla="*/ 26194 h 192"/>
                  <a:gd name="T34" fmla="*/ 7144 w 86"/>
                  <a:gd name="T35" fmla="*/ 26194 h 192"/>
                  <a:gd name="T36" fmla="*/ 3969 w 86"/>
                  <a:gd name="T37" fmla="*/ 22225 h 19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86"/>
                  <a:gd name="T58" fmla="*/ 0 h 192"/>
                  <a:gd name="T59" fmla="*/ 86 w 86"/>
                  <a:gd name="T60" fmla="*/ 192 h 19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86" h="192">
                    <a:moveTo>
                      <a:pt x="17" y="113"/>
                    </a:moveTo>
                    <a:lnTo>
                      <a:pt x="17" y="113"/>
                    </a:lnTo>
                    <a:lnTo>
                      <a:pt x="0" y="96"/>
                    </a:lnTo>
                    <a:lnTo>
                      <a:pt x="17" y="65"/>
                    </a:lnTo>
                    <a:lnTo>
                      <a:pt x="17" y="48"/>
                    </a:lnTo>
                    <a:lnTo>
                      <a:pt x="34" y="33"/>
                    </a:lnTo>
                    <a:lnTo>
                      <a:pt x="17" y="0"/>
                    </a:lnTo>
                    <a:lnTo>
                      <a:pt x="34" y="0"/>
                    </a:lnTo>
                    <a:lnTo>
                      <a:pt x="52" y="0"/>
                    </a:lnTo>
                    <a:lnTo>
                      <a:pt x="69" y="48"/>
                    </a:lnTo>
                    <a:lnTo>
                      <a:pt x="52" y="65"/>
                    </a:lnTo>
                    <a:lnTo>
                      <a:pt x="69" y="96"/>
                    </a:lnTo>
                    <a:lnTo>
                      <a:pt x="86" y="129"/>
                    </a:lnTo>
                    <a:lnTo>
                      <a:pt x="86" y="161"/>
                    </a:lnTo>
                    <a:lnTo>
                      <a:pt x="69" y="192"/>
                    </a:lnTo>
                    <a:lnTo>
                      <a:pt x="52" y="161"/>
                    </a:lnTo>
                    <a:lnTo>
                      <a:pt x="52" y="129"/>
                    </a:lnTo>
                    <a:lnTo>
                      <a:pt x="34" y="129"/>
                    </a:lnTo>
                    <a:lnTo>
                      <a:pt x="17" y="113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2" name="Freeform 270">
                <a:extLst>
                  <a:ext uri="{FF2B5EF4-FFF2-40B4-BE49-F238E27FC236}">
                    <a16:creationId xmlns:a16="http://schemas.microsoft.com/office/drawing/2014/main" id="{CA3ABE66-7138-43F7-A694-67FD5CD195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0777" y="4571883"/>
                <a:ext cx="27901" cy="28975"/>
              </a:xfrm>
              <a:custGeom>
                <a:avLst/>
                <a:gdLst>
                  <a:gd name="T0" fmla="*/ 7144 w 34"/>
                  <a:gd name="T1" fmla="*/ 4217 h 32"/>
                  <a:gd name="T2" fmla="*/ 7144 w 34"/>
                  <a:gd name="T3" fmla="*/ 4217 h 32"/>
                  <a:gd name="T4" fmla="*/ 7144 w 34"/>
                  <a:gd name="T5" fmla="*/ 0 h 32"/>
                  <a:gd name="T6" fmla="*/ 3175 w 34"/>
                  <a:gd name="T7" fmla="*/ 0 h 32"/>
                  <a:gd name="T8" fmla="*/ 0 w 34"/>
                  <a:gd name="T9" fmla="*/ 4217 h 32"/>
                  <a:gd name="T10" fmla="*/ 3175 w 34"/>
                  <a:gd name="T11" fmla="*/ 7590 h 32"/>
                  <a:gd name="T12" fmla="*/ 7144 w 34"/>
                  <a:gd name="T13" fmla="*/ 4217 h 3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4"/>
                  <a:gd name="T22" fmla="*/ 0 h 32"/>
                  <a:gd name="T23" fmla="*/ 34 w 34"/>
                  <a:gd name="T24" fmla="*/ 32 h 3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4" h="32">
                    <a:moveTo>
                      <a:pt x="34" y="17"/>
                    </a:moveTo>
                    <a:lnTo>
                      <a:pt x="34" y="17"/>
                    </a:lnTo>
                    <a:lnTo>
                      <a:pt x="34" y="0"/>
                    </a:lnTo>
                    <a:lnTo>
                      <a:pt x="17" y="0"/>
                    </a:lnTo>
                    <a:lnTo>
                      <a:pt x="0" y="17"/>
                    </a:lnTo>
                    <a:lnTo>
                      <a:pt x="17" y="32"/>
                    </a:lnTo>
                    <a:lnTo>
                      <a:pt x="34" y="17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3" name="Freeform 271">
                <a:extLst>
                  <a:ext uri="{FF2B5EF4-FFF2-40B4-BE49-F238E27FC236}">
                    <a16:creationId xmlns:a16="http://schemas.microsoft.com/office/drawing/2014/main" id="{C4F6394C-CC57-4FD1-979C-CF05EA1BDF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26353" y="4259973"/>
                <a:ext cx="154277" cy="299978"/>
              </a:xfrm>
              <a:custGeom>
                <a:avLst/>
                <a:gdLst>
                  <a:gd name="T0" fmla="*/ 0 w 189"/>
                  <a:gd name="T1" fmla="*/ 50800 h 352"/>
                  <a:gd name="T2" fmla="*/ 0 w 189"/>
                  <a:gd name="T3" fmla="*/ 50800 h 352"/>
                  <a:gd name="T4" fmla="*/ 3158 w 189"/>
                  <a:gd name="T5" fmla="*/ 63500 h 352"/>
                  <a:gd name="T6" fmla="*/ 6316 w 189"/>
                  <a:gd name="T7" fmla="*/ 69850 h 352"/>
                  <a:gd name="T8" fmla="*/ 16581 w 189"/>
                  <a:gd name="T9" fmla="*/ 69850 h 352"/>
                  <a:gd name="T10" fmla="*/ 20528 w 189"/>
                  <a:gd name="T11" fmla="*/ 66675 h 352"/>
                  <a:gd name="T12" fmla="*/ 30792 w 189"/>
                  <a:gd name="T13" fmla="*/ 31750 h 352"/>
                  <a:gd name="T14" fmla="*/ 33951 w 189"/>
                  <a:gd name="T15" fmla="*/ 15875 h 352"/>
                  <a:gd name="T16" fmla="*/ 37109 w 189"/>
                  <a:gd name="T17" fmla="*/ 19050 h 352"/>
                  <a:gd name="T18" fmla="*/ 37109 w 189"/>
                  <a:gd name="T19" fmla="*/ 15875 h 352"/>
                  <a:gd name="T20" fmla="*/ 33951 w 189"/>
                  <a:gd name="T21" fmla="*/ 3175 h 352"/>
                  <a:gd name="T22" fmla="*/ 30792 w 189"/>
                  <a:gd name="T23" fmla="*/ 0 h 352"/>
                  <a:gd name="T24" fmla="*/ 26845 w 189"/>
                  <a:gd name="T25" fmla="*/ 5556 h 352"/>
                  <a:gd name="T26" fmla="*/ 23687 w 189"/>
                  <a:gd name="T27" fmla="*/ 5556 h 352"/>
                  <a:gd name="T28" fmla="*/ 23687 w 189"/>
                  <a:gd name="T29" fmla="*/ 12700 h 352"/>
                  <a:gd name="T30" fmla="*/ 6316 w 189"/>
                  <a:gd name="T31" fmla="*/ 22225 h 352"/>
                  <a:gd name="T32" fmla="*/ 3158 w 189"/>
                  <a:gd name="T33" fmla="*/ 28575 h 352"/>
                  <a:gd name="T34" fmla="*/ 6316 w 189"/>
                  <a:gd name="T35" fmla="*/ 41275 h 352"/>
                  <a:gd name="T36" fmla="*/ 0 w 189"/>
                  <a:gd name="T37" fmla="*/ 50800 h 35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89"/>
                  <a:gd name="T58" fmla="*/ 0 h 352"/>
                  <a:gd name="T59" fmla="*/ 189 w 189"/>
                  <a:gd name="T60" fmla="*/ 352 h 35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89" h="352">
                    <a:moveTo>
                      <a:pt x="0" y="256"/>
                    </a:moveTo>
                    <a:lnTo>
                      <a:pt x="0" y="256"/>
                    </a:lnTo>
                    <a:lnTo>
                      <a:pt x="18" y="319"/>
                    </a:lnTo>
                    <a:lnTo>
                      <a:pt x="35" y="352"/>
                    </a:lnTo>
                    <a:lnTo>
                      <a:pt x="87" y="352"/>
                    </a:lnTo>
                    <a:lnTo>
                      <a:pt x="104" y="336"/>
                    </a:lnTo>
                    <a:lnTo>
                      <a:pt x="156" y="160"/>
                    </a:lnTo>
                    <a:lnTo>
                      <a:pt x="173" y="79"/>
                    </a:lnTo>
                    <a:lnTo>
                      <a:pt x="189" y="96"/>
                    </a:lnTo>
                    <a:lnTo>
                      <a:pt x="189" y="79"/>
                    </a:lnTo>
                    <a:lnTo>
                      <a:pt x="173" y="16"/>
                    </a:lnTo>
                    <a:lnTo>
                      <a:pt x="156" y="0"/>
                    </a:lnTo>
                    <a:lnTo>
                      <a:pt x="139" y="31"/>
                    </a:lnTo>
                    <a:lnTo>
                      <a:pt x="121" y="31"/>
                    </a:lnTo>
                    <a:lnTo>
                      <a:pt x="121" y="64"/>
                    </a:lnTo>
                    <a:lnTo>
                      <a:pt x="35" y="112"/>
                    </a:lnTo>
                    <a:lnTo>
                      <a:pt x="18" y="144"/>
                    </a:lnTo>
                    <a:lnTo>
                      <a:pt x="35" y="208"/>
                    </a:lnTo>
                    <a:lnTo>
                      <a:pt x="0" y="256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4" name="Freeform 272">
                <a:extLst>
                  <a:ext uri="{FF2B5EF4-FFF2-40B4-BE49-F238E27FC236}">
                    <a16:creationId xmlns:a16="http://schemas.microsoft.com/office/drawing/2014/main" id="{C7CD59AC-E429-4987-9A84-5390579F7C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39829" y="4437233"/>
                <a:ext cx="11489" cy="11931"/>
              </a:xfrm>
              <a:custGeom>
                <a:avLst/>
                <a:gdLst>
                  <a:gd name="T0" fmla="*/ 0 w 16"/>
                  <a:gd name="T1" fmla="*/ 2223 h 15"/>
                  <a:gd name="T2" fmla="*/ 0 w 16"/>
                  <a:gd name="T3" fmla="*/ 2223 h 15"/>
                  <a:gd name="T4" fmla="*/ 2084 w 16"/>
                  <a:gd name="T5" fmla="*/ 2223 h 15"/>
                  <a:gd name="T6" fmla="*/ 0 w 16"/>
                  <a:gd name="T7" fmla="*/ 0 h 15"/>
                  <a:gd name="T8" fmla="*/ 0 w 16"/>
                  <a:gd name="T9" fmla="*/ 2223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15"/>
                  <a:gd name="T17" fmla="*/ 16 w 16"/>
                  <a:gd name="T18" fmla="*/ 15 h 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15">
                    <a:moveTo>
                      <a:pt x="0" y="15"/>
                    </a:moveTo>
                    <a:lnTo>
                      <a:pt x="0" y="15"/>
                    </a:lnTo>
                    <a:lnTo>
                      <a:pt x="16" y="15"/>
                    </a:lnTo>
                    <a:lnTo>
                      <a:pt x="0" y="0"/>
                    </a:lnTo>
                    <a:lnTo>
                      <a:pt x="0" y="15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5" name="Freeform 273">
                <a:extLst>
                  <a:ext uri="{FF2B5EF4-FFF2-40B4-BE49-F238E27FC236}">
                    <a16:creationId xmlns:a16="http://schemas.microsoft.com/office/drawing/2014/main" id="{82465827-4E26-44BC-BB01-1989D07278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1839" y="3919088"/>
                <a:ext cx="13130" cy="13636"/>
              </a:xfrm>
              <a:custGeom>
                <a:avLst/>
                <a:gdLst>
                  <a:gd name="T0" fmla="*/ 0 w 18"/>
                  <a:gd name="T1" fmla="*/ 2822 h 18"/>
                  <a:gd name="T2" fmla="*/ 0 w 18"/>
                  <a:gd name="T3" fmla="*/ 2822 h 18"/>
                  <a:gd name="T4" fmla="*/ 2822 w 18"/>
                  <a:gd name="T5" fmla="*/ 0 h 18"/>
                  <a:gd name="T6" fmla="*/ 0 w 18"/>
                  <a:gd name="T7" fmla="*/ 0 h 18"/>
                  <a:gd name="T8" fmla="*/ 0 w 18"/>
                  <a:gd name="T9" fmla="*/ 2822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"/>
                  <a:gd name="T16" fmla="*/ 0 h 18"/>
                  <a:gd name="T17" fmla="*/ 18 w 18"/>
                  <a:gd name="T18" fmla="*/ 18 h 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" h="18">
                    <a:moveTo>
                      <a:pt x="0" y="18"/>
                    </a:moveTo>
                    <a:lnTo>
                      <a:pt x="0" y="18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6" name="Freeform 274">
                <a:extLst>
                  <a:ext uri="{FF2B5EF4-FFF2-40B4-BE49-F238E27FC236}">
                    <a16:creationId xmlns:a16="http://schemas.microsoft.com/office/drawing/2014/main" id="{444700E1-BC37-457F-98A2-1578C41E04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5431" y="4628128"/>
                <a:ext cx="57444" cy="54542"/>
              </a:xfrm>
              <a:custGeom>
                <a:avLst/>
                <a:gdLst>
                  <a:gd name="T0" fmla="*/ 14495 w 69"/>
                  <a:gd name="T1" fmla="*/ 6451 h 63"/>
                  <a:gd name="T2" fmla="*/ 14495 w 69"/>
                  <a:gd name="T3" fmla="*/ 6451 h 63"/>
                  <a:gd name="T4" fmla="*/ 10468 w 69"/>
                  <a:gd name="T5" fmla="*/ 9676 h 63"/>
                  <a:gd name="T6" fmla="*/ 4026 w 69"/>
                  <a:gd name="T7" fmla="*/ 12902 h 63"/>
                  <a:gd name="T8" fmla="*/ 0 w 69"/>
                  <a:gd name="T9" fmla="*/ 9676 h 63"/>
                  <a:gd name="T10" fmla="*/ 7247 w 69"/>
                  <a:gd name="T11" fmla="*/ 0 h 63"/>
                  <a:gd name="T12" fmla="*/ 10468 w 69"/>
                  <a:gd name="T13" fmla="*/ 3225 h 63"/>
                  <a:gd name="T14" fmla="*/ 14495 w 69"/>
                  <a:gd name="T15" fmla="*/ 6451 h 6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9"/>
                  <a:gd name="T25" fmla="*/ 0 h 63"/>
                  <a:gd name="T26" fmla="*/ 69 w 69"/>
                  <a:gd name="T27" fmla="*/ 63 h 6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9" h="63">
                    <a:moveTo>
                      <a:pt x="69" y="31"/>
                    </a:moveTo>
                    <a:lnTo>
                      <a:pt x="69" y="31"/>
                    </a:lnTo>
                    <a:lnTo>
                      <a:pt x="52" y="48"/>
                    </a:lnTo>
                    <a:lnTo>
                      <a:pt x="18" y="63"/>
                    </a:lnTo>
                    <a:lnTo>
                      <a:pt x="0" y="48"/>
                    </a:lnTo>
                    <a:lnTo>
                      <a:pt x="35" y="0"/>
                    </a:lnTo>
                    <a:lnTo>
                      <a:pt x="52" y="15"/>
                    </a:lnTo>
                    <a:lnTo>
                      <a:pt x="69" y="31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7" name="Freeform 275">
                <a:extLst>
                  <a:ext uri="{FF2B5EF4-FFF2-40B4-BE49-F238E27FC236}">
                    <a16:creationId xmlns:a16="http://schemas.microsoft.com/office/drawing/2014/main" id="{1478A7D1-4935-441A-B2DE-B5758604AF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2874" y="4014534"/>
                <a:ext cx="242905" cy="231801"/>
              </a:xfrm>
              <a:custGeom>
                <a:avLst/>
                <a:gdLst>
                  <a:gd name="T0" fmla="*/ 20637 w 296"/>
                  <a:gd name="T1" fmla="*/ 44779 h 270"/>
                  <a:gd name="T2" fmla="*/ 20637 w 296"/>
                  <a:gd name="T3" fmla="*/ 44779 h 270"/>
                  <a:gd name="T4" fmla="*/ 10319 w 296"/>
                  <a:gd name="T5" fmla="*/ 38382 h 270"/>
                  <a:gd name="T6" fmla="*/ 7144 w 296"/>
                  <a:gd name="T7" fmla="*/ 38382 h 270"/>
                  <a:gd name="T8" fmla="*/ 0 w 296"/>
                  <a:gd name="T9" fmla="*/ 28787 h 270"/>
                  <a:gd name="T10" fmla="*/ 0 w 296"/>
                  <a:gd name="T11" fmla="*/ 19191 h 270"/>
                  <a:gd name="T12" fmla="*/ 7144 w 296"/>
                  <a:gd name="T13" fmla="*/ 12794 h 270"/>
                  <a:gd name="T14" fmla="*/ 7144 w 296"/>
                  <a:gd name="T15" fmla="*/ 9596 h 270"/>
                  <a:gd name="T16" fmla="*/ 7144 w 296"/>
                  <a:gd name="T17" fmla="*/ 6397 h 270"/>
                  <a:gd name="T18" fmla="*/ 7144 w 296"/>
                  <a:gd name="T19" fmla="*/ 0 h 270"/>
                  <a:gd name="T20" fmla="*/ 14288 w 296"/>
                  <a:gd name="T21" fmla="*/ 0 h 270"/>
                  <a:gd name="T22" fmla="*/ 23812 w 296"/>
                  <a:gd name="T23" fmla="*/ 0 h 270"/>
                  <a:gd name="T24" fmla="*/ 27781 w 296"/>
                  <a:gd name="T25" fmla="*/ 0 h 270"/>
                  <a:gd name="T26" fmla="*/ 44450 w 296"/>
                  <a:gd name="T27" fmla="*/ 9596 h 270"/>
                  <a:gd name="T28" fmla="*/ 44450 w 296"/>
                  <a:gd name="T29" fmla="*/ 15993 h 270"/>
                  <a:gd name="T30" fmla="*/ 55563 w 296"/>
                  <a:gd name="T31" fmla="*/ 19191 h 270"/>
                  <a:gd name="T32" fmla="*/ 52388 w 296"/>
                  <a:gd name="T33" fmla="*/ 25588 h 270"/>
                  <a:gd name="T34" fmla="*/ 55563 w 296"/>
                  <a:gd name="T35" fmla="*/ 31985 h 270"/>
                  <a:gd name="T36" fmla="*/ 55563 w 296"/>
                  <a:gd name="T37" fmla="*/ 41581 h 270"/>
                  <a:gd name="T38" fmla="*/ 55563 w 296"/>
                  <a:gd name="T39" fmla="*/ 44779 h 270"/>
                  <a:gd name="T40" fmla="*/ 58738 w 296"/>
                  <a:gd name="T41" fmla="*/ 47978 h 270"/>
                  <a:gd name="T42" fmla="*/ 52388 w 296"/>
                  <a:gd name="T43" fmla="*/ 55174 h 270"/>
                  <a:gd name="T44" fmla="*/ 37306 w 296"/>
                  <a:gd name="T45" fmla="*/ 55174 h 270"/>
                  <a:gd name="T46" fmla="*/ 30956 w 296"/>
                  <a:gd name="T47" fmla="*/ 55174 h 270"/>
                  <a:gd name="T48" fmla="*/ 27781 w 296"/>
                  <a:gd name="T49" fmla="*/ 44779 h 270"/>
                  <a:gd name="T50" fmla="*/ 23812 w 296"/>
                  <a:gd name="T51" fmla="*/ 44779 h 270"/>
                  <a:gd name="T52" fmla="*/ 20637 w 296"/>
                  <a:gd name="T53" fmla="*/ 44779 h 270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296"/>
                  <a:gd name="T82" fmla="*/ 0 h 270"/>
                  <a:gd name="T83" fmla="*/ 296 w 296"/>
                  <a:gd name="T84" fmla="*/ 270 h 270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296" h="270">
                    <a:moveTo>
                      <a:pt x="104" y="222"/>
                    </a:moveTo>
                    <a:lnTo>
                      <a:pt x="104" y="222"/>
                    </a:lnTo>
                    <a:lnTo>
                      <a:pt x="52" y="191"/>
                    </a:lnTo>
                    <a:lnTo>
                      <a:pt x="35" y="191"/>
                    </a:lnTo>
                    <a:lnTo>
                      <a:pt x="0" y="143"/>
                    </a:lnTo>
                    <a:lnTo>
                      <a:pt x="0" y="95"/>
                    </a:lnTo>
                    <a:lnTo>
                      <a:pt x="35" y="63"/>
                    </a:lnTo>
                    <a:lnTo>
                      <a:pt x="35" y="47"/>
                    </a:lnTo>
                    <a:lnTo>
                      <a:pt x="35" y="30"/>
                    </a:lnTo>
                    <a:lnTo>
                      <a:pt x="35" y="0"/>
                    </a:lnTo>
                    <a:lnTo>
                      <a:pt x="69" y="0"/>
                    </a:lnTo>
                    <a:lnTo>
                      <a:pt x="121" y="0"/>
                    </a:lnTo>
                    <a:lnTo>
                      <a:pt x="139" y="0"/>
                    </a:lnTo>
                    <a:lnTo>
                      <a:pt x="225" y="47"/>
                    </a:lnTo>
                    <a:lnTo>
                      <a:pt x="225" y="78"/>
                    </a:lnTo>
                    <a:lnTo>
                      <a:pt x="279" y="95"/>
                    </a:lnTo>
                    <a:lnTo>
                      <a:pt x="261" y="126"/>
                    </a:lnTo>
                    <a:lnTo>
                      <a:pt x="279" y="159"/>
                    </a:lnTo>
                    <a:lnTo>
                      <a:pt x="279" y="207"/>
                    </a:lnTo>
                    <a:lnTo>
                      <a:pt x="279" y="222"/>
                    </a:lnTo>
                    <a:lnTo>
                      <a:pt x="296" y="239"/>
                    </a:lnTo>
                    <a:lnTo>
                      <a:pt x="261" y="270"/>
                    </a:lnTo>
                    <a:lnTo>
                      <a:pt x="190" y="270"/>
                    </a:lnTo>
                    <a:lnTo>
                      <a:pt x="156" y="270"/>
                    </a:lnTo>
                    <a:lnTo>
                      <a:pt x="139" y="222"/>
                    </a:lnTo>
                    <a:lnTo>
                      <a:pt x="121" y="222"/>
                    </a:lnTo>
                    <a:lnTo>
                      <a:pt x="104" y="22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8" name="Freeform 276">
                <a:extLst>
                  <a:ext uri="{FF2B5EF4-FFF2-40B4-BE49-F238E27FC236}">
                    <a16:creationId xmlns:a16="http://schemas.microsoft.com/office/drawing/2014/main" id="{1C841C2D-4A2F-4B90-BC46-F43FC95A29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1839" y="3946359"/>
                <a:ext cx="129659" cy="136353"/>
              </a:xfrm>
              <a:custGeom>
                <a:avLst/>
                <a:gdLst>
                  <a:gd name="T0" fmla="*/ 6271 w 160"/>
                  <a:gd name="T1" fmla="*/ 7189 h 159"/>
                  <a:gd name="T2" fmla="*/ 6271 w 160"/>
                  <a:gd name="T3" fmla="*/ 7189 h 159"/>
                  <a:gd name="T4" fmla="*/ 13325 w 160"/>
                  <a:gd name="T5" fmla="*/ 7189 h 159"/>
                  <a:gd name="T6" fmla="*/ 13325 w 160"/>
                  <a:gd name="T7" fmla="*/ 0 h 159"/>
                  <a:gd name="T8" fmla="*/ 23515 w 160"/>
                  <a:gd name="T9" fmla="*/ 0 h 159"/>
                  <a:gd name="T10" fmla="*/ 23515 w 160"/>
                  <a:gd name="T11" fmla="*/ 7189 h 159"/>
                  <a:gd name="T12" fmla="*/ 27434 w 160"/>
                  <a:gd name="T13" fmla="*/ 3195 h 159"/>
                  <a:gd name="T14" fmla="*/ 30569 w 160"/>
                  <a:gd name="T15" fmla="*/ 7189 h 159"/>
                  <a:gd name="T16" fmla="*/ 30569 w 160"/>
                  <a:gd name="T17" fmla="*/ 9585 h 159"/>
                  <a:gd name="T18" fmla="*/ 30569 w 160"/>
                  <a:gd name="T19" fmla="*/ 22365 h 159"/>
                  <a:gd name="T20" fmla="*/ 20380 w 160"/>
                  <a:gd name="T21" fmla="*/ 22365 h 159"/>
                  <a:gd name="T22" fmla="*/ 17244 w 160"/>
                  <a:gd name="T23" fmla="*/ 25560 h 159"/>
                  <a:gd name="T24" fmla="*/ 17244 w 160"/>
                  <a:gd name="T25" fmla="*/ 28755 h 159"/>
                  <a:gd name="T26" fmla="*/ 13325 w 160"/>
                  <a:gd name="T27" fmla="*/ 28755 h 159"/>
                  <a:gd name="T28" fmla="*/ 13325 w 160"/>
                  <a:gd name="T29" fmla="*/ 31950 h 159"/>
                  <a:gd name="T30" fmla="*/ 6271 w 160"/>
                  <a:gd name="T31" fmla="*/ 25560 h 159"/>
                  <a:gd name="T32" fmla="*/ 0 w 160"/>
                  <a:gd name="T33" fmla="*/ 16774 h 159"/>
                  <a:gd name="T34" fmla="*/ 3135 w 160"/>
                  <a:gd name="T35" fmla="*/ 12780 h 159"/>
                  <a:gd name="T36" fmla="*/ 3135 w 160"/>
                  <a:gd name="T37" fmla="*/ 9585 h 159"/>
                  <a:gd name="T38" fmla="*/ 6271 w 160"/>
                  <a:gd name="T39" fmla="*/ 7189 h 159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60"/>
                  <a:gd name="T61" fmla="*/ 0 h 159"/>
                  <a:gd name="T62" fmla="*/ 160 w 160"/>
                  <a:gd name="T63" fmla="*/ 159 h 159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60" h="159">
                    <a:moveTo>
                      <a:pt x="35" y="33"/>
                    </a:moveTo>
                    <a:lnTo>
                      <a:pt x="35" y="33"/>
                    </a:lnTo>
                    <a:lnTo>
                      <a:pt x="71" y="33"/>
                    </a:lnTo>
                    <a:lnTo>
                      <a:pt x="71" y="0"/>
                    </a:lnTo>
                    <a:lnTo>
                      <a:pt x="123" y="0"/>
                    </a:lnTo>
                    <a:lnTo>
                      <a:pt x="123" y="33"/>
                    </a:lnTo>
                    <a:lnTo>
                      <a:pt x="142" y="15"/>
                    </a:lnTo>
                    <a:lnTo>
                      <a:pt x="160" y="33"/>
                    </a:lnTo>
                    <a:lnTo>
                      <a:pt x="160" y="48"/>
                    </a:lnTo>
                    <a:lnTo>
                      <a:pt x="160" y="111"/>
                    </a:lnTo>
                    <a:lnTo>
                      <a:pt x="106" y="111"/>
                    </a:lnTo>
                    <a:lnTo>
                      <a:pt x="89" y="128"/>
                    </a:lnTo>
                    <a:lnTo>
                      <a:pt x="89" y="144"/>
                    </a:lnTo>
                    <a:lnTo>
                      <a:pt x="71" y="144"/>
                    </a:lnTo>
                    <a:lnTo>
                      <a:pt x="71" y="159"/>
                    </a:lnTo>
                    <a:lnTo>
                      <a:pt x="35" y="128"/>
                    </a:lnTo>
                    <a:lnTo>
                      <a:pt x="0" y="81"/>
                    </a:lnTo>
                    <a:lnTo>
                      <a:pt x="18" y="63"/>
                    </a:lnTo>
                    <a:lnTo>
                      <a:pt x="18" y="48"/>
                    </a:lnTo>
                    <a:lnTo>
                      <a:pt x="35" y="33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9" name="Freeform 277">
                <a:extLst>
                  <a:ext uri="{FF2B5EF4-FFF2-40B4-BE49-F238E27FC236}">
                    <a16:creationId xmlns:a16="http://schemas.microsoft.com/office/drawing/2014/main" id="{6F3670A2-09D3-4A48-8214-4DBD3D345F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9281" y="3919088"/>
                <a:ext cx="170689" cy="190895"/>
              </a:xfrm>
              <a:custGeom>
                <a:avLst/>
                <a:gdLst>
                  <a:gd name="T0" fmla="*/ 27781 w 208"/>
                  <a:gd name="T1" fmla="*/ 3161 h 225"/>
                  <a:gd name="T2" fmla="*/ 27781 w 208"/>
                  <a:gd name="T3" fmla="*/ 3161 h 225"/>
                  <a:gd name="T4" fmla="*/ 27781 w 208"/>
                  <a:gd name="T5" fmla="*/ 9483 h 225"/>
                  <a:gd name="T6" fmla="*/ 10319 w 208"/>
                  <a:gd name="T7" fmla="*/ 6322 h 225"/>
                  <a:gd name="T8" fmla="*/ 10319 w 208"/>
                  <a:gd name="T9" fmla="*/ 12644 h 225"/>
                  <a:gd name="T10" fmla="*/ 14288 w 208"/>
                  <a:gd name="T11" fmla="*/ 9483 h 225"/>
                  <a:gd name="T12" fmla="*/ 17463 w 208"/>
                  <a:gd name="T13" fmla="*/ 12644 h 225"/>
                  <a:gd name="T14" fmla="*/ 17463 w 208"/>
                  <a:gd name="T15" fmla="*/ 15804 h 225"/>
                  <a:gd name="T16" fmla="*/ 17463 w 208"/>
                  <a:gd name="T17" fmla="*/ 28448 h 225"/>
                  <a:gd name="T18" fmla="*/ 7144 w 208"/>
                  <a:gd name="T19" fmla="*/ 28448 h 225"/>
                  <a:gd name="T20" fmla="*/ 3969 w 208"/>
                  <a:gd name="T21" fmla="*/ 31609 h 225"/>
                  <a:gd name="T22" fmla="*/ 3969 w 208"/>
                  <a:gd name="T23" fmla="*/ 34770 h 225"/>
                  <a:gd name="T24" fmla="*/ 0 w 208"/>
                  <a:gd name="T25" fmla="*/ 34770 h 225"/>
                  <a:gd name="T26" fmla="*/ 0 w 208"/>
                  <a:gd name="T27" fmla="*/ 37931 h 225"/>
                  <a:gd name="T28" fmla="*/ 7144 w 208"/>
                  <a:gd name="T29" fmla="*/ 44252 h 225"/>
                  <a:gd name="T30" fmla="*/ 7144 w 208"/>
                  <a:gd name="T31" fmla="*/ 41092 h 225"/>
                  <a:gd name="T32" fmla="*/ 10319 w 208"/>
                  <a:gd name="T33" fmla="*/ 41092 h 225"/>
                  <a:gd name="T34" fmla="*/ 17463 w 208"/>
                  <a:gd name="T35" fmla="*/ 41092 h 225"/>
                  <a:gd name="T36" fmla="*/ 23812 w 208"/>
                  <a:gd name="T37" fmla="*/ 37931 h 225"/>
                  <a:gd name="T38" fmla="*/ 27781 w 208"/>
                  <a:gd name="T39" fmla="*/ 28448 h 225"/>
                  <a:gd name="T40" fmla="*/ 34925 w 208"/>
                  <a:gd name="T41" fmla="*/ 22126 h 225"/>
                  <a:gd name="T42" fmla="*/ 41275 w 208"/>
                  <a:gd name="T43" fmla="*/ 0 h 225"/>
                  <a:gd name="T44" fmla="*/ 30956 w 208"/>
                  <a:gd name="T45" fmla="*/ 3161 h 225"/>
                  <a:gd name="T46" fmla="*/ 27781 w 208"/>
                  <a:gd name="T47" fmla="*/ 3161 h 22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208"/>
                  <a:gd name="T73" fmla="*/ 0 h 225"/>
                  <a:gd name="T74" fmla="*/ 208 w 208"/>
                  <a:gd name="T75" fmla="*/ 225 h 225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208" h="225">
                    <a:moveTo>
                      <a:pt x="139" y="18"/>
                    </a:moveTo>
                    <a:lnTo>
                      <a:pt x="139" y="18"/>
                    </a:lnTo>
                    <a:lnTo>
                      <a:pt x="139" y="48"/>
                    </a:lnTo>
                    <a:lnTo>
                      <a:pt x="52" y="33"/>
                    </a:lnTo>
                    <a:lnTo>
                      <a:pt x="52" y="66"/>
                    </a:lnTo>
                    <a:lnTo>
                      <a:pt x="70" y="48"/>
                    </a:lnTo>
                    <a:lnTo>
                      <a:pt x="87" y="66"/>
                    </a:lnTo>
                    <a:lnTo>
                      <a:pt x="87" y="81"/>
                    </a:lnTo>
                    <a:lnTo>
                      <a:pt x="87" y="144"/>
                    </a:lnTo>
                    <a:lnTo>
                      <a:pt x="35" y="144"/>
                    </a:lnTo>
                    <a:lnTo>
                      <a:pt x="18" y="161"/>
                    </a:lnTo>
                    <a:lnTo>
                      <a:pt x="18" y="177"/>
                    </a:lnTo>
                    <a:lnTo>
                      <a:pt x="0" y="177"/>
                    </a:lnTo>
                    <a:lnTo>
                      <a:pt x="0" y="192"/>
                    </a:lnTo>
                    <a:lnTo>
                      <a:pt x="35" y="225"/>
                    </a:lnTo>
                    <a:lnTo>
                      <a:pt x="35" y="209"/>
                    </a:lnTo>
                    <a:lnTo>
                      <a:pt x="52" y="209"/>
                    </a:lnTo>
                    <a:lnTo>
                      <a:pt x="87" y="209"/>
                    </a:lnTo>
                    <a:lnTo>
                      <a:pt x="121" y="192"/>
                    </a:lnTo>
                    <a:lnTo>
                      <a:pt x="139" y="144"/>
                    </a:lnTo>
                    <a:lnTo>
                      <a:pt x="173" y="114"/>
                    </a:lnTo>
                    <a:lnTo>
                      <a:pt x="208" y="0"/>
                    </a:lnTo>
                    <a:lnTo>
                      <a:pt x="156" y="18"/>
                    </a:lnTo>
                    <a:lnTo>
                      <a:pt x="139" y="1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0" name="Freeform 278">
                <a:extLst>
                  <a:ext uri="{FF2B5EF4-FFF2-40B4-BE49-F238E27FC236}">
                    <a16:creationId xmlns:a16="http://schemas.microsoft.com/office/drawing/2014/main" id="{1AB7C7C4-CDA3-4BBD-A884-5B5ADFB398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7183" y="3891817"/>
                <a:ext cx="428365" cy="395426"/>
              </a:xfrm>
              <a:custGeom>
                <a:avLst/>
                <a:gdLst>
                  <a:gd name="T0" fmla="*/ 83664 w 520"/>
                  <a:gd name="T1" fmla="*/ 0 h 462"/>
                  <a:gd name="T2" fmla="*/ 83664 w 520"/>
                  <a:gd name="T3" fmla="*/ 0 h 462"/>
                  <a:gd name="T4" fmla="*/ 58963 w 520"/>
                  <a:gd name="T5" fmla="*/ 0 h 462"/>
                  <a:gd name="T6" fmla="*/ 55776 w 520"/>
                  <a:gd name="T7" fmla="*/ 3189 h 462"/>
                  <a:gd name="T8" fmla="*/ 45418 w 520"/>
                  <a:gd name="T9" fmla="*/ 3189 h 462"/>
                  <a:gd name="T10" fmla="*/ 41434 w 520"/>
                  <a:gd name="T11" fmla="*/ 0 h 462"/>
                  <a:gd name="T12" fmla="*/ 38247 w 520"/>
                  <a:gd name="T13" fmla="*/ 0 h 462"/>
                  <a:gd name="T14" fmla="*/ 35059 w 520"/>
                  <a:gd name="T15" fmla="*/ 6377 h 462"/>
                  <a:gd name="T16" fmla="*/ 27888 w 520"/>
                  <a:gd name="T17" fmla="*/ 28699 h 462"/>
                  <a:gd name="T18" fmla="*/ 20717 w 520"/>
                  <a:gd name="T19" fmla="*/ 35076 h 462"/>
                  <a:gd name="T20" fmla="*/ 17530 w 520"/>
                  <a:gd name="T21" fmla="*/ 44642 h 462"/>
                  <a:gd name="T22" fmla="*/ 10358 w 520"/>
                  <a:gd name="T23" fmla="*/ 47831 h 462"/>
                  <a:gd name="T24" fmla="*/ 3984 w 520"/>
                  <a:gd name="T25" fmla="*/ 47831 h 462"/>
                  <a:gd name="T26" fmla="*/ 0 w 520"/>
                  <a:gd name="T27" fmla="*/ 54209 h 462"/>
                  <a:gd name="T28" fmla="*/ 0 w 520"/>
                  <a:gd name="T29" fmla="*/ 57397 h 462"/>
                  <a:gd name="T30" fmla="*/ 7171 w 520"/>
                  <a:gd name="T31" fmla="*/ 54209 h 462"/>
                  <a:gd name="T32" fmla="*/ 20717 w 520"/>
                  <a:gd name="T33" fmla="*/ 54209 h 462"/>
                  <a:gd name="T34" fmla="*/ 24701 w 520"/>
                  <a:gd name="T35" fmla="*/ 54209 h 462"/>
                  <a:gd name="T36" fmla="*/ 24701 w 520"/>
                  <a:gd name="T37" fmla="*/ 60586 h 462"/>
                  <a:gd name="T38" fmla="*/ 31075 w 520"/>
                  <a:gd name="T39" fmla="*/ 66964 h 462"/>
                  <a:gd name="T40" fmla="*/ 38247 w 520"/>
                  <a:gd name="T41" fmla="*/ 63775 h 462"/>
                  <a:gd name="T42" fmla="*/ 38247 w 520"/>
                  <a:gd name="T43" fmla="*/ 60586 h 462"/>
                  <a:gd name="T44" fmla="*/ 45418 w 520"/>
                  <a:gd name="T45" fmla="*/ 60586 h 462"/>
                  <a:gd name="T46" fmla="*/ 51792 w 520"/>
                  <a:gd name="T47" fmla="*/ 63775 h 462"/>
                  <a:gd name="T48" fmla="*/ 51792 w 520"/>
                  <a:gd name="T49" fmla="*/ 73341 h 462"/>
                  <a:gd name="T50" fmla="*/ 55776 w 520"/>
                  <a:gd name="T51" fmla="*/ 76530 h 462"/>
                  <a:gd name="T52" fmla="*/ 51792 w 520"/>
                  <a:gd name="T53" fmla="*/ 79719 h 462"/>
                  <a:gd name="T54" fmla="*/ 51792 w 520"/>
                  <a:gd name="T55" fmla="*/ 82907 h 462"/>
                  <a:gd name="T56" fmla="*/ 62151 w 520"/>
                  <a:gd name="T57" fmla="*/ 79719 h 462"/>
                  <a:gd name="T58" fmla="*/ 76493 w 520"/>
                  <a:gd name="T59" fmla="*/ 86096 h 462"/>
                  <a:gd name="T60" fmla="*/ 79680 w 520"/>
                  <a:gd name="T61" fmla="*/ 82907 h 462"/>
                  <a:gd name="T62" fmla="*/ 90039 w 520"/>
                  <a:gd name="T63" fmla="*/ 89285 h 462"/>
                  <a:gd name="T64" fmla="*/ 94023 w 520"/>
                  <a:gd name="T65" fmla="*/ 93271 h 462"/>
                  <a:gd name="T66" fmla="*/ 94023 w 520"/>
                  <a:gd name="T67" fmla="*/ 86096 h 462"/>
                  <a:gd name="T68" fmla="*/ 90039 w 520"/>
                  <a:gd name="T69" fmla="*/ 86096 h 462"/>
                  <a:gd name="T70" fmla="*/ 90039 w 520"/>
                  <a:gd name="T71" fmla="*/ 82907 h 462"/>
                  <a:gd name="T72" fmla="*/ 90039 w 520"/>
                  <a:gd name="T73" fmla="*/ 70152 h 462"/>
                  <a:gd name="T74" fmla="*/ 90039 w 520"/>
                  <a:gd name="T75" fmla="*/ 66964 h 462"/>
                  <a:gd name="T76" fmla="*/ 100397 w 520"/>
                  <a:gd name="T77" fmla="*/ 66964 h 462"/>
                  <a:gd name="T78" fmla="*/ 94023 w 520"/>
                  <a:gd name="T79" fmla="*/ 57397 h 462"/>
                  <a:gd name="T80" fmla="*/ 94023 w 520"/>
                  <a:gd name="T81" fmla="*/ 47831 h 462"/>
                  <a:gd name="T82" fmla="*/ 94023 w 520"/>
                  <a:gd name="T83" fmla="*/ 41454 h 462"/>
                  <a:gd name="T84" fmla="*/ 94023 w 520"/>
                  <a:gd name="T85" fmla="*/ 38265 h 462"/>
                  <a:gd name="T86" fmla="*/ 90039 w 520"/>
                  <a:gd name="T87" fmla="*/ 38265 h 462"/>
                  <a:gd name="T88" fmla="*/ 94023 w 520"/>
                  <a:gd name="T89" fmla="*/ 31887 h 462"/>
                  <a:gd name="T90" fmla="*/ 97210 w 520"/>
                  <a:gd name="T91" fmla="*/ 22321 h 462"/>
                  <a:gd name="T92" fmla="*/ 100397 w 520"/>
                  <a:gd name="T93" fmla="*/ 19132 h 462"/>
                  <a:gd name="T94" fmla="*/ 104381 w 520"/>
                  <a:gd name="T95" fmla="*/ 12755 h 462"/>
                  <a:gd name="T96" fmla="*/ 100397 w 520"/>
                  <a:gd name="T97" fmla="*/ 12755 h 462"/>
                  <a:gd name="T98" fmla="*/ 100397 w 520"/>
                  <a:gd name="T99" fmla="*/ 6377 h 462"/>
                  <a:gd name="T100" fmla="*/ 97210 w 520"/>
                  <a:gd name="T101" fmla="*/ 3189 h 462"/>
                  <a:gd name="T102" fmla="*/ 86852 w 520"/>
                  <a:gd name="T103" fmla="*/ 3189 h 462"/>
                  <a:gd name="T104" fmla="*/ 83664 w 520"/>
                  <a:gd name="T105" fmla="*/ 0 h 46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520"/>
                  <a:gd name="T160" fmla="*/ 0 h 462"/>
                  <a:gd name="T161" fmla="*/ 520 w 520"/>
                  <a:gd name="T162" fmla="*/ 462 h 462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520" h="462">
                    <a:moveTo>
                      <a:pt x="417" y="0"/>
                    </a:moveTo>
                    <a:lnTo>
                      <a:pt x="417" y="0"/>
                    </a:lnTo>
                    <a:lnTo>
                      <a:pt x="294" y="0"/>
                    </a:lnTo>
                    <a:lnTo>
                      <a:pt x="276" y="15"/>
                    </a:lnTo>
                    <a:lnTo>
                      <a:pt x="225" y="15"/>
                    </a:lnTo>
                    <a:lnTo>
                      <a:pt x="207" y="0"/>
                    </a:lnTo>
                    <a:lnTo>
                      <a:pt x="190" y="0"/>
                    </a:lnTo>
                    <a:lnTo>
                      <a:pt x="173" y="30"/>
                    </a:lnTo>
                    <a:lnTo>
                      <a:pt x="138" y="144"/>
                    </a:lnTo>
                    <a:lnTo>
                      <a:pt x="104" y="174"/>
                    </a:lnTo>
                    <a:lnTo>
                      <a:pt x="86" y="222"/>
                    </a:lnTo>
                    <a:lnTo>
                      <a:pt x="52" y="239"/>
                    </a:lnTo>
                    <a:lnTo>
                      <a:pt x="17" y="239"/>
                    </a:lnTo>
                    <a:lnTo>
                      <a:pt x="0" y="270"/>
                    </a:lnTo>
                    <a:lnTo>
                      <a:pt x="0" y="287"/>
                    </a:lnTo>
                    <a:lnTo>
                      <a:pt x="35" y="270"/>
                    </a:lnTo>
                    <a:lnTo>
                      <a:pt x="104" y="270"/>
                    </a:lnTo>
                    <a:lnTo>
                      <a:pt x="121" y="270"/>
                    </a:lnTo>
                    <a:lnTo>
                      <a:pt x="121" y="303"/>
                    </a:lnTo>
                    <a:lnTo>
                      <a:pt x="155" y="335"/>
                    </a:lnTo>
                    <a:lnTo>
                      <a:pt x="190" y="318"/>
                    </a:lnTo>
                    <a:lnTo>
                      <a:pt x="190" y="303"/>
                    </a:lnTo>
                    <a:lnTo>
                      <a:pt x="225" y="303"/>
                    </a:lnTo>
                    <a:lnTo>
                      <a:pt x="259" y="318"/>
                    </a:lnTo>
                    <a:lnTo>
                      <a:pt x="259" y="366"/>
                    </a:lnTo>
                    <a:lnTo>
                      <a:pt x="276" y="383"/>
                    </a:lnTo>
                    <a:lnTo>
                      <a:pt x="259" y="399"/>
                    </a:lnTo>
                    <a:lnTo>
                      <a:pt x="259" y="414"/>
                    </a:lnTo>
                    <a:lnTo>
                      <a:pt x="311" y="399"/>
                    </a:lnTo>
                    <a:lnTo>
                      <a:pt x="380" y="431"/>
                    </a:lnTo>
                    <a:lnTo>
                      <a:pt x="397" y="414"/>
                    </a:lnTo>
                    <a:lnTo>
                      <a:pt x="451" y="447"/>
                    </a:lnTo>
                    <a:lnTo>
                      <a:pt x="468" y="462"/>
                    </a:lnTo>
                    <a:lnTo>
                      <a:pt x="468" y="431"/>
                    </a:lnTo>
                    <a:lnTo>
                      <a:pt x="451" y="431"/>
                    </a:lnTo>
                    <a:lnTo>
                      <a:pt x="451" y="414"/>
                    </a:lnTo>
                    <a:lnTo>
                      <a:pt x="451" y="351"/>
                    </a:lnTo>
                    <a:lnTo>
                      <a:pt x="451" y="335"/>
                    </a:lnTo>
                    <a:lnTo>
                      <a:pt x="503" y="335"/>
                    </a:lnTo>
                    <a:lnTo>
                      <a:pt x="468" y="287"/>
                    </a:lnTo>
                    <a:lnTo>
                      <a:pt x="468" y="239"/>
                    </a:lnTo>
                    <a:lnTo>
                      <a:pt x="468" y="207"/>
                    </a:lnTo>
                    <a:lnTo>
                      <a:pt x="468" y="191"/>
                    </a:lnTo>
                    <a:lnTo>
                      <a:pt x="451" y="191"/>
                    </a:lnTo>
                    <a:lnTo>
                      <a:pt x="468" y="159"/>
                    </a:lnTo>
                    <a:lnTo>
                      <a:pt x="486" y="111"/>
                    </a:lnTo>
                    <a:lnTo>
                      <a:pt x="503" y="96"/>
                    </a:lnTo>
                    <a:lnTo>
                      <a:pt x="520" y="63"/>
                    </a:lnTo>
                    <a:lnTo>
                      <a:pt x="503" y="63"/>
                    </a:lnTo>
                    <a:lnTo>
                      <a:pt x="503" y="30"/>
                    </a:lnTo>
                    <a:lnTo>
                      <a:pt x="486" y="15"/>
                    </a:lnTo>
                    <a:lnTo>
                      <a:pt x="434" y="15"/>
                    </a:lnTo>
                    <a:lnTo>
                      <a:pt x="417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1" name="Freeform 279">
                <a:extLst>
                  <a:ext uri="{FF2B5EF4-FFF2-40B4-BE49-F238E27FC236}">
                    <a16:creationId xmlns:a16="http://schemas.microsoft.com/office/drawing/2014/main" id="{D68E864E-5BF7-4D2F-B476-8278A3080D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0545" y="4178160"/>
                <a:ext cx="270806" cy="204530"/>
              </a:xfrm>
              <a:custGeom>
                <a:avLst/>
                <a:gdLst>
                  <a:gd name="T0" fmla="*/ 10319 w 330"/>
                  <a:gd name="T1" fmla="*/ 12700 h 240"/>
                  <a:gd name="T2" fmla="*/ 10319 w 330"/>
                  <a:gd name="T3" fmla="*/ 12700 h 240"/>
                  <a:gd name="T4" fmla="*/ 23813 w 330"/>
                  <a:gd name="T5" fmla="*/ 19050 h 240"/>
                  <a:gd name="T6" fmla="*/ 27781 w 330"/>
                  <a:gd name="T7" fmla="*/ 15875 h 240"/>
                  <a:gd name="T8" fmla="*/ 38100 w 330"/>
                  <a:gd name="T9" fmla="*/ 22225 h 240"/>
                  <a:gd name="T10" fmla="*/ 41275 w 330"/>
                  <a:gd name="T11" fmla="*/ 24606 h 240"/>
                  <a:gd name="T12" fmla="*/ 41275 w 330"/>
                  <a:gd name="T13" fmla="*/ 19050 h 240"/>
                  <a:gd name="T14" fmla="*/ 38100 w 330"/>
                  <a:gd name="T15" fmla="*/ 19050 h 240"/>
                  <a:gd name="T16" fmla="*/ 38100 w 330"/>
                  <a:gd name="T17" fmla="*/ 15875 h 240"/>
                  <a:gd name="T18" fmla="*/ 38100 w 330"/>
                  <a:gd name="T19" fmla="*/ 3175 h 240"/>
                  <a:gd name="T20" fmla="*/ 38100 w 330"/>
                  <a:gd name="T21" fmla="*/ 0 h 240"/>
                  <a:gd name="T22" fmla="*/ 48419 w 330"/>
                  <a:gd name="T23" fmla="*/ 0 h 240"/>
                  <a:gd name="T24" fmla="*/ 52388 w 330"/>
                  <a:gd name="T25" fmla="*/ 0 h 240"/>
                  <a:gd name="T26" fmla="*/ 62706 w 330"/>
                  <a:gd name="T27" fmla="*/ 6350 h 240"/>
                  <a:gd name="T28" fmla="*/ 65881 w 330"/>
                  <a:gd name="T29" fmla="*/ 12700 h 240"/>
                  <a:gd name="T30" fmla="*/ 62706 w 330"/>
                  <a:gd name="T31" fmla="*/ 15875 h 240"/>
                  <a:gd name="T32" fmla="*/ 62706 w 330"/>
                  <a:gd name="T33" fmla="*/ 19050 h 240"/>
                  <a:gd name="T34" fmla="*/ 58738 w 330"/>
                  <a:gd name="T35" fmla="*/ 24606 h 240"/>
                  <a:gd name="T36" fmla="*/ 62706 w 330"/>
                  <a:gd name="T37" fmla="*/ 28575 h 240"/>
                  <a:gd name="T38" fmla="*/ 44450 w 330"/>
                  <a:gd name="T39" fmla="*/ 34925 h 240"/>
                  <a:gd name="T40" fmla="*/ 44450 w 330"/>
                  <a:gd name="T41" fmla="*/ 38100 h 240"/>
                  <a:gd name="T42" fmla="*/ 38100 w 330"/>
                  <a:gd name="T43" fmla="*/ 38100 h 240"/>
                  <a:gd name="T44" fmla="*/ 38100 w 330"/>
                  <a:gd name="T45" fmla="*/ 41275 h 240"/>
                  <a:gd name="T46" fmla="*/ 27781 w 330"/>
                  <a:gd name="T47" fmla="*/ 47625 h 240"/>
                  <a:gd name="T48" fmla="*/ 17463 w 330"/>
                  <a:gd name="T49" fmla="*/ 47625 h 240"/>
                  <a:gd name="T50" fmla="*/ 10319 w 330"/>
                  <a:gd name="T51" fmla="*/ 44450 h 240"/>
                  <a:gd name="T52" fmla="*/ 7144 w 330"/>
                  <a:gd name="T53" fmla="*/ 47625 h 240"/>
                  <a:gd name="T54" fmla="*/ 0 w 330"/>
                  <a:gd name="T55" fmla="*/ 41275 h 240"/>
                  <a:gd name="T56" fmla="*/ 0 w 330"/>
                  <a:gd name="T57" fmla="*/ 24606 h 240"/>
                  <a:gd name="T58" fmla="*/ 14288 w 330"/>
                  <a:gd name="T59" fmla="*/ 22225 h 240"/>
                  <a:gd name="T60" fmla="*/ 10319 w 330"/>
                  <a:gd name="T61" fmla="*/ 12700 h 24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330"/>
                  <a:gd name="T94" fmla="*/ 0 h 240"/>
                  <a:gd name="T95" fmla="*/ 330 w 330"/>
                  <a:gd name="T96" fmla="*/ 240 h 240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330" h="240">
                    <a:moveTo>
                      <a:pt x="52" y="64"/>
                    </a:moveTo>
                    <a:lnTo>
                      <a:pt x="52" y="64"/>
                    </a:lnTo>
                    <a:lnTo>
                      <a:pt x="123" y="96"/>
                    </a:lnTo>
                    <a:lnTo>
                      <a:pt x="140" y="79"/>
                    </a:lnTo>
                    <a:lnTo>
                      <a:pt x="192" y="112"/>
                    </a:lnTo>
                    <a:lnTo>
                      <a:pt x="209" y="127"/>
                    </a:lnTo>
                    <a:lnTo>
                      <a:pt x="209" y="96"/>
                    </a:lnTo>
                    <a:lnTo>
                      <a:pt x="192" y="96"/>
                    </a:lnTo>
                    <a:lnTo>
                      <a:pt x="192" y="79"/>
                    </a:lnTo>
                    <a:lnTo>
                      <a:pt x="192" y="16"/>
                    </a:lnTo>
                    <a:lnTo>
                      <a:pt x="192" y="0"/>
                    </a:lnTo>
                    <a:lnTo>
                      <a:pt x="244" y="0"/>
                    </a:lnTo>
                    <a:lnTo>
                      <a:pt x="261" y="0"/>
                    </a:lnTo>
                    <a:lnTo>
                      <a:pt x="313" y="31"/>
                    </a:lnTo>
                    <a:lnTo>
                      <a:pt x="330" y="64"/>
                    </a:lnTo>
                    <a:lnTo>
                      <a:pt x="313" y="79"/>
                    </a:lnTo>
                    <a:lnTo>
                      <a:pt x="313" y="96"/>
                    </a:lnTo>
                    <a:lnTo>
                      <a:pt x="296" y="127"/>
                    </a:lnTo>
                    <a:lnTo>
                      <a:pt x="313" y="144"/>
                    </a:lnTo>
                    <a:lnTo>
                      <a:pt x="227" y="175"/>
                    </a:lnTo>
                    <a:lnTo>
                      <a:pt x="227" y="192"/>
                    </a:lnTo>
                    <a:lnTo>
                      <a:pt x="192" y="192"/>
                    </a:lnTo>
                    <a:lnTo>
                      <a:pt x="192" y="208"/>
                    </a:lnTo>
                    <a:lnTo>
                      <a:pt x="140" y="240"/>
                    </a:lnTo>
                    <a:lnTo>
                      <a:pt x="88" y="240"/>
                    </a:lnTo>
                    <a:lnTo>
                      <a:pt x="52" y="223"/>
                    </a:lnTo>
                    <a:lnTo>
                      <a:pt x="35" y="240"/>
                    </a:lnTo>
                    <a:lnTo>
                      <a:pt x="0" y="208"/>
                    </a:lnTo>
                    <a:lnTo>
                      <a:pt x="0" y="127"/>
                    </a:lnTo>
                    <a:lnTo>
                      <a:pt x="69" y="112"/>
                    </a:lnTo>
                    <a:lnTo>
                      <a:pt x="52" y="6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2" name="Freeform 280">
                <a:extLst>
                  <a:ext uri="{FF2B5EF4-FFF2-40B4-BE49-F238E27FC236}">
                    <a16:creationId xmlns:a16="http://schemas.microsoft.com/office/drawing/2014/main" id="{D871E5E3-D0C0-487E-8346-E34E5FFCE2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5693" y="4123619"/>
                <a:ext cx="283936" cy="272708"/>
              </a:xfrm>
              <a:custGeom>
                <a:avLst/>
                <a:gdLst>
                  <a:gd name="T0" fmla="*/ 0 w 345"/>
                  <a:gd name="T1" fmla="*/ 56972 h 321"/>
                  <a:gd name="T2" fmla="*/ 0 w 345"/>
                  <a:gd name="T3" fmla="*/ 56972 h 321"/>
                  <a:gd name="T4" fmla="*/ 7164 w 345"/>
                  <a:gd name="T5" fmla="*/ 56972 h 321"/>
                  <a:gd name="T6" fmla="*/ 14329 w 345"/>
                  <a:gd name="T7" fmla="*/ 56972 h 321"/>
                  <a:gd name="T8" fmla="*/ 34230 w 345"/>
                  <a:gd name="T9" fmla="*/ 60137 h 321"/>
                  <a:gd name="T10" fmla="*/ 41395 w 345"/>
                  <a:gd name="T11" fmla="*/ 60137 h 321"/>
                  <a:gd name="T12" fmla="*/ 54928 w 345"/>
                  <a:gd name="T13" fmla="*/ 63302 h 321"/>
                  <a:gd name="T14" fmla="*/ 62092 w 345"/>
                  <a:gd name="T15" fmla="*/ 60137 h 321"/>
                  <a:gd name="T16" fmla="*/ 54928 w 345"/>
                  <a:gd name="T17" fmla="*/ 53807 h 321"/>
                  <a:gd name="T18" fmla="*/ 54928 w 345"/>
                  <a:gd name="T19" fmla="*/ 37981 h 321"/>
                  <a:gd name="T20" fmla="*/ 69257 w 345"/>
                  <a:gd name="T21" fmla="*/ 34816 h 321"/>
                  <a:gd name="T22" fmla="*/ 65276 w 345"/>
                  <a:gd name="T23" fmla="*/ 25321 h 321"/>
                  <a:gd name="T24" fmla="*/ 54928 w 345"/>
                  <a:gd name="T25" fmla="*/ 28486 h 321"/>
                  <a:gd name="T26" fmla="*/ 54928 w 345"/>
                  <a:gd name="T27" fmla="*/ 25321 h 321"/>
                  <a:gd name="T28" fmla="*/ 58908 w 345"/>
                  <a:gd name="T29" fmla="*/ 22156 h 321"/>
                  <a:gd name="T30" fmla="*/ 54928 w 345"/>
                  <a:gd name="T31" fmla="*/ 18991 h 321"/>
                  <a:gd name="T32" fmla="*/ 54928 w 345"/>
                  <a:gd name="T33" fmla="*/ 9495 h 321"/>
                  <a:gd name="T34" fmla="*/ 48559 w 345"/>
                  <a:gd name="T35" fmla="*/ 6330 h 321"/>
                  <a:gd name="T36" fmla="*/ 41395 w 345"/>
                  <a:gd name="T37" fmla="*/ 6330 h 321"/>
                  <a:gd name="T38" fmla="*/ 41395 w 345"/>
                  <a:gd name="T39" fmla="*/ 9495 h 321"/>
                  <a:gd name="T40" fmla="*/ 34230 w 345"/>
                  <a:gd name="T41" fmla="*/ 12660 h 321"/>
                  <a:gd name="T42" fmla="*/ 27862 w 345"/>
                  <a:gd name="T43" fmla="*/ 6330 h 321"/>
                  <a:gd name="T44" fmla="*/ 27862 w 345"/>
                  <a:gd name="T45" fmla="*/ 0 h 321"/>
                  <a:gd name="T46" fmla="*/ 24678 w 345"/>
                  <a:gd name="T47" fmla="*/ 0 h 321"/>
                  <a:gd name="T48" fmla="*/ 10349 w 345"/>
                  <a:gd name="T49" fmla="*/ 0 h 321"/>
                  <a:gd name="T50" fmla="*/ 3980 w 345"/>
                  <a:gd name="T51" fmla="*/ 3165 h 321"/>
                  <a:gd name="T52" fmla="*/ 7164 w 345"/>
                  <a:gd name="T53" fmla="*/ 12660 h 321"/>
                  <a:gd name="T54" fmla="*/ 7164 w 345"/>
                  <a:gd name="T55" fmla="*/ 15826 h 321"/>
                  <a:gd name="T56" fmla="*/ 10349 w 345"/>
                  <a:gd name="T57" fmla="*/ 28486 h 321"/>
                  <a:gd name="T58" fmla="*/ 10349 w 345"/>
                  <a:gd name="T59" fmla="*/ 34816 h 321"/>
                  <a:gd name="T60" fmla="*/ 3980 w 345"/>
                  <a:gd name="T61" fmla="*/ 37981 h 321"/>
                  <a:gd name="T62" fmla="*/ 0 w 345"/>
                  <a:gd name="T63" fmla="*/ 50642 h 321"/>
                  <a:gd name="T64" fmla="*/ 0 w 345"/>
                  <a:gd name="T65" fmla="*/ 56972 h 32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45"/>
                  <a:gd name="T100" fmla="*/ 0 h 321"/>
                  <a:gd name="T101" fmla="*/ 345 w 345"/>
                  <a:gd name="T102" fmla="*/ 321 h 321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45" h="321">
                    <a:moveTo>
                      <a:pt x="0" y="288"/>
                    </a:moveTo>
                    <a:lnTo>
                      <a:pt x="0" y="288"/>
                    </a:lnTo>
                    <a:lnTo>
                      <a:pt x="34" y="288"/>
                    </a:lnTo>
                    <a:lnTo>
                      <a:pt x="69" y="288"/>
                    </a:lnTo>
                    <a:lnTo>
                      <a:pt x="172" y="305"/>
                    </a:lnTo>
                    <a:lnTo>
                      <a:pt x="207" y="305"/>
                    </a:lnTo>
                    <a:lnTo>
                      <a:pt x="276" y="321"/>
                    </a:lnTo>
                    <a:lnTo>
                      <a:pt x="311" y="305"/>
                    </a:lnTo>
                    <a:lnTo>
                      <a:pt x="276" y="273"/>
                    </a:lnTo>
                    <a:lnTo>
                      <a:pt x="276" y="192"/>
                    </a:lnTo>
                    <a:lnTo>
                      <a:pt x="345" y="177"/>
                    </a:lnTo>
                    <a:lnTo>
                      <a:pt x="328" y="129"/>
                    </a:lnTo>
                    <a:lnTo>
                      <a:pt x="276" y="144"/>
                    </a:lnTo>
                    <a:lnTo>
                      <a:pt x="276" y="129"/>
                    </a:lnTo>
                    <a:lnTo>
                      <a:pt x="293" y="113"/>
                    </a:lnTo>
                    <a:lnTo>
                      <a:pt x="276" y="96"/>
                    </a:lnTo>
                    <a:lnTo>
                      <a:pt x="276" y="48"/>
                    </a:lnTo>
                    <a:lnTo>
                      <a:pt x="241" y="33"/>
                    </a:lnTo>
                    <a:lnTo>
                      <a:pt x="207" y="33"/>
                    </a:lnTo>
                    <a:lnTo>
                      <a:pt x="207" y="48"/>
                    </a:lnTo>
                    <a:lnTo>
                      <a:pt x="172" y="65"/>
                    </a:lnTo>
                    <a:lnTo>
                      <a:pt x="138" y="33"/>
                    </a:lnTo>
                    <a:lnTo>
                      <a:pt x="138" y="0"/>
                    </a:lnTo>
                    <a:lnTo>
                      <a:pt x="121" y="0"/>
                    </a:lnTo>
                    <a:lnTo>
                      <a:pt x="51" y="0"/>
                    </a:lnTo>
                    <a:lnTo>
                      <a:pt x="17" y="17"/>
                    </a:lnTo>
                    <a:lnTo>
                      <a:pt x="34" y="65"/>
                    </a:lnTo>
                    <a:lnTo>
                      <a:pt x="34" y="81"/>
                    </a:lnTo>
                    <a:lnTo>
                      <a:pt x="51" y="144"/>
                    </a:lnTo>
                    <a:lnTo>
                      <a:pt x="51" y="177"/>
                    </a:lnTo>
                    <a:lnTo>
                      <a:pt x="17" y="192"/>
                    </a:lnTo>
                    <a:lnTo>
                      <a:pt x="0" y="257"/>
                    </a:lnTo>
                    <a:lnTo>
                      <a:pt x="0" y="28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3" name="Freeform 283">
                <a:extLst>
                  <a:ext uri="{FF2B5EF4-FFF2-40B4-BE49-F238E27FC236}">
                    <a16:creationId xmlns:a16="http://schemas.microsoft.com/office/drawing/2014/main" id="{71CE3F7E-D8B9-40E3-B5D9-15EC665587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67268" y="3741827"/>
                <a:ext cx="228133" cy="286344"/>
              </a:xfrm>
              <a:custGeom>
                <a:avLst/>
                <a:gdLst>
                  <a:gd name="T0" fmla="*/ 6327 w 279"/>
                  <a:gd name="T1" fmla="*/ 40481 h 336"/>
                  <a:gd name="T2" fmla="*/ 6327 w 279"/>
                  <a:gd name="T3" fmla="*/ 40481 h 336"/>
                  <a:gd name="T4" fmla="*/ 0 w 279"/>
                  <a:gd name="T5" fmla="*/ 47625 h 336"/>
                  <a:gd name="T6" fmla="*/ 0 w 279"/>
                  <a:gd name="T7" fmla="*/ 64294 h 336"/>
                  <a:gd name="T8" fmla="*/ 3164 w 279"/>
                  <a:gd name="T9" fmla="*/ 66675 h 336"/>
                  <a:gd name="T10" fmla="*/ 13445 w 279"/>
                  <a:gd name="T11" fmla="*/ 57150 h 336"/>
                  <a:gd name="T12" fmla="*/ 27682 w 279"/>
                  <a:gd name="T13" fmla="*/ 47625 h 336"/>
                  <a:gd name="T14" fmla="*/ 37964 w 279"/>
                  <a:gd name="T15" fmla="*/ 38100 h 336"/>
                  <a:gd name="T16" fmla="*/ 44291 w 279"/>
                  <a:gd name="T17" fmla="*/ 31750 h 336"/>
                  <a:gd name="T18" fmla="*/ 54573 w 279"/>
                  <a:gd name="T19" fmla="*/ 7144 h 336"/>
                  <a:gd name="T20" fmla="*/ 54573 w 279"/>
                  <a:gd name="T21" fmla="*/ 0 h 336"/>
                  <a:gd name="T22" fmla="*/ 51409 w 279"/>
                  <a:gd name="T23" fmla="*/ 0 h 336"/>
                  <a:gd name="T24" fmla="*/ 44291 w 279"/>
                  <a:gd name="T25" fmla="*/ 2381 h 336"/>
                  <a:gd name="T26" fmla="*/ 20564 w 279"/>
                  <a:gd name="T27" fmla="*/ 9525 h 336"/>
                  <a:gd name="T28" fmla="*/ 16609 w 279"/>
                  <a:gd name="T29" fmla="*/ 7144 h 336"/>
                  <a:gd name="T30" fmla="*/ 13445 w 279"/>
                  <a:gd name="T31" fmla="*/ 2381 h 336"/>
                  <a:gd name="T32" fmla="*/ 10282 w 279"/>
                  <a:gd name="T33" fmla="*/ 7144 h 336"/>
                  <a:gd name="T34" fmla="*/ 10282 w 279"/>
                  <a:gd name="T35" fmla="*/ 9525 h 336"/>
                  <a:gd name="T36" fmla="*/ 16609 w 279"/>
                  <a:gd name="T37" fmla="*/ 16669 h 336"/>
                  <a:gd name="T38" fmla="*/ 34009 w 279"/>
                  <a:gd name="T39" fmla="*/ 19050 h 336"/>
                  <a:gd name="T40" fmla="*/ 37964 w 279"/>
                  <a:gd name="T41" fmla="*/ 19050 h 336"/>
                  <a:gd name="T42" fmla="*/ 23727 w 279"/>
                  <a:gd name="T43" fmla="*/ 34925 h 336"/>
                  <a:gd name="T44" fmla="*/ 13445 w 279"/>
                  <a:gd name="T45" fmla="*/ 34925 h 336"/>
                  <a:gd name="T46" fmla="*/ 6327 w 279"/>
                  <a:gd name="T47" fmla="*/ 40481 h 3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279"/>
                  <a:gd name="T73" fmla="*/ 0 h 336"/>
                  <a:gd name="T74" fmla="*/ 279 w 279"/>
                  <a:gd name="T75" fmla="*/ 336 h 3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279" h="336">
                    <a:moveTo>
                      <a:pt x="35" y="207"/>
                    </a:moveTo>
                    <a:lnTo>
                      <a:pt x="35" y="207"/>
                    </a:lnTo>
                    <a:lnTo>
                      <a:pt x="0" y="240"/>
                    </a:lnTo>
                    <a:lnTo>
                      <a:pt x="0" y="321"/>
                    </a:lnTo>
                    <a:lnTo>
                      <a:pt x="18" y="336"/>
                    </a:lnTo>
                    <a:lnTo>
                      <a:pt x="69" y="288"/>
                    </a:lnTo>
                    <a:lnTo>
                      <a:pt x="141" y="240"/>
                    </a:lnTo>
                    <a:lnTo>
                      <a:pt x="192" y="192"/>
                    </a:lnTo>
                    <a:lnTo>
                      <a:pt x="227" y="159"/>
                    </a:lnTo>
                    <a:lnTo>
                      <a:pt x="279" y="33"/>
                    </a:lnTo>
                    <a:lnTo>
                      <a:pt x="279" y="0"/>
                    </a:lnTo>
                    <a:lnTo>
                      <a:pt x="261" y="0"/>
                    </a:lnTo>
                    <a:lnTo>
                      <a:pt x="227" y="15"/>
                    </a:lnTo>
                    <a:lnTo>
                      <a:pt x="104" y="48"/>
                    </a:lnTo>
                    <a:lnTo>
                      <a:pt x="87" y="33"/>
                    </a:lnTo>
                    <a:lnTo>
                      <a:pt x="69" y="15"/>
                    </a:lnTo>
                    <a:lnTo>
                      <a:pt x="52" y="33"/>
                    </a:lnTo>
                    <a:lnTo>
                      <a:pt x="52" y="48"/>
                    </a:lnTo>
                    <a:lnTo>
                      <a:pt x="87" y="81"/>
                    </a:lnTo>
                    <a:lnTo>
                      <a:pt x="175" y="96"/>
                    </a:lnTo>
                    <a:lnTo>
                      <a:pt x="192" y="96"/>
                    </a:lnTo>
                    <a:lnTo>
                      <a:pt x="121" y="177"/>
                    </a:lnTo>
                    <a:lnTo>
                      <a:pt x="69" y="177"/>
                    </a:lnTo>
                    <a:lnTo>
                      <a:pt x="35" y="207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4" name="Freeform 284">
                <a:extLst>
                  <a:ext uri="{FF2B5EF4-FFF2-40B4-BE49-F238E27FC236}">
                    <a16:creationId xmlns:a16="http://schemas.microsoft.com/office/drawing/2014/main" id="{8CD04D9C-EFE9-474D-AAF9-B13A88F366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9855" y="3755463"/>
                <a:ext cx="298706" cy="177260"/>
              </a:xfrm>
              <a:custGeom>
                <a:avLst/>
                <a:gdLst>
                  <a:gd name="T0" fmla="*/ 44572 w 363"/>
                  <a:gd name="T1" fmla="*/ 0 h 210"/>
                  <a:gd name="T2" fmla="*/ 44572 w 363"/>
                  <a:gd name="T3" fmla="*/ 0 h 210"/>
                  <a:gd name="T4" fmla="*/ 51736 w 363"/>
                  <a:gd name="T5" fmla="*/ 6290 h 210"/>
                  <a:gd name="T6" fmla="*/ 51736 w 363"/>
                  <a:gd name="T7" fmla="*/ 12579 h 210"/>
                  <a:gd name="T8" fmla="*/ 58899 w 363"/>
                  <a:gd name="T9" fmla="*/ 15724 h 210"/>
                  <a:gd name="T10" fmla="*/ 72430 w 363"/>
                  <a:gd name="T11" fmla="*/ 31448 h 210"/>
                  <a:gd name="T12" fmla="*/ 48552 w 363"/>
                  <a:gd name="T13" fmla="*/ 31448 h 210"/>
                  <a:gd name="T14" fmla="*/ 44572 w 363"/>
                  <a:gd name="T15" fmla="*/ 34592 h 210"/>
                  <a:gd name="T16" fmla="*/ 35021 w 363"/>
                  <a:gd name="T17" fmla="*/ 34592 h 210"/>
                  <a:gd name="T18" fmla="*/ 31042 w 363"/>
                  <a:gd name="T19" fmla="*/ 31448 h 210"/>
                  <a:gd name="T20" fmla="*/ 27858 w 363"/>
                  <a:gd name="T21" fmla="*/ 31448 h 210"/>
                  <a:gd name="T22" fmla="*/ 24674 w 363"/>
                  <a:gd name="T23" fmla="*/ 36951 h 210"/>
                  <a:gd name="T24" fmla="*/ 14327 w 363"/>
                  <a:gd name="T25" fmla="*/ 40882 h 210"/>
                  <a:gd name="T26" fmla="*/ 10347 w 363"/>
                  <a:gd name="T27" fmla="*/ 40882 h 210"/>
                  <a:gd name="T28" fmla="*/ 3980 w 363"/>
                  <a:gd name="T29" fmla="*/ 31448 h 210"/>
                  <a:gd name="T30" fmla="*/ 0 w 363"/>
                  <a:gd name="T31" fmla="*/ 27517 h 210"/>
                  <a:gd name="T32" fmla="*/ 7163 w 363"/>
                  <a:gd name="T33" fmla="*/ 18869 h 210"/>
                  <a:gd name="T34" fmla="*/ 24674 w 363"/>
                  <a:gd name="T35" fmla="*/ 15724 h 210"/>
                  <a:gd name="T36" fmla="*/ 27858 w 363"/>
                  <a:gd name="T37" fmla="*/ 12579 h 210"/>
                  <a:gd name="T38" fmla="*/ 24674 w 363"/>
                  <a:gd name="T39" fmla="*/ 12579 h 210"/>
                  <a:gd name="T40" fmla="*/ 35021 w 363"/>
                  <a:gd name="T41" fmla="*/ 9434 h 210"/>
                  <a:gd name="T42" fmla="*/ 41389 w 363"/>
                  <a:gd name="T43" fmla="*/ 3145 h 210"/>
                  <a:gd name="T44" fmla="*/ 44572 w 363"/>
                  <a:gd name="T45" fmla="*/ 0 h 21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63"/>
                  <a:gd name="T70" fmla="*/ 0 h 210"/>
                  <a:gd name="T71" fmla="*/ 363 w 363"/>
                  <a:gd name="T72" fmla="*/ 210 h 210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63" h="210">
                    <a:moveTo>
                      <a:pt x="224" y="0"/>
                    </a:moveTo>
                    <a:lnTo>
                      <a:pt x="224" y="0"/>
                    </a:lnTo>
                    <a:lnTo>
                      <a:pt x="259" y="33"/>
                    </a:lnTo>
                    <a:lnTo>
                      <a:pt x="259" y="66"/>
                    </a:lnTo>
                    <a:lnTo>
                      <a:pt x="294" y="81"/>
                    </a:lnTo>
                    <a:lnTo>
                      <a:pt x="363" y="162"/>
                    </a:lnTo>
                    <a:lnTo>
                      <a:pt x="242" y="162"/>
                    </a:lnTo>
                    <a:lnTo>
                      <a:pt x="224" y="177"/>
                    </a:lnTo>
                    <a:lnTo>
                      <a:pt x="173" y="177"/>
                    </a:lnTo>
                    <a:lnTo>
                      <a:pt x="155" y="162"/>
                    </a:lnTo>
                    <a:lnTo>
                      <a:pt x="138" y="162"/>
                    </a:lnTo>
                    <a:lnTo>
                      <a:pt x="121" y="192"/>
                    </a:lnTo>
                    <a:lnTo>
                      <a:pt x="69" y="210"/>
                    </a:lnTo>
                    <a:lnTo>
                      <a:pt x="52" y="210"/>
                    </a:lnTo>
                    <a:lnTo>
                      <a:pt x="17" y="162"/>
                    </a:lnTo>
                    <a:lnTo>
                      <a:pt x="0" y="144"/>
                    </a:lnTo>
                    <a:lnTo>
                      <a:pt x="34" y="96"/>
                    </a:lnTo>
                    <a:lnTo>
                      <a:pt x="121" y="81"/>
                    </a:lnTo>
                    <a:lnTo>
                      <a:pt x="138" y="66"/>
                    </a:lnTo>
                    <a:lnTo>
                      <a:pt x="121" y="66"/>
                    </a:lnTo>
                    <a:lnTo>
                      <a:pt x="173" y="48"/>
                    </a:lnTo>
                    <a:lnTo>
                      <a:pt x="207" y="18"/>
                    </a:lnTo>
                    <a:lnTo>
                      <a:pt x="224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5" name="Freeform 286">
                <a:extLst>
                  <a:ext uri="{FF2B5EF4-FFF2-40B4-BE49-F238E27FC236}">
                    <a16:creationId xmlns:a16="http://schemas.microsoft.com/office/drawing/2014/main" id="{42EC58B6-549E-4689-BCD4-12252AA11B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70434" y="3605474"/>
                <a:ext cx="139506" cy="122719"/>
              </a:xfrm>
              <a:custGeom>
                <a:avLst/>
                <a:gdLst>
                  <a:gd name="T0" fmla="*/ 29986 w 171"/>
                  <a:gd name="T1" fmla="*/ 28575 h 144"/>
                  <a:gd name="T2" fmla="*/ 29986 w 171"/>
                  <a:gd name="T3" fmla="*/ 28575 h 144"/>
                  <a:gd name="T4" fmla="*/ 33143 w 171"/>
                  <a:gd name="T5" fmla="*/ 28575 h 144"/>
                  <a:gd name="T6" fmla="*/ 22884 w 171"/>
                  <a:gd name="T7" fmla="*/ 19050 h 144"/>
                  <a:gd name="T8" fmla="*/ 16571 w 171"/>
                  <a:gd name="T9" fmla="*/ 11906 h 144"/>
                  <a:gd name="T10" fmla="*/ 10258 w 171"/>
                  <a:gd name="T11" fmla="*/ 0 h 144"/>
                  <a:gd name="T12" fmla="*/ 10258 w 171"/>
                  <a:gd name="T13" fmla="*/ 2381 h 144"/>
                  <a:gd name="T14" fmla="*/ 3156 w 171"/>
                  <a:gd name="T15" fmla="*/ 5556 h 144"/>
                  <a:gd name="T16" fmla="*/ 0 w 171"/>
                  <a:gd name="T17" fmla="*/ 19050 h 144"/>
                  <a:gd name="T18" fmla="*/ 3156 w 171"/>
                  <a:gd name="T19" fmla="*/ 19050 h 144"/>
                  <a:gd name="T20" fmla="*/ 6313 w 171"/>
                  <a:gd name="T21" fmla="*/ 21431 h 144"/>
                  <a:gd name="T22" fmla="*/ 6313 w 171"/>
                  <a:gd name="T23" fmla="*/ 15081 h 144"/>
                  <a:gd name="T24" fmla="*/ 10258 w 171"/>
                  <a:gd name="T25" fmla="*/ 19050 h 144"/>
                  <a:gd name="T26" fmla="*/ 19728 w 171"/>
                  <a:gd name="T27" fmla="*/ 19050 h 144"/>
                  <a:gd name="T28" fmla="*/ 29986 w 171"/>
                  <a:gd name="T29" fmla="*/ 28575 h 14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1"/>
                  <a:gd name="T46" fmla="*/ 0 h 144"/>
                  <a:gd name="T47" fmla="*/ 171 w 171"/>
                  <a:gd name="T48" fmla="*/ 144 h 14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1" h="144">
                    <a:moveTo>
                      <a:pt x="154" y="144"/>
                    </a:moveTo>
                    <a:lnTo>
                      <a:pt x="154" y="144"/>
                    </a:lnTo>
                    <a:lnTo>
                      <a:pt x="171" y="144"/>
                    </a:lnTo>
                    <a:lnTo>
                      <a:pt x="119" y="96"/>
                    </a:lnTo>
                    <a:lnTo>
                      <a:pt x="85" y="63"/>
                    </a:lnTo>
                    <a:lnTo>
                      <a:pt x="52" y="0"/>
                    </a:lnTo>
                    <a:lnTo>
                      <a:pt x="52" y="15"/>
                    </a:lnTo>
                    <a:lnTo>
                      <a:pt x="18" y="31"/>
                    </a:lnTo>
                    <a:lnTo>
                      <a:pt x="0" y="96"/>
                    </a:lnTo>
                    <a:lnTo>
                      <a:pt x="18" y="96"/>
                    </a:lnTo>
                    <a:lnTo>
                      <a:pt x="35" y="111"/>
                    </a:lnTo>
                    <a:lnTo>
                      <a:pt x="35" y="78"/>
                    </a:lnTo>
                    <a:lnTo>
                      <a:pt x="52" y="96"/>
                    </a:lnTo>
                    <a:lnTo>
                      <a:pt x="102" y="96"/>
                    </a:lnTo>
                    <a:lnTo>
                      <a:pt x="154" y="14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6" name="Freeform 287b">
                <a:extLst>
                  <a:ext uri="{FF2B5EF4-FFF2-40B4-BE49-F238E27FC236}">
                    <a16:creationId xmlns:a16="http://schemas.microsoft.com/office/drawing/2014/main" id="{16C88D09-4895-4901-BDC1-0327DC5615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4253" y="3733824"/>
                <a:ext cx="272657" cy="185262"/>
              </a:xfrm>
              <a:custGeom>
                <a:avLst/>
                <a:gdLst/>
                <a:ahLst/>
                <a:cxnLst>
                  <a:cxn ang="0">
                    <a:pos x="248" y="137"/>
                  </a:cxn>
                  <a:cxn ang="0">
                    <a:pos x="220" y="99"/>
                  </a:cxn>
                  <a:cxn ang="0">
                    <a:pos x="205" y="85"/>
                  </a:cxn>
                  <a:cxn ang="0">
                    <a:pos x="217" y="75"/>
                  </a:cxn>
                  <a:cxn ang="0">
                    <a:pos x="220" y="73"/>
                  </a:cxn>
                  <a:cxn ang="0">
                    <a:pos x="231" y="40"/>
                  </a:cxn>
                  <a:cxn ang="0">
                    <a:pos x="213" y="28"/>
                  </a:cxn>
                  <a:cxn ang="0">
                    <a:pos x="213" y="0"/>
                  </a:cxn>
                  <a:cxn ang="0">
                    <a:pos x="187" y="4"/>
                  </a:cxn>
                  <a:cxn ang="0">
                    <a:pos x="189" y="35"/>
                  </a:cxn>
                  <a:cxn ang="0">
                    <a:pos x="170" y="56"/>
                  </a:cxn>
                  <a:cxn ang="0">
                    <a:pos x="139" y="44"/>
                  </a:cxn>
                  <a:cxn ang="0">
                    <a:pos x="99" y="61"/>
                  </a:cxn>
                  <a:cxn ang="0">
                    <a:pos x="73" y="59"/>
                  </a:cxn>
                  <a:cxn ang="0">
                    <a:pos x="52" y="37"/>
                  </a:cxn>
                  <a:cxn ang="0">
                    <a:pos x="38" y="40"/>
                  </a:cxn>
                  <a:cxn ang="0">
                    <a:pos x="28" y="54"/>
                  </a:cxn>
                  <a:cxn ang="0">
                    <a:pos x="12" y="73"/>
                  </a:cxn>
                  <a:cxn ang="0">
                    <a:pos x="0" y="73"/>
                  </a:cxn>
                  <a:cxn ang="0">
                    <a:pos x="5" y="75"/>
                  </a:cxn>
                  <a:cxn ang="0">
                    <a:pos x="28" y="85"/>
                  </a:cxn>
                  <a:cxn ang="0">
                    <a:pos x="83" y="151"/>
                  </a:cxn>
                  <a:cxn ang="0">
                    <a:pos x="97" y="163"/>
                  </a:cxn>
                  <a:cxn ang="0">
                    <a:pos x="137" y="163"/>
                  </a:cxn>
                  <a:cxn ang="0">
                    <a:pos x="151" y="174"/>
                  </a:cxn>
                  <a:cxn ang="0">
                    <a:pos x="179" y="174"/>
                  </a:cxn>
                  <a:cxn ang="0">
                    <a:pos x="220" y="163"/>
                  </a:cxn>
                  <a:cxn ang="0">
                    <a:pos x="234" y="163"/>
                  </a:cxn>
                  <a:cxn ang="0">
                    <a:pos x="262" y="163"/>
                  </a:cxn>
                  <a:cxn ang="0">
                    <a:pos x="262" y="137"/>
                  </a:cxn>
                  <a:cxn ang="0">
                    <a:pos x="248" y="137"/>
                  </a:cxn>
                </a:cxnLst>
                <a:rect l="0" t="0" r="r" b="b"/>
                <a:pathLst>
                  <a:path w="262" h="174">
                    <a:moveTo>
                      <a:pt x="248" y="137"/>
                    </a:moveTo>
                    <a:lnTo>
                      <a:pt x="220" y="99"/>
                    </a:lnTo>
                    <a:lnTo>
                      <a:pt x="205" y="85"/>
                    </a:lnTo>
                    <a:lnTo>
                      <a:pt x="217" y="75"/>
                    </a:lnTo>
                    <a:lnTo>
                      <a:pt x="220" y="73"/>
                    </a:lnTo>
                    <a:lnTo>
                      <a:pt x="231" y="40"/>
                    </a:lnTo>
                    <a:lnTo>
                      <a:pt x="213" y="28"/>
                    </a:lnTo>
                    <a:lnTo>
                      <a:pt x="213" y="0"/>
                    </a:lnTo>
                    <a:lnTo>
                      <a:pt x="187" y="4"/>
                    </a:lnTo>
                    <a:lnTo>
                      <a:pt x="189" y="35"/>
                    </a:lnTo>
                    <a:lnTo>
                      <a:pt x="170" y="56"/>
                    </a:lnTo>
                    <a:lnTo>
                      <a:pt x="139" y="44"/>
                    </a:lnTo>
                    <a:lnTo>
                      <a:pt x="99" y="61"/>
                    </a:lnTo>
                    <a:lnTo>
                      <a:pt x="73" y="59"/>
                    </a:lnTo>
                    <a:lnTo>
                      <a:pt x="52" y="37"/>
                    </a:lnTo>
                    <a:lnTo>
                      <a:pt x="38" y="40"/>
                    </a:lnTo>
                    <a:lnTo>
                      <a:pt x="28" y="54"/>
                    </a:lnTo>
                    <a:lnTo>
                      <a:pt x="12" y="73"/>
                    </a:lnTo>
                    <a:lnTo>
                      <a:pt x="0" y="73"/>
                    </a:lnTo>
                    <a:lnTo>
                      <a:pt x="5" y="75"/>
                    </a:lnTo>
                    <a:lnTo>
                      <a:pt x="28" y="85"/>
                    </a:lnTo>
                    <a:lnTo>
                      <a:pt x="83" y="151"/>
                    </a:lnTo>
                    <a:lnTo>
                      <a:pt x="97" y="163"/>
                    </a:lnTo>
                    <a:lnTo>
                      <a:pt x="137" y="163"/>
                    </a:lnTo>
                    <a:lnTo>
                      <a:pt x="151" y="174"/>
                    </a:lnTo>
                    <a:lnTo>
                      <a:pt x="179" y="174"/>
                    </a:lnTo>
                    <a:lnTo>
                      <a:pt x="220" y="163"/>
                    </a:lnTo>
                    <a:lnTo>
                      <a:pt x="234" y="163"/>
                    </a:lnTo>
                    <a:lnTo>
                      <a:pt x="262" y="163"/>
                    </a:lnTo>
                    <a:lnTo>
                      <a:pt x="262" y="137"/>
                    </a:lnTo>
                    <a:lnTo>
                      <a:pt x="248" y="13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7" name="Freeform 288">
                <a:extLst>
                  <a:ext uri="{FF2B5EF4-FFF2-40B4-BE49-F238E27FC236}">
                    <a16:creationId xmlns:a16="http://schemas.microsoft.com/office/drawing/2014/main" id="{059F65F5-EBF4-4A58-BE2C-AE5B3ADDAB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1839" y="3714557"/>
                <a:ext cx="172332" cy="245437"/>
              </a:xfrm>
              <a:custGeom>
                <a:avLst/>
                <a:gdLst>
                  <a:gd name="T0" fmla="*/ 0 w 212"/>
                  <a:gd name="T1" fmla="*/ 41275 h 288"/>
                  <a:gd name="T2" fmla="*/ 0 w 212"/>
                  <a:gd name="T3" fmla="*/ 41275 h 288"/>
                  <a:gd name="T4" fmla="*/ 6290 w 212"/>
                  <a:gd name="T5" fmla="*/ 31750 h 288"/>
                  <a:gd name="T6" fmla="*/ 10221 w 212"/>
                  <a:gd name="T7" fmla="*/ 31750 h 288"/>
                  <a:gd name="T8" fmla="*/ 13366 w 212"/>
                  <a:gd name="T9" fmla="*/ 34925 h 288"/>
                  <a:gd name="T10" fmla="*/ 17298 w 212"/>
                  <a:gd name="T11" fmla="*/ 31750 h 288"/>
                  <a:gd name="T12" fmla="*/ 23588 w 212"/>
                  <a:gd name="T13" fmla="*/ 22225 h 288"/>
                  <a:gd name="T14" fmla="*/ 27519 w 212"/>
                  <a:gd name="T15" fmla="*/ 13494 h 288"/>
                  <a:gd name="T16" fmla="*/ 30664 w 212"/>
                  <a:gd name="T17" fmla="*/ 7144 h 288"/>
                  <a:gd name="T18" fmla="*/ 30664 w 212"/>
                  <a:gd name="T19" fmla="*/ 3969 h 288"/>
                  <a:gd name="T20" fmla="*/ 30664 w 212"/>
                  <a:gd name="T21" fmla="*/ 0 h 288"/>
                  <a:gd name="T22" fmla="*/ 30664 w 212"/>
                  <a:gd name="T23" fmla="*/ 3969 h 288"/>
                  <a:gd name="T24" fmla="*/ 37741 w 212"/>
                  <a:gd name="T25" fmla="*/ 15875 h 288"/>
                  <a:gd name="T26" fmla="*/ 30664 w 212"/>
                  <a:gd name="T27" fmla="*/ 15875 h 288"/>
                  <a:gd name="T28" fmla="*/ 30664 w 212"/>
                  <a:gd name="T29" fmla="*/ 19050 h 288"/>
                  <a:gd name="T30" fmla="*/ 34596 w 212"/>
                  <a:gd name="T31" fmla="*/ 22225 h 288"/>
                  <a:gd name="T32" fmla="*/ 37741 w 212"/>
                  <a:gd name="T33" fmla="*/ 28575 h 288"/>
                  <a:gd name="T34" fmla="*/ 30664 w 212"/>
                  <a:gd name="T35" fmla="*/ 38100 h 288"/>
                  <a:gd name="T36" fmla="*/ 34596 w 212"/>
                  <a:gd name="T37" fmla="*/ 41275 h 288"/>
                  <a:gd name="T38" fmla="*/ 40886 w 212"/>
                  <a:gd name="T39" fmla="*/ 51594 h 288"/>
                  <a:gd name="T40" fmla="*/ 40886 w 212"/>
                  <a:gd name="T41" fmla="*/ 57150 h 288"/>
                  <a:gd name="T42" fmla="*/ 23588 w 212"/>
                  <a:gd name="T43" fmla="*/ 54769 h 288"/>
                  <a:gd name="T44" fmla="*/ 13366 w 212"/>
                  <a:gd name="T45" fmla="*/ 54769 h 288"/>
                  <a:gd name="T46" fmla="*/ 6290 w 212"/>
                  <a:gd name="T47" fmla="*/ 54769 h 288"/>
                  <a:gd name="T48" fmla="*/ 6290 w 212"/>
                  <a:gd name="T49" fmla="*/ 51594 h 288"/>
                  <a:gd name="T50" fmla="*/ 3145 w 212"/>
                  <a:gd name="T51" fmla="*/ 47625 h 288"/>
                  <a:gd name="T52" fmla="*/ 0 w 212"/>
                  <a:gd name="T53" fmla="*/ 44450 h 288"/>
                  <a:gd name="T54" fmla="*/ 0 w 212"/>
                  <a:gd name="T55" fmla="*/ 41275 h 288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212"/>
                  <a:gd name="T85" fmla="*/ 0 h 288"/>
                  <a:gd name="T86" fmla="*/ 212 w 212"/>
                  <a:gd name="T87" fmla="*/ 288 h 288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212" h="288">
                    <a:moveTo>
                      <a:pt x="0" y="210"/>
                    </a:moveTo>
                    <a:lnTo>
                      <a:pt x="0" y="210"/>
                    </a:lnTo>
                    <a:lnTo>
                      <a:pt x="35" y="162"/>
                    </a:lnTo>
                    <a:lnTo>
                      <a:pt x="52" y="162"/>
                    </a:lnTo>
                    <a:lnTo>
                      <a:pt x="69" y="177"/>
                    </a:lnTo>
                    <a:lnTo>
                      <a:pt x="89" y="162"/>
                    </a:lnTo>
                    <a:lnTo>
                      <a:pt x="123" y="114"/>
                    </a:lnTo>
                    <a:lnTo>
                      <a:pt x="141" y="66"/>
                    </a:lnTo>
                    <a:lnTo>
                      <a:pt x="158" y="33"/>
                    </a:lnTo>
                    <a:lnTo>
                      <a:pt x="158" y="18"/>
                    </a:lnTo>
                    <a:lnTo>
                      <a:pt x="158" y="0"/>
                    </a:lnTo>
                    <a:lnTo>
                      <a:pt x="158" y="18"/>
                    </a:lnTo>
                    <a:lnTo>
                      <a:pt x="194" y="81"/>
                    </a:lnTo>
                    <a:lnTo>
                      <a:pt x="158" y="81"/>
                    </a:lnTo>
                    <a:lnTo>
                      <a:pt x="158" y="96"/>
                    </a:lnTo>
                    <a:lnTo>
                      <a:pt x="177" y="114"/>
                    </a:lnTo>
                    <a:lnTo>
                      <a:pt x="194" y="144"/>
                    </a:lnTo>
                    <a:lnTo>
                      <a:pt x="158" y="192"/>
                    </a:lnTo>
                    <a:lnTo>
                      <a:pt x="177" y="210"/>
                    </a:lnTo>
                    <a:lnTo>
                      <a:pt x="212" y="258"/>
                    </a:lnTo>
                    <a:lnTo>
                      <a:pt x="212" y="288"/>
                    </a:lnTo>
                    <a:lnTo>
                      <a:pt x="123" y="273"/>
                    </a:lnTo>
                    <a:lnTo>
                      <a:pt x="69" y="273"/>
                    </a:lnTo>
                    <a:lnTo>
                      <a:pt x="35" y="273"/>
                    </a:lnTo>
                    <a:lnTo>
                      <a:pt x="35" y="258"/>
                    </a:lnTo>
                    <a:lnTo>
                      <a:pt x="18" y="240"/>
                    </a:lnTo>
                    <a:lnTo>
                      <a:pt x="0" y="225"/>
                    </a:lnTo>
                    <a:lnTo>
                      <a:pt x="0" y="21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8" name="Freeform 289">
                <a:extLst>
                  <a:ext uri="{FF2B5EF4-FFF2-40B4-BE49-F238E27FC236}">
                    <a16:creationId xmlns:a16="http://schemas.microsoft.com/office/drawing/2014/main" id="{A0B7975E-15A0-43A4-A0C1-E9EC4A376A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4969" y="3946359"/>
                <a:ext cx="44315" cy="27271"/>
              </a:xfrm>
              <a:custGeom>
                <a:avLst/>
                <a:gdLst>
                  <a:gd name="T0" fmla="*/ 11322 w 53"/>
                  <a:gd name="T1" fmla="*/ 0 h 33"/>
                  <a:gd name="T2" fmla="*/ 11322 w 53"/>
                  <a:gd name="T3" fmla="*/ 0 h 33"/>
                  <a:gd name="T4" fmla="*/ 11322 w 53"/>
                  <a:gd name="T5" fmla="*/ 6158 h 33"/>
                  <a:gd name="T6" fmla="*/ 4044 w 53"/>
                  <a:gd name="T7" fmla="*/ 6158 h 33"/>
                  <a:gd name="T8" fmla="*/ 0 w 53"/>
                  <a:gd name="T9" fmla="*/ 6158 h 33"/>
                  <a:gd name="T10" fmla="*/ 4044 w 53"/>
                  <a:gd name="T11" fmla="*/ 0 h 33"/>
                  <a:gd name="T12" fmla="*/ 11322 w 53"/>
                  <a:gd name="T13" fmla="*/ 0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3"/>
                  <a:gd name="T22" fmla="*/ 0 h 33"/>
                  <a:gd name="T23" fmla="*/ 53 w 53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3" h="33">
                    <a:moveTo>
                      <a:pt x="53" y="0"/>
                    </a:moveTo>
                    <a:lnTo>
                      <a:pt x="53" y="0"/>
                    </a:lnTo>
                    <a:lnTo>
                      <a:pt x="53" y="33"/>
                    </a:lnTo>
                    <a:lnTo>
                      <a:pt x="17" y="33"/>
                    </a:lnTo>
                    <a:lnTo>
                      <a:pt x="0" y="33"/>
                    </a:lnTo>
                    <a:lnTo>
                      <a:pt x="17" y="0"/>
                    </a:lnTo>
                    <a:lnTo>
                      <a:pt x="53" y="0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9" name="Freeform 290">
                <a:extLst>
                  <a:ext uri="{FF2B5EF4-FFF2-40B4-BE49-F238E27FC236}">
                    <a16:creationId xmlns:a16="http://schemas.microsoft.com/office/drawing/2014/main" id="{54157A6B-C1BF-4F6E-93AD-C2FC6D8C0C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98219" y="3673651"/>
                <a:ext cx="326607" cy="245437"/>
              </a:xfrm>
              <a:custGeom>
                <a:avLst/>
                <a:gdLst>
                  <a:gd name="T0" fmla="*/ 48297 w 399"/>
                  <a:gd name="T1" fmla="*/ 13494 h 288"/>
                  <a:gd name="T2" fmla="*/ 48297 w 399"/>
                  <a:gd name="T3" fmla="*/ 13494 h 288"/>
                  <a:gd name="T4" fmla="*/ 48297 w 399"/>
                  <a:gd name="T5" fmla="*/ 19050 h 288"/>
                  <a:gd name="T6" fmla="*/ 48297 w 399"/>
                  <a:gd name="T7" fmla="*/ 22225 h 288"/>
                  <a:gd name="T8" fmla="*/ 51465 w 399"/>
                  <a:gd name="T9" fmla="*/ 22225 h 288"/>
                  <a:gd name="T10" fmla="*/ 51465 w 399"/>
                  <a:gd name="T11" fmla="*/ 26194 h 288"/>
                  <a:gd name="T12" fmla="*/ 58590 w 399"/>
                  <a:gd name="T13" fmla="*/ 31750 h 288"/>
                  <a:gd name="T14" fmla="*/ 75217 w 399"/>
                  <a:gd name="T15" fmla="*/ 34925 h 288"/>
                  <a:gd name="T16" fmla="*/ 78384 w 399"/>
                  <a:gd name="T17" fmla="*/ 34925 h 288"/>
                  <a:gd name="T18" fmla="*/ 64924 w 399"/>
                  <a:gd name="T19" fmla="*/ 51594 h 288"/>
                  <a:gd name="T20" fmla="*/ 54632 w 399"/>
                  <a:gd name="T21" fmla="*/ 51594 h 288"/>
                  <a:gd name="T22" fmla="*/ 48297 w 399"/>
                  <a:gd name="T23" fmla="*/ 57150 h 288"/>
                  <a:gd name="T24" fmla="*/ 40380 w 399"/>
                  <a:gd name="T25" fmla="*/ 54769 h 288"/>
                  <a:gd name="T26" fmla="*/ 30879 w 399"/>
                  <a:gd name="T27" fmla="*/ 57150 h 288"/>
                  <a:gd name="T28" fmla="*/ 13460 w 399"/>
                  <a:gd name="T29" fmla="*/ 54769 h 288"/>
                  <a:gd name="T30" fmla="*/ 13460 w 399"/>
                  <a:gd name="T31" fmla="*/ 47625 h 288"/>
                  <a:gd name="T32" fmla="*/ 10293 w 399"/>
                  <a:gd name="T33" fmla="*/ 47625 h 288"/>
                  <a:gd name="T34" fmla="*/ 3167 w 399"/>
                  <a:gd name="T35" fmla="*/ 38100 h 288"/>
                  <a:gd name="T36" fmla="*/ 0 w 399"/>
                  <a:gd name="T37" fmla="*/ 34925 h 288"/>
                  <a:gd name="T38" fmla="*/ 3167 w 399"/>
                  <a:gd name="T39" fmla="*/ 31750 h 288"/>
                  <a:gd name="T40" fmla="*/ 6334 w 399"/>
                  <a:gd name="T41" fmla="*/ 22225 h 288"/>
                  <a:gd name="T42" fmla="*/ 16627 w 399"/>
                  <a:gd name="T43" fmla="*/ 9525 h 288"/>
                  <a:gd name="T44" fmla="*/ 16627 w 399"/>
                  <a:gd name="T45" fmla="*/ 3969 h 288"/>
                  <a:gd name="T46" fmla="*/ 20586 w 399"/>
                  <a:gd name="T47" fmla="*/ 3969 h 288"/>
                  <a:gd name="T48" fmla="*/ 23753 w 399"/>
                  <a:gd name="T49" fmla="*/ 7144 h 288"/>
                  <a:gd name="T50" fmla="*/ 23753 w 399"/>
                  <a:gd name="T51" fmla="*/ 0 h 288"/>
                  <a:gd name="T52" fmla="*/ 26920 w 399"/>
                  <a:gd name="T53" fmla="*/ 3969 h 288"/>
                  <a:gd name="T54" fmla="*/ 37213 w 399"/>
                  <a:gd name="T55" fmla="*/ 3969 h 288"/>
                  <a:gd name="T56" fmla="*/ 48297 w 399"/>
                  <a:gd name="T57" fmla="*/ 13494 h 288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399"/>
                  <a:gd name="T88" fmla="*/ 0 h 288"/>
                  <a:gd name="T89" fmla="*/ 399 w 399"/>
                  <a:gd name="T90" fmla="*/ 288 h 288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399" h="288">
                    <a:moveTo>
                      <a:pt x="244" y="66"/>
                    </a:moveTo>
                    <a:lnTo>
                      <a:pt x="244" y="66"/>
                    </a:lnTo>
                    <a:lnTo>
                      <a:pt x="244" y="96"/>
                    </a:lnTo>
                    <a:lnTo>
                      <a:pt x="244" y="114"/>
                    </a:lnTo>
                    <a:lnTo>
                      <a:pt x="261" y="114"/>
                    </a:lnTo>
                    <a:lnTo>
                      <a:pt x="261" y="129"/>
                    </a:lnTo>
                    <a:lnTo>
                      <a:pt x="296" y="162"/>
                    </a:lnTo>
                    <a:lnTo>
                      <a:pt x="382" y="177"/>
                    </a:lnTo>
                    <a:lnTo>
                      <a:pt x="399" y="177"/>
                    </a:lnTo>
                    <a:lnTo>
                      <a:pt x="330" y="258"/>
                    </a:lnTo>
                    <a:lnTo>
                      <a:pt x="278" y="258"/>
                    </a:lnTo>
                    <a:lnTo>
                      <a:pt x="244" y="288"/>
                    </a:lnTo>
                    <a:lnTo>
                      <a:pt x="207" y="273"/>
                    </a:lnTo>
                    <a:lnTo>
                      <a:pt x="156" y="288"/>
                    </a:lnTo>
                    <a:lnTo>
                      <a:pt x="69" y="273"/>
                    </a:lnTo>
                    <a:lnTo>
                      <a:pt x="69" y="240"/>
                    </a:lnTo>
                    <a:lnTo>
                      <a:pt x="52" y="240"/>
                    </a:lnTo>
                    <a:lnTo>
                      <a:pt x="17" y="192"/>
                    </a:lnTo>
                    <a:lnTo>
                      <a:pt x="0" y="177"/>
                    </a:lnTo>
                    <a:lnTo>
                      <a:pt x="17" y="162"/>
                    </a:lnTo>
                    <a:lnTo>
                      <a:pt x="35" y="114"/>
                    </a:lnTo>
                    <a:lnTo>
                      <a:pt x="86" y="48"/>
                    </a:lnTo>
                    <a:lnTo>
                      <a:pt x="86" y="18"/>
                    </a:lnTo>
                    <a:lnTo>
                      <a:pt x="104" y="18"/>
                    </a:lnTo>
                    <a:lnTo>
                      <a:pt x="121" y="33"/>
                    </a:lnTo>
                    <a:lnTo>
                      <a:pt x="121" y="0"/>
                    </a:lnTo>
                    <a:lnTo>
                      <a:pt x="138" y="18"/>
                    </a:lnTo>
                    <a:lnTo>
                      <a:pt x="190" y="18"/>
                    </a:lnTo>
                    <a:lnTo>
                      <a:pt x="244" y="6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0" name="Freeform 291">
                <a:extLst>
                  <a:ext uri="{FF2B5EF4-FFF2-40B4-BE49-F238E27FC236}">
                    <a16:creationId xmlns:a16="http://schemas.microsoft.com/office/drawing/2014/main" id="{2ABCE9C9-56A0-4985-801F-D8C655B617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6810" y="3728193"/>
                <a:ext cx="29543" cy="40907"/>
              </a:xfrm>
              <a:custGeom>
                <a:avLst/>
                <a:gdLst>
                  <a:gd name="T0" fmla="*/ 4202 w 34"/>
                  <a:gd name="T1" fmla="*/ 9525 h 48"/>
                  <a:gd name="T2" fmla="*/ 4202 w 34"/>
                  <a:gd name="T3" fmla="*/ 9525 h 48"/>
                  <a:gd name="T4" fmla="*/ 0 w 34"/>
                  <a:gd name="T5" fmla="*/ 9525 h 48"/>
                  <a:gd name="T6" fmla="*/ 0 w 34"/>
                  <a:gd name="T7" fmla="*/ 5556 h 48"/>
                  <a:gd name="T8" fmla="*/ 0 w 34"/>
                  <a:gd name="T9" fmla="*/ 0 h 48"/>
                  <a:gd name="T10" fmla="*/ 4202 w 34"/>
                  <a:gd name="T11" fmla="*/ 0 h 48"/>
                  <a:gd name="T12" fmla="*/ 8404 w 34"/>
                  <a:gd name="T13" fmla="*/ 0 h 48"/>
                  <a:gd name="T14" fmla="*/ 8404 w 34"/>
                  <a:gd name="T15" fmla="*/ 2381 h 48"/>
                  <a:gd name="T16" fmla="*/ 4202 w 34"/>
                  <a:gd name="T17" fmla="*/ 2381 h 48"/>
                  <a:gd name="T18" fmla="*/ 8404 w 34"/>
                  <a:gd name="T19" fmla="*/ 5556 h 48"/>
                  <a:gd name="T20" fmla="*/ 4202 w 34"/>
                  <a:gd name="T21" fmla="*/ 9525 h 4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4"/>
                  <a:gd name="T34" fmla="*/ 0 h 48"/>
                  <a:gd name="T35" fmla="*/ 34 w 34"/>
                  <a:gd name="T36" fmla="*/ 48 h 4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4" h="48">
                    <a:moveTo>
                      <a:pt x="17" y="48"/>
                    </a:moveTo>
                    <a:lnTo>
                      <a:pt x="17" y="48"/>
                    </a:lnTo>
                    <a:lnTo>
                      <a:pt x="0" y="48"/>
                    </a:lnTo>
                    <a:lnTo>
                      <a:pt x="0" y="30"/>
                    </a:lnTo>
                    <a:lnTo>
                      <a:pt x="0" y="0"/>
                    </a:lnTo>
                    <a:lnTo>
                      <a:pt x="17" y="0"/>
                    </a:lnTo>
                    <a:lnTo>
                      <a:pt x="34" y="0"/>
                    </a:lnTo>
                    <a:lnTo>
                      <a:pt x="34" y="15"/>
                    </a:lnTo>
                    <a:lnTo>
                      <a:pt x="17" y="15"/>
                    </a:lnTo>
                    <a:lnTo>
                      <a:pt x="34" y="30"/>
                    </a:lnTo>
                    <a:lnTo>
                      <a:pt x="17" y="48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1" name="Freeform 292">
                <a:extLst>
                  <a:ext uri="{FF2B5EF4-FFF2-40B4-BE49-F238E27FC236}">
                    <a16:creationId xmlns:a16="http://schemas.microsoft.com/office/drawing/2014/main" id="{5C750AF3-E020-477F-A137-35F6208523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1349" y="3905452"/>
                <a:ext cx="185461" cy="190895"/>
              </a:xfrm>
              <a:custGeom>
                <a:avLst/>
                <a:gdLst>
                  <a:gd name="T0" fmla="*/ 44254 w 227"/>
                  <a:gd name="T1" fmla="*/ 3175 h 224"/>
                  <a:gd name="T2" fmla="*/ 44254 w 227"/>
                  <a:gd name="T3" fmla="*/ 3175 h 224"/>
                  <a:gd name="T4" fmla="*/ 37932 w 227"/>
                  <a:gd name="T5" fmla="*/ 0 h 224"/>
                  <a:gd name="T6" fmla="*/ 27659 w 227"/>
                  <a:gd name="T7" fmla="*/ 3175 h 224"/>
                  <a:gd name="T8" fmla="*/ 10273 w 227"/>
                  <a:gd name="T9" fmla="*/ 0 h 224"/>
                  <a:gd name="T10" fmla="*/ 3161 w 227"/>
                  <a:gd name="T11" fmla="*/ 0 h 224"/>
                  <a:gd name="T12" fmla="*/ 0 w 227"/>
                  <a:gd name="T13" fmla="*/ 0 h 224"/>
                  <a:gd name="T14" fmla="*/ 3161 w 227"/>
                  <a:gd name="T15" fmla="*/ 3175 h 224"/>
                  <a:gd name="T16" fmla="*/ 6322 w 227"/>
                  <a:gd name="T17" fmla="*/ 11906 h 224"/>
                  <a:gd name="T18" fmla="*/ 0 w 227"/>
                  <a:gd name="T19" fmla="*/ 22225 h 224"/>
                  <a:gd name="T20" fmla="*/ 0 w 227"/>
                  <a:gd name="T21" fmla="*/ 26194 h 224"/>
                  <a:gd name="T22" fmla="*/ 3161 w 227"/>
                  <a:gd name="T23" fmla="*/ 26194 h 224"/>
                  <a:gd name="T24" fmla="*/ 20547 w 227"/>
                  <a:gd name="T25" fmla="*/ 34925 h 224"/>
                  <a:gd name="T26" fmla="*/ 20547 w 227"/>
                  <a:gd name="T27" fmla="*/ 41275 h 224"/>
                  <a:gd name="T28" fmla="*/ 30820 w 227"/>
                  <a:gd name="T29" fmla="*/ 44450 h 224"/>
                  <a:gd name="T30" fmla="*/ 33981 w 227"/>
                  <a:gd name="T31" fmla="*/ 34925 h 224"/>
                  <a:gd name="T32" fmla="*/ 37932 w 227"/>
                  <a:gd name="T33" fmla="*/ 34925 h 224"/>
                  <a:gd name="T34" fmla="*/ 41093 w 227"/>
                  <a:gd name="T35" fmla="*/ 28575 h 224"/>
                  <a:gd name="T36" fmla="*/ 37932 w 227"/>
                  <a:gd name="T37" fmla="*/ 26194 h 224"/>
                  <a:gd name="T38" fmla="*/ 37932 w 227"/>
                  <a:gd name="T39" fmla="*/ 9525 h 224"/>
                  <a:gd name="T40" fmla="*/ 44254 w 227"/>
                  <a:gd name="T41" fmla="*/ 3175 h 22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227"/>
                  <a:gd name="T64" fmla="*/ 0 h 224"/>
                  <a:gd name="T65" fmla="*/ 227 w 227"/>
                  <a:gd name="T66" fmla="*/ 224 h 22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227" h="224">
                    <a:moveTo>
                      <a:pt x="227" y="15"/>
                    </a:moveTo>
                    <a:lnTo>
                      <a:pt x="227" y="15"/>
                    </a:lnTo>
                    <a:lnTo>
                      <a:pt x="192" y="0"/>
                    </a:lnTo>
                    <a:lnTo>
                      <a:pt x="140" y="15"/>
                    </a:lnTo>
                    <a:lnTo>
                      <a:pt x="52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15"/>
                    </a:lnTo>
                    <a:lnTo>
                      <a:pt x="35" y="63"/>
                    </a:lnTo>
                    <a:lnTo>
                      <a:pt x="0" y="111"/>
                    </a:lnTo>
                    <a:lnTo>
                      <a:pt x="0" y="129"/>
                    </a:lnTo>
                    <a:lnTo>
                      <a:pt x="18" y="129"/>
                    </a:lnTo>
                    <a:lnTo>
                      <a:pt x="104" y="176"/>
                    </a:lnTo>
                    <a:lnTo>
                      <a:pt x="104" y="207"/>
                    </a:lnTo>
                    <a:lnTo>
                      <a:pt x="158" y="224"/>
                    </a:lnTo>
                    <a:lnTo>
                      <a:pt x="175" y="176"/>
                    </a:lnTo>
                    <a:lnTo>
                      <a:pt x="192" y="176"/>
                    </a:lnTo>
                    <a:lnTo>
                      <a:pt x="210" y="144"/>
                    </a:lnTo>
                    <a:lnTo>
                      <a:pt x="192" y="129"/>
                    </a:lnTo>
                    <a:lnTo>
                      <a:pt x="192" y="48"/>
                    </a:lnTo>
                    <a:lnTo>
                      <a:pt x="227" y="1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" name="Freeform 293">
                <a:extLst>
                  <a:ext uri="{FF2B5EF4-FFF2-40B4-BE49-F238E27FC236}">
                    <a16:creationId xmlns:a16="http://schemas.microsoft.com/office/drawing/2014/main" id="{903A0742-5BA2-4C03-8C67-6704793A7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2874" y="3905452"/>
                <a:ext cx="126376" cy="122719"/>
              </a:xfrm>
              <a:custGeom>
                <a:avLst/>
                <a:gdLst>
                  <a:gd name="T0" fmla="*/ 23507 w 156"/>
                  <a:gd name="T1" fmla="*/ 0 h 144"/>
                  <a:gd name="T2" fmla="*/ 23507 w 156"/>
                  <a:gd name="T3" fmla="*/ 0 h 144"/>
                  <a:gd name="T4" fmla="*/ 26642 w 156"/>
                  <a:gd name="T5" fmla="*/ 2381 h 144"/>
                  <a:gd name="T6" fmla="*/ 29776 w 156"/>
                  <a:gd name="T7" fmla="*/ 11906 h 144"/>
                  <a:gd name="T8" fmla="*/ 23507 w 156"/>
                  <a:gd name="T9" fmla="*/ 21431 h 144"/>
                  <a:gd name="T10" fmla="*/ 23507 w 156"/>
                  <a:gd name="T11" fmla="*/ 26194 h 144"/>
                  <a:gd name="T12" fmla="*/ 13321 w 156"/>
                  <a:gd name="T13" fmla="*/ 26194 h 144"/>
                  <a:gd name="T14" fmla="*/ 6269 w 156"/>
                  <a:gd name="T15" fmla="*/ 26194 h 144"/>
                  <a:gd name="T16" fmla="*/ 0 w 156"/>
                  <a:gd name="T17" fmla="*/ 28575 h 144"/>
                  <a:gd name="T18" fmla="*/ 3134 w 156"/>
                  <a:gd name="T19" fmla="*/ 19050 h 144"/>
                  <a:gd name="T20" fmla="*/ 6269 w 156"/>
                  <a:gd name="T21" fmla="*/ 15875 h 144"/>
                  <a:gd name="T22" fmla="*/ 10186 w 156"/>
                  <a:gd name="T23" fmla="*/ 9525 h 144"/>
                  <a:gd name="T24" fmla="*/ 6269 w 156"/>
                  <a:gd name="T25" fmla="*/ 9525 h 144"/>
                  <a:gd name="T26" fmla="*/ 6269 w 156"/>
                  <a:gd name="T27" fmla="*/ 2381 h 144"/>
                  <a:gd name="T28" fmla="*/ 13321 w 156"/>
                  <a:gd name="T29" fmla="*/ 2381 h 144"/>
                  <a:gd name="T30" fmla="*/ 23507 w 156"/>
                  <a:gd name="T31" fmla="*/ 0 h 144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56"/>
                  <a:gd name="T49" fmla="*/ 0 h 144"/>
                  <a:gd name="T50" fmla="*/ 156 w 156"/>
                  <a:gd name="T51" fmla="*/ 144 h 144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56" h="144">
                    <a:moveTo>
                      <a:pt x="121" y="0"/>
                    </a:moveTo>
                    <a:lnTo>
                      <a:pt x="121" y="0"/>
                    </a:lnTo>
                    <a:lnTo>
                      <a:pt x="139" y="15"/>
                    </a:lnTo>
                    <a:lnTo>
                      <a:pt x="156" y="63"/>
                    </a:lnTo>
                    <a:lnTo>
                      <a:pt x="121" y="111"/>
                    </a:lnTo>
                    <a:lnTo>
                      <a:pt x="121" y="129"/>
                    </a:lnTo>
                    <a:lnTo>
                      <a:pt x="69" y="129"/>
                    </a:lnTo>
                    <a:lnTo>
                      <a:pt x="35" y="129"/>
                    </a:lnTo>
                    <a:lnTo>
                      <a:pt x="0" y="144"/>
                    </a:lnTo>
                    <a:lnTo>
                      <a:pt x="18" y="96"/>
                    </a:lnTo>
                    <a:lnTo>
                      <a:pt x="35" y="81"/>
                    </a:lnTo>
                    <a:lnTo>
                      <a:pt x="52" y="48"/>
                    </a:lnTo>
                    <a:lnTo>
                      <a:pt x="35" y="48"/>
                    </a:lnTo>
                    <a:lnTo>
                      <a:pt x="35" y="15"/>
                    </a:lnTo>
                    <a:lnTo>
                      <a:pt x="69" y="15"/>
                    </a:lnTo>
                    <a:lnTo>
                      <a:pt x="121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3" name="Freeform 294">
                <a:extLst>
                  <a:ext uri="{FF2B5EF4-FFF2-40B4-BE49-F238E27FC236}">
                    <a16:creationId xmlns:a16="http://schemas.microsoft.com/office/drawing/2014/main" id="{D8015C70-15D5-4983-B6E6-A8D58274E8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8104" y="4014534"/>
                <a:ext cx="42673" cy="40907"/>
              </a:xfrm>
              <a:custGeom>
                <a:avLst/>
                <a:gdLst>
                  <a:gd name="T0" fmla="*/ 10319 w 52"/>
                  <a:gd name="T1" fmla="*/ 9728 h 47"/>
                  <a:gd name="T2" fmla="*/ 10319 w 52"/>
                  <a:gd name="T3" fmla="*/ 9728 h 47"/>
                  <a:gd name="T4" fmla="*/ 3969 w 52"/>
                  <a:gd name="T5" fmla="*/ 9728 h 47"/>
                  <a:gd name="T6" fmla="*/ 0 w 52"/>
                  <a:gd name="T7" fmla="*/ 9728 h 47"/>
                  <a:gd name="T8" fmla="*/ 3969 w 52"/>
                  <a:gd name="T9" fmla="*/ 3243 h 47"/>
                  <a:gd name="T10" fmla="*/ 10319 w 52"/>
                  <a:gd name="T11" fmla="*/ 0 h 47"/>
                  <a:gd name="T12" fmla="*/ 10319 w 52"/>
                  <a:gd name="T13" fmla="*/ 6485 h 47"/>
                  <a:gd name="T14" fmla="*/ 10319 w 52"/>
                  <a:gd name="T15" fmla="*/ 9728 h 4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2"/>
                  <a:gd name="T25" fmla="*/ 0 h 47"/>
                  <a:gd name="T26" fmla="*/ 52 w 52"/>
                  <a:gd name="T27" fmla="*/ 47 h 4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2" h="47">
                    <a:moveTo>
                      <a:pt x="52" y="47"/>
                    </a:moveTo>
                    <a:lnTo>
                      <a:pt x="52" y="47"/>
                    </a:lnTo>
                    <a:lnTo>
                      <a:pt x="17" y="47"/>
                    </a:lnTo>
                    <a:lnTo>
                      <a:pt x="0" y="47"/>
                    </a:lnTo>
                    <a:lnTo>
                      <a:pt x="17" y="15"/>
                    </a:lnTo>
                    <a:lnTo>
                      <a:pt x="52" y="0"/>
                    </a:lnTo>
                    <a:lnTo>
                      <a:pt x="52" y="30"/>
                    </a:lnTo>
                    <a:lnTo>
                      <a:pt x="52" y="47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4" name="Freeform 295">
                <a:extLst>
                  <a:ext uri="{FF2B5EF4-FFF2-40B4-BE49-F238E27FC236}">
                    <a16:creationId xmlns:a16="http://schemas.microsoft.com/office/drawing/2014/main" id="{4B9EDC00-2CE5-488C-A9D6-3F3C6671C0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2874" y="4055441"/>
                <a:ext cx="27901" cy="40907"/>
              </a:xfrm>
              <a:custGeom>
                <a:avLst/>
                <a:gdLst>
                  <a:gd name="T0" fmla="*/ 6169 w 35"/>
                  <a:gd name="T1" fmla="*/ 0 h 48"/>
                  <a:gd name="T2" fmla="*/ 6169 w 35"/>
                  <a:gd name="T3" fmla="*/ 0 h 48"/>
                  <a:gd name="T4" fmla="*/ 6169 w 35"/>
                  <a:gd name="T5" fmla="*/ 3175 h 48"/>
                  <a:gd name="T6" fmla="*/ 0 w 35"/>
                  <a:gd name="T7" fmla="*/ 9525 h 48"/>
                  <a:gd name="T8" fmla="*/ 0 w 35"/>
                  <a:gd name="T9" fmla="*/ 3175 h 48"/>
                  <a:gd name="T10" fmla="*/ 0 w 35"/>
                  <a:gd name="T11" fmla="*/ 0 h 48"/>
                  <a:gd name="T12" fmla="*/ 6169 w 35"/>
                  <a:gd name="T13" fmla="*/ 0 h 4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5"/>
                  <a:gd name="T22" fmla="*/ 0 h 48"/>
                  <a:gd name="T23" fmla="*/ 35 w 35"/>
                  <a:gd name="T24" fmla="*/ 48 h 4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5" h="48">
                    <a:moveTo>
                      <a:pt x="35" y="0"/>
                    </a:moveTo>
                    <a:lnTo>
                      <a:pt x="35" y="0"/>
                    </a:lnTo>
                    <a:lnTo>
                      <a:pt x="35" y="16"/>
                    </a:lnTo>
                    <a:lnTo>
                      <a:pt x="0" y="48"/>
                    </a:lnTo>
                    <a:lnTo>
                      <a:pt x="0" y="16"/>
                    </a:lnTo>
                    <a:lnTo>
                      <a:pt x="0" y="0"/>
                    </a:lnTo>
                    <a:lnTo>
                      <a:pt x="35" y="0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5" name="Freeform 300">
                <a:extLst>
                  <a:ext uri="{FF2B5EF4-FFF2-40B4-BE49-F238E27FC236}">
                    <a16:creationId xmlns:a16="http://schemas.microsoft.com/office/drawing/2014/main" id="{1BD64EFC-B16C-44F3-8876-DD89DA0765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2327" y="3389012"/>
                <a:ext cx="270806" cy="286344"/>
              </a:xfrm>
              <a:custGeom>
                <a:avLst/>
                <a:gdLst>
                  <a:gd name="T0" fmla="*/ 0 w 331"/>
                  <a:gd name="T1" fmla="*/ 35029 h 335"/>
                  <a:gd name="T2" fmla="*/ 0 w 331"/>
                  <a:gd name="T3" fmla="*/ 35029 h 335"/>
                  <a:gd name="T4" fmla="*/ 3165 w 331"/>
                  <a:gd name="T5" fmla="*/ 32641 h 335"/>
                  <a:gd name="T6" fmla="*/ 20575 w 331"/>
                  <a:gd name="T7" fmla="*/ 32641 h 335"/>
                  <a:gd name="T8" fmla="*/ 20575 w 331"/>
                  <a:gd name="T9" fmla="*/ 25476 h 335"/>
                  <a:gd name="T10" fmla="*/ 27697 w 331"/>
                  <a:gd name="T11" fmla="*/ 23087 h 335"/>
                  <a:gd name="T12" fmla="*/ 27697 w 331"/>
                  <a:gd name="T13" fmla="*/ 6369 h 335"/>
                  <a:gd name="T14" fmla="*/ 44316 w 331"/>
                  <a:gd name="T15" fmla="*/ 6369 h 335"/>
                  <a:gd name="T16" fmla="*/ 44316 w 331"/>
                  <a:gd name="T17" fmla="*/ 0 h 335"/>
                  <a:gd name="T18" fmla="*/ 64891 w 331"/>
                  <a:gd name="T19" fmla="*/ 13534 h 335"/>
                  <a:gd name="T20" fmla="*/ 54603 w 331"/>
                  <a:gd name="T21" fmla="*/ 13534 h 335"/>
                  <a:gd name="T22" fmla="*/ 61726 w 331"/>
                  <a:gd name="T23" fmla="*/ 63690 h 335"/>
                  <a:gd name="T24" fmla="*/ 37985 w 331"/>
                  <a:gd name="T25" fmla="*/ 63690 h 335"/>
                  <a:gd name="T26" fmla="*/ 34028 w 331"/>
                  <a:gd name="T27" fmla="*/ 66874 h 335"/>
                  <a:gd name="T28" fmla="*/ 30863 w 331"/>
                  <a:gd name="T29" fmla="*/ 63690 h 335"/>
                  <a:gd name="T30" fmla="*/ 23741 w 331"/>
                  <a:gd name="T31" fmla="*/ 66874 h 335"/>
                  <a:gd name="T32" fmla="*/ 20575 w 331"/>
                  <a:gd name="T33" fmla="*/ 61301 h 335"/>
                  <a:gd name="T34" fmla="*/ 10288 w 331"/>
                  <a:gd name="T35" fmla="*/ 57321 h 335"/>
                  <a:gd name="T36" fmla="*/ 3165 w 331"/>
                  <a:gd name="T37" fmla="*/ 57321 h 335"/>
                  <a:gd name="T38" fmla="*/ 0 w 331"/>
                  <a:gd name="T39" fmla="*/ 61301 h 335"/>
                  <a:gd name="T40" fmla="*/ 3165 w 331"/>
                  <a:gd name="T41" fmla="*/ 47767 h 335"/>
                  <a:gd name="T42" fmla="*/ 0 w 331"/>
                  <a:gd name="T43" fmla="*/ 44583 h 335"/>
                  <a:gd name="T44" fmla="*/ 3165 w 331"/>
                  <a:gd name="T45" fmla="*/ 38214 h 335"/>
                  <a:gd name="T46" fmla="*/ 0 w 331"/>
                  <a:gd name="T47" fmla="*/ 35029 h 33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331"/>
                  <a:gd name="T73" fmla="*/ 0 h 335"/>
                  <a:gd name="T74" fmla="*/ 331 w 331"/>
                  <a:gd name="T75" fmla="*/ 335 h 335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331" h="335">
                    <a:moveTo>
                      <a:pt x="0" y="176"/>
                    </a:moveTo>
                    <a:lnTo>
                      <a:pt x="0" y="176"/>
                    </a:lnTo>
                    <a:lnTo>
                      <a:pt x="18" y="161"/>
                    </a:lnTo>
                    <a:lnTo>
                      <a:pt x="106" y="161"/>
                    </a:lnTo>
                    <a:lnTo>
                      <a:pt x="106" y="128"/>
                    </a:lnTo>
                    <a:lnTo>
                      <a:pt x="140" y="113"/>
                    </a:lnTo>
                    <a:lnTo>
                      <a:pt x="140" y="32"/>
                    </a:lnTo>
                    <a:lnTo>
                      <a:pt x="227" y="32"/>
                    </a:lnTo>
                    <a:lnTo>
                      <a:pt x="227" y="0"/>
                    </a:lnTo>
                    <a:lnTo>
                      <a:pt x="331" y="65"/>
                    </a:lnTo>
                    <a:lnTo>
                      <a:pt x="279" y="65"/>
                    </a:lnTo>
                    <a:lnTo>
                      <a:pt x="313" y="320"/>
                    </a:lnTo>
                    <a:lnTo>
                      <a:pt x="192" y="320"/>
                    </a:lnTo>
                    <a:lnTo>
                      <a:pt x="175" y="335"/>
                    </a:lnTo>
                    <a:lnTo>
                      <a:pt x="158" y="320"/>
                    </a:lnTo>
                    <a:lnTo>
                      <a:pt x="123" y="335"/>
                    </a:lnTo>
                    <a:lnTo>
                      <a:pt x="106" y="305"/>
                    </a:lnTo>
                    <a:lnTo>
                      <a:pt x="52" y="288"/>
                    </a:lnTo>
                    <a:lnTo>
                      <a:pt x="18" y="288"/>
                    </a:lnTo>
                    <a:lnTo>
                      <a:pt x="0" y="305"/>
                    </a:lnTo>
                    <a:lnTo>
                      <a:pt x="18" y="240"/>
                    </a:lnTo>
                    <a:lnTo>
                      <a:pt x="0" y="224"/>
                    </a:lnTo>
                    <a:lnTo>
                      <a:pt x="18" y="192"/>
                    </a:lnTo>
                    <a:lnTo>
                      <a:pt x="0" y="17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6" name="Freeform 302">
                <a:extLst>
                  <a:ext uri="{FF2B5EF4-FFF2-40B4-BE49-F238E27FC236}">
                    <a16:creationId xmlns:a16="http://schemas.microsoft.com/office/drawing/2014/main" id="{00AAFC32-3E4D-48BA-BF54-B1BADA2F04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0687" y="3700922"/>
                <a:ext cx="70574" cy="13636"/>
              </a:xfrm>
              <a:custGeom>
                <a:avLst/>
                <a:gdLst>
                  <a:gd name="T0" fmla="*/ 0 w 87"/>
                  <a:gd name="T1" fmla="*/ 3387 h 15"/>
                  <a:gd name="T2" fmla="*/ 0 w 87"/>
                  <a:gd name="T3" fmla="*/ 3387 h 15"/>
                  <a:gd name="T4" fmla="*/ 3139 w 87"/>
                  <a:gd name="T5" fmla="*/ 3387 h 15"/>
                  <a:gd name="T6" fmla="*/ 10200 w 87"/>
                  <a:gd name="T7" fmla="*/ 0 h 15"/>
                  <a:gd name="T8" fmla="*/ 13339 w 87"/>
                  <a:gd name="T9" fmla="*/ 3387 h 15"/>
                  <a:gd name="T10" fmla="*/ 16477 w 87"/>
                  <a:gd name="T11" fmla="*/ 0 h 15"/>
                  <a:gd name="T12" fmla="*/ 10200 w 87"/>
                  <a:gd name="T13" fmla="*/ 0 h 15"/>
                  <a:gd name="T14" fmla="*/ 0 w 87"/>
                  <a:gd name="T15" fmla="*/ 0 h 15"/>
                  <a:gd name="T16" fmla="*/ 0 w 87"/>
                  <a:gd name="T17" fmla="*/ 3387 h 1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7"/>
                  <a:gd name="T28" fmla="*/ 0 h 15"/>
                  <a:gd name="T29" fmla="*/ 87 w 87"/>
                  <a:gd name="T30" fmla="*/ 15 h 1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7" h="15">
                    <a:moveTo>
                      <a:pt x="0" y="15"/>
                    </a:moveTo>
                    <a:lnTo>
                      <a:pt x="0" y="15"/>
                    </a:lnTo>
                    <a:lnTo>
                      <a:pt x="18" y="15"/>
                    </a:lnTo>
                    <a:lnTo>
                      <a:pt x="52" y="0"/>
                    </a:lnTo>
                    <a:lnTo>
                      <a:pt x="69" y="15"/>
                    </a:lnTo>
                    <a:lnTo>
                      <a:pt x="87" y="0"/>
                    </a:lnTo>
                    <a:lnTo>
                      <a:pt x="52" y="0"/>
                    </a:lnTo>
                    <a:lnTo>
                      <a:pt x="0" y="0"/>
                    </a:lnTo>
                    <a:lnTo>
                      <a:pt x="0" y="15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7" name="Freeform 303">
                <a:extLst>
                  <a:ext uri="{FF2B5EF4-FFF2-40B4-BE49-F238E27FC236}">
                    <a16:creationId xmlns:a16="http://schemas.microsoft.com/office/drawing/2014/main" id="{5112805B-F176-4AD5-A0AE-73E23200F5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0687" y="3728193"/>
                <a:ext cx="70574" cy="40907"/>
              </a:xfrm>
              <a:custGeom>
                <a:avLst/>
                <a:gdLst>
                  <a:gd name="T0" fmla="*/ 10200 w 87"/>
                  <a:gd name="T1" fmla="*/ 9525 h 48"/>
                  <a:gd name="T2" fmla="*/ 10200 w 87"/>
                  <a:gd name="T3" fmla="*/ 9525 h 48"/>
                  <a:gd name="T4" fmla="*/ 16477 w 87"/>
                  <a:gd name="T5" fmla="*/ 2381 h 48"/>
                  <a:gd name="T6" fmla="*/ 16477 w 87"/>
                  <a:gd name="T7" fmla="*/ 0 h 48"/>
                  <a:gd name="T8" fmla="*/ 0 w 87"/>
                  <a:gd name="T9" fmla="*/ 0 h 48"/>
                  <a:gd name="T10" fmla="*/ 6277 w 87"/>
                  <a:gd name="T11" fmla="*/ 2381 h 48"/>
                  <a:gd name="T12" fmla="*/ 6277 w 87"/>
                  <a:gd name="T13" fmla="*/ 5556 h 48"/>
                  <a:gd name="T14" fmla="*/ 10200 w 87"/>
                  <a:gd name="T15" fmla="*/ 9525 h 4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7"/>
                  <a:gd name="T25" fmla="*/ 0 h 48"/>
                  <a:gd name="T26" fmla="*/ 87 w 87"/>
                  <a:gd name="T27" fmla="*/ 48 h 4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7" h="48">
                    <a:moveTo>
                      <a:pt x="52" y="48"/>
                    </a:moveTo>
                    <a:lnTo>
                      <a:pt x="52" y="48"/>
                    </a:lnTo>
                    <a:lnTo>
                      <a:pt x="87" y="15"/>
                    </a:lnTo>
                    <a:lnTo>
                      <a:pt x="87" y="0"/>
                    </a:lnTo>
                    <a:lnTo>
                      <a:pt x="0" y="0"/>
                    </a:lnTo>
                    <a:lnTo>
                      <a:pt x="35" y="15"/>
                    </a:lnTo>
                    <a:lnTo>
                      <a:pt x="35" y="30"/>
                    </a:lnTo>
                    <a:lnTo>
                      <a:pt x="52" y="48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8" name="Freeform 304">
                <a:extLst>
                  <a:ext uri="{FF2B5EF4-FFF2-40B4-BE49-F238E27FC236}">
                    <a16:creationId xmlns:a16="http://schemas.microsoft.com/office/drawing/2014/main" id="{747B13E9-932E-428A-B044-D289BA5FFE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6032" y="3782733"/>
                <a:ext cx="59084" cy="68177"/>
              </a:xfrm>
              <a:custGeom>
                <a:avLst/>
                <a:gdLst>
                  <a:gd name="T0" fmla="*/ 0 w 71"/>
                  <a:gd name="T1" fmla="*/ 2352 h 81"/>
                  <a:gd name="T2" fmla="*/ 0 w 71"/>
                  <a:gd name="T3" fmla="*/ 2352 h 81"/>
                  <a:gd name="T4" fmla="*/ 4025 w 71"/>
                  <a:gd name="T5" fmla="*/ 0 h 81"/>
                  <a:gd name="T6" fmla="*/ 7244 w 71"/>
                  <a:gd name="T7" fmla="*/ 0 h 81"/>
                  <a:gd name="T8" fmla="*/ 14489 w 71"/>
                  <a:gd name="T9" fmla="*/ 6272 h 81"/>
                  <a:gd name="T10" fmla="*/ 14489 w 71"/>
                  <a:gd name="T11" fmla="*/ 9407 h 81"/>
                  <a:gd name="T12" fmla="*/ 7244 w 71"/>
                  <a:gd name="T13" fmla="*/ 15679 h 81"/>
                  <a:gd name="T14" fmla="*/ 4025 w 71"/>
                  <a:gd name="T15" fmla="*/ 11759 h 81"/>
                  <a:gd name="T16" fmla="*/ 0 w 71"/>
                  <a:gd name="T17" fmla="*/ 11759 h 81"/>
                  <a:gd name="T18" fmla="*/ 0 w 71"/>
                  <a:gd name="T19" fmla="*/ 2352 h 8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71"/>
                  <a:gd name="T31" fmla="*/ 0 h 81"/>
                  <a:gd name="T32" fmla="*/ 71 w 71"/>
                  <a:gd name="T33" fmla="*/ 81 h 8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71" h="81">
                    <a:moveTo>
                      <a:pt x="0" y="15"/>
                    </a:moveTo>
                    <a:lnTo>
                      <a:pt x="0" y="15"/>
                    </a:lnTo>
                    <a:lnTo>
                      <a:pt x="19" y="0"/>
                    </a:lnTo>
                    <a:lnTo>
                      <a:pt x="36" y="0"/>
                    </a:lnTo>
                    <a:lnTo>
                      <a:pt x="71" y="33"/>
                    </a:lnTo>
                    <a:lnTo>
                      <a:pt x="71" y="48"/>
                    </a:lnTo>
                    <a:lnTo>
                      <a:pt x="36" y="81"/>
                    </a:lnTo>
                    <a:lnTo>
                      <a:pt x="19" y="63"/>
                    </a:lnTo>
                    <a:lnTo>
                      <a:pt x="0" y="63"/>
                    </a:lnTo>
                    <a:lnTo>
                      <a:pt x="0" y="15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9" name="Freeform 305">
                <a:extLst>
                  <a:ext uri="{FF2B5EF4-FFF2-40B4-BE49-F238E27FC236}">
                    <a16:creationId xmlns:a16="http://schemas.microsoft.com/office/drawing/2014/main" id="{8C776285-C924-474C-9AB7-8F458BAE02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83933" y="3810004"/>
                <a:ext cx="101758" cy="95448"/>
              </a:xfrm>
              <a:custGeom>
                <a:avLst/>
                <a:gdLst>
                  <a:gd name="T0" fmla="*/ 25816 w 122"/>
                  <a:gd name="T1" fmla="*/ 22425 h 111"/>
                  <a:gd name="T2" fmla="*/ 25816 w 122"/>
                  <a:gd name="T3" fmla="*/ 22425 h 111"/>
                  <a:gd name="T4" fmla="*/ 25816 w 122"/>
                  <a:gd name="T5" fmla="*/ 16018 h 111"/>
                  <a:gd name="T6" fmla="*/ 17749 w 122"/>
                  <a:gd name="T7" fmla="*/ 12814 h 111"/>
                  <a:gd name="T8" fmla="*/ 17749 w 122"/>
                  <a:gd name="T9" fmla="*/ 6407 h 111"/>
                  <a:gd name="T10" fmla="*/ 14522 w 122"/>
                  <a:gd name="T11" fmla="*/ 6407 h 111"/>
                  <a:gd name="T12" fmla="*/ 10488 w 122"/>
                  <a:gd name="T13" fmla="*/ 0 h 111"/>
                  <a:gd name="T14" fmla="*/ 7261 w 122"/>
                  <a:gd name="T15" fmla="*/ 3204 h 111"/>
                  <a:gd name="T16" fmla="*/ 0 w 122"/>
                  <a:gd name="T17" fmla="*/ 9611 h 111"/>
                  <a:gd name="T18" fmla="*/ 17749 w 122"/>
                  <a:gd name="T19" fmla="*/ 22425 h 111"/>
                  <a:gd name="T20" fmla="*/ 25816 w 122"/>
                  <a:gd name="T21" fmla="*/ 22425 h 11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22"/>
                  <a:gd name="T34" fmla="*/ 0 h 111"/>
                  <a:gd name="T35" fmla="*/ 122 w 122"/>
                  <a:gd name="T36" fmla="*/ 111 h 111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22" h="111">
                    <a:moveTo>
                      <a:pt x="122" y="111"/>
                    </a:moveTo>
                    <a:lnTo>
                      <a:pt x="122" y="111"/>
                    </a:lnTo>
                    <a:lnTo>
                      <a:pt x="122" y="78"/>
                    </a:lnTo>
                    <a:lnTo>
                      <a:pt x="86" y="63"/>
                    </a:lnTo>
                    <a:lnTo>
                      <a:pt x="86" y="30"/>
                    </a:lnTo>
                    <a:lnTo>
                      <a:pt x="69" y="30"/>
                    </a:lnTo>
                    <a:lnTo>
                      <a:pt x="51" y="0"/>
                    </a:lnTo>
                    <a:lnTo>
                      <a:pt x="34" y="15"/>
                    </a:lnTo>
                    <a:lnTo>
                      <a:pt x="0" y="48"/>
                    </a:lnTo>
                    <a:lnTo>
                      <a:pt x="86" y="111"/>
                    </a:lnTo>
                    <a:lnTo>
                      <a:pt x="122" y="111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0" name="Freeform 306">
                <a:extLst>
                  <a:ext uri="{FF2B5EF4-FFF2-40B4-BE49-F238E27FC236}">
                    <a16:creationId xmlns:a16="http://schemas.microsoft.com/office/drawing/2014/main" id="{5C9A6D4D-F084-42A9-B63F-7D8ABF9622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6147" y="3769098"/>
                <a:ext cx="142788" cy="136353"/>
              </a:xfrm>
              <a:custGeom>
                <a:avLst/>
                <a:gdLst>
                  <a:gd name="T0" fmla="*/ 31135 w 173"/>
                  <a:gd name="T1" fmla="*/ 28755 h 159"/>
                  <a:gd name="T2" fmla="*/ 31135 w 173"/>
                  <a:gd name="T3" fmla="*/ 28755 h 159"/>
                  <a:gd name="T4" fmla="*/ 31135 w 173"/>
                  <a:gd name="T5" fmla="*/ 19170 h 159"/>
                  <a:gd name="T6" fmla="*/ 35127 w 173"/>
                  <a:gd name="T7" fmla="*/ 12780 h 159"/>
                  <a:gd name="T8" fmla="*/ 31135 w 173"/>
                  <a:gd name="T9" fmla="*/ 6390 h 159"/>
                  <a:gd name="T10" fmla="*/ 27942 w 173"/>
                  <a:gd name="T11" fmla="*/ 3195 h 159"/>
                  <a:gd name="T12" fmla="*/ 20757 w 173"/>
                  <a:gd name="T13" fmla="*/ 3195 h 159"/>
                  <a:gd name="T14" fmla="*/ 17564 w 173"/>
                  <a:gd name="T15" fmla="*/ 0 h 159"/>
                  <a:gd name="T16" fmla="*/ 14370 w 173"/>
                  <a:gd name="T17" fmla="*/ 3195 h 159"/>
                  <a:gd name="T18" fmla="*/ 10378 w 173"/>
                  <a:gd name="T19" fmla="*/ 0 h 159"/>
                  <a:gd name="T20" fmla="*/ 7185 w 173"/>
                  <a:gd name="T21" fmla="*/ 3195 h 159"/>
                  <a:gd name="T22" fmla="*/ 3992 w 173"/>
                  <a:gd name="T23" fmla="*/ 3195 h 159"/>
                  <a:gd name="T24" fmla="*/ 3992 w 173"/>
                  <a:gd name="T25" fmla="*/ 6390 h 159"/>
                  <a:gd name="T26" fmla="*/ 3992 w 173"/>
                  <a:gd name="T27" fmla="*/ 9585 h 159"/>
                  <a:gd name="T28" fmla="*/ 3992 w 173"/>
                  <a:gd name="T29" fmla="*/ 12780 h 159"/>
                  <a:gd name="T30" fmla="*/ 3992 w 173"/>
                  <a:gd name="T31" fmla="*/ 15975 h 159"/>
                  <a:gd name="T32" fmla="*/ 0 w 173"/>
                  <a:gd name="T33" fmla="*/ 15975 h 159"/>
                  <a:gd name="T34" fmla="*/ 0 w 173"/>
                  <a:gd name="T35" fmla="*/ 22365 h 159"/>
                  <a:gd name="T36" fmla="*/ 7185 w 173"/>
                  <a:gd name="T37" fmla="*/ 25560 h 159"/>
                  <a:gd name="T38" fmla="*/ 7185 w 173"/>
                  <a:gd name="T39" fmla="*/ 31950 h 159"/>
                  <a:gd name="T40" fmla="*/ 14370 w 173"/>
                  <a:gd name="T41" fmla="*/ 28755 h 159"/>
                  <a:gd name="T42" fmla="*/ 24749 w 173"/>
                  <a:gd name="T43" fmla="*/ 28755 h 159"/>
                  <a:gd name="T44" fmla="*/ 31135 w 173"/>
                  <a:gd name="T45" fmla="*/ 28755 h 15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73"/>
                  <a:gd name="T70" fmla="*/ 0 h 159"/>
                  <a:gd name="T71" fmla="*/ 173 w 173"/>
                  <a:gd name="T72" fmla="*/ 159 h 159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73" h="159">
                    <a:moveTo>
                      <a:pt x="155" y="144"/>
                    </a:moveTo>
                    <a:lnTo>
                      <a:pt x="155" y="144"/>
                    </a:lnTo>
                    <a:lnTo>
                      <a:pt x="155" y="96"/>
                    </a:lnTo>
                    <a:lnTo>
                      <a:pt x="173" y="63"/>
                    </a:lnTo>
                    <a:lnTo>
                      <a:pt x="155" y="30"/>
                    </a:lnTo>
                    <a:lnTo>
                      <a:pt x="138" y="15"/>
                    </a:lnTo>
                    <a:lnTo>
                      <a:pt x="104" y="15"/>
                    </a:lnTo>
                    <a:lnTo>
                      <a:pt x="86" y="0"/>
                    </a:lnTo>
                    <a:lnTo>
                      <a:pt x="69" y="15"/>
                    </a:lnTo>
                    <a:lnTo>
                      <a:pt x="52" y="0"/>
                    </a:lnTo>
                    <a:lnTo>
                      <a:pt x="34" y="15"/>
                    </a:lnTo>
                    <a:lnTo>
                      <a:pt x="17" y="15"/>
                    </a:lnTo>
                    <a:lnTo>
                      <a:pt x="17" y="30"/>
                    </a:lnTo>
                    <a:lnTo>
                      <a:pt x="17" y="48"/>
                    </a:lnTo>
                    <a:lnTo>
                      <a:pt x="17" y="63"/>
                    </a:lnTo>
                    <a:lnTo>
                      <a:pt x="17" y="78"/>
                    </a:lnTo>
                    <a:lnTo>
                      <a:pt x="0" y="78"/>
                    </a:lnTo>
                    <a:lnTo>
                      <a:pt x="0" y="111"/>
                    </a:lnTo>
                    <a:lnTo>
                      <a:pt x="34" y="126"/>
                    </a:lnTo>
                    <a:lnTo>
                      <a:pt x="34" y="159"/>
                    </a:lnTo>
                    <a:lnTo>
                      <a:pt x="69" y="144"/>
                    </a:lnTo>
                    <a:lnTo>
                      <a:pt x="121" y="144"/>
                    </a:lnTo>
                    <a:lnTo>
                      <a:pt x="155" y="14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1" name="Freeform 307">
                <a:extLst>
                  <a:ext uri="{FF2B5EF4-FFF2-40B4-BE49-F238E27FC236}">
                    <a16:creationId xmlns:a16="http://schemas.microsoft.com/office/drawing/2014/main" id="{80821F4F-D855-4690-A409-46C9B59034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8362" y="3673651"/>
                <a:ext cx="169049" cy="122719"/>
              </a:xfrm>
              <a:custGeom>
                <a:avLst/>
                <a:gdLst>
                  <a:gd name="T0" fmla="*/ 0 w 208"/>
                  <a:gd name="T1" fmla="*/ 22225 h 144"/>
                  <a:gd name="T2" fmla="*/ 0 w 208"/>
                  <a:gd name="T3" fmla="*/ 22225 h 144"/>
                  <a:gd name="T4" fmla="*/ 3144 w 208"/>
                  <a:gd name="T5" fmla="*/ 19050 h 144"/>
                  <a:gd name="T6" fmla="*/ 10220 w 208"/>
                  <a:gd name="T7" fmla="*/ 9525 h 144"/>
                  <a:gd name="T8" fmla="*/ 16509 w 208"/>
                  <a:gd name="T9" fmla="*/ 7144 h 144"/>
                  <a:gd name="T10" fmla="*/ 23584 w 208"/>
                  <a:gd name="T11" fmla="*/ 0 h 144"/>
                  <a:gd name="T12" fmla="*/ 29873 w 208"/>
                  <a:gd name="T13" fmla="*/ 0 h 144"/>
                  <a:gd name="T14" fmla="*/ 29873 w 208"/>
                  <a:gd name="T15" fmla="*/ 7144 h 144"/>
                  <a:gd name="T16" fmla="*/ 36948 w 208"/>
                  <a:gd name="T17" fmla="*/ 13494 h 144"/>
                  <a:gd name="T18" fmla="*/ 40092 w 208"/>
                  <a:gd name="T19" fmla="*/ 13494 h 144"/>
                  <a:gd name="T20" fmla="*/ 40092 w 208"/>
                  <a:gd name="T21" fmla="*/ 15875 h 144"/>
                  <a:gd name="T22" fmla="*/ 33803 w 208"/>
                  <a:gd name="T23" fmla="*/ 19050 h 144"/>
                  <a:gd name="T24" fmla="*/ 26728 w 208"/>
                  <a:gd name="T25" fmla="*/ 19050 h 144"/>
                  <a:gd name="T26" fmla="*/ 13364 w 208"/>
                  <a:gd name="T27" fmla="*/ 19050 h 144"/>
                  <a:gd name="T28" fmla="*/ 13364 w 208"/>
                  <a:gd name="T29" fmla="*/ 22225 h 144"/>
                  <a:gd name="T30" fmla="*/ 13364 w 208"/>
                  <a:gd name="T31" fmla="*/ 28575 h 144"/>
                  <a:gd name="T32" fmla="*/ 10220 w 208"/>
                  <a:gd name="T33" fmla="*/ 26194 h 144"/>
                  <a:gd name="T34" fmla="*/ 3144 w 208"/>
                  <a:gd name="T35" fmla="*/ 26194 h 144"/>
                  <a:gd name="T36" fmla="*/ 0 w 208"/>
                  <a:gd name="T37" fmla="*/ 22225 h 14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208"/>
                  <a:gd name="T58" fmla="*/ 0 h 144"/>
                  <a:gd name="T59" fmla="*/ 208 w 208"/>
                  <a:gd name="T60" fmla="*/ 144 h 144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208" h="144">
                    <a:moveTo>
                      <a:pt x="0" y="114"/>
                    </a:moveTo>
                    <a:lnTo>
                      <a:pt x="0" y="114"/>
                    </a:lnTo>
                    <a:lnTo>
                      <a:pt x="18" y="96"/>
                    </a:lnTo>
                    <a:lnTo>
                      <a:pt x="52" y="48"/>
                    </a:lnTo>
                    <a:lnTo>
                      <a:pt x="87" y="33"/>
                    </a:lnTo>
                    <a:lnTo>
                      <a:pt x="121" y="0"/>
                    </a:lnTo>
                    <a:lnTo>
                      <a:pt x="156" y="0"/>
                    </a:lnTo>
                    <a:lnTo>
                      <a:pt x="156" y="33"/>
                    </a:lnTo>
                    <a:lnTo>
                      <a:pt x="190" y="66"/>
                    </a:lnTo>
                    <a:lnTo>
                      <a:pt x="208" y="66"/>
                    </a:lnTo>
                    <a:lnTo>
                      <a:pt x="208" y="81"/>
                    </a:lnTo>
                    <a:lnTo>
                      <a:pt x="173" y="96"/>
                    </a:lnTo>
                    <a:lnTo>
                      <a:pt x="138" y="96"/>
                    </a:lnTo>
                    <a:lnTo>
                      <a:pt x="69" y="96"/>
                    </a:lnTo>
                    <a:lnTo>
                      <a:pt x="69" y="114"/>
                    </a:lnTo>
                    <a:lnTo>
                      <a:pt x="69" y="144"/>
                    </a:lnTo>
                    <a:lnTo>
                      <a:pt x="52" y="129"/>
                    </a:lnTo>
                    <a:lnTo>
                      <a:pt x="18" y="129"/>
                    </a:lnTo>
                    <a:lnTo>
                      <a:pt x="0" y="11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2" name="Freeform 308">
                <a:extLst>
                  <a:ext uri="{FF2B5EF4-FFF2-40B4-BE49-F238E27FC236}">
                    <a16:creationId xmlns:a16="http://schemas.microsoft.com/office/drawing/2014/main" id="{44A85A1A-ED42-445F-B19D-1DE3908469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41607" y="3755463"/>
                <a:ext cx="42673" cy="109084"/>
              </a:xfrm>
              <a:custGeom>
                <a:avLst/>
                <a:gdLst>
                  <a:gd name="T0" fmla="*/ 7144 w 52"/>
                  <a:gd name="T1" fmla="*/ 0 h 129"/>
                  <a:gd name="T2" fmla="*/ 7144 w 52"/>
                  <a:gd name="T3" fmla="*/ 0 h 129"/>
                  <a:gd name="T4" fmla="*/ 0 w 52"/>
                  <a:gd name="T5" fmla="*/ 0 h 129"/>
                  <a:gd name="T6" fmla="*/ 3969 w 52"/>
                  <a:gd name="T7" fmla="*/ 12602 h 129"/>
                  <a:gd name="T8" fmla="*/ 7144 w 52"/>
                  <a:gd name="T9" fmla="*/ 22053 h 129"/>
                  <a:gd name="T10" fmla="*/ 7144 w 52"/>
                  <a:gd name="T11" fmla="*/ 25203 h 129"/>
                  <a:gd name="T12" fmla="*/ 10319 w 52"/>
                  <a:gd name="T13" fmla="*/ 25203 h 129"/>
                  <a:gd name="T14" fmla="*/ 10319 w 52"/>
                  <a:gd name="T15" fmla="*/ 12602 h 129"/>
                  <a:gd name="T16" fmla="*/ 10319 w 52"/>
                  <a:gd name="T17" fmla="*/ 6301 h 129"/>
                  <a:gd name="T18" fmla="*/ 7144 w 52"/>
                  <a:gd name="T19" fmla="*/ 3150 h 129"/>
                  <a:gd name="T20" fmla="*/ 7144 w 52"/>
                  <a:gd name="T21" fmla="*/ 0 h 12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2"/>
                  <a:gd name="T34" fmla="*/ 0 h 129"/>
                  <a:gd name="T35" fmla="*/ 52 w 52"/>
                  <a:gd name="T36" fmla="*/ 129 h 129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2" h="129">
                    <a:moveTo>
                      <a:pt x="35" y="0"/>
                    </a:moveTo>
                    <a:lnTo>
                      <a:pt x="35" y="0"/>
                    </a:lnTo>
                    <a:lnTo>
                      <a:pt x="0" y="0"/>
                    </a:lnTo>
                    <a:lnTo>
                      <a:pt x="18" y="66"/>
                    </a:lnTo>
                    <a:lnTo>
                      <a:pt x="35" y="114"/>
                    </a:lnTo>
                    <a:lnTo>
                      <a:pt x="35" y="129"/>
                    </a:lnTo>
                    <a:lnTo>
                      <a:pt x="52" y="129"/>
                    </a:lnTo>
                    <a:lnTo>
                      <a:pt x="52" y="66"/>
                    </a:lnTo>
                    <a:lnTo>
                      <a:pt x="52" y="33"/>
                    </a:lnTo>
                    <a:lnTo>
                      <a:pt x="35" y="18"/>
                    </a:lnTo>
                    <a:lnTo>
                      <a:pt x="35" y="0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3" name="Freeform 310">
                <a:extLst>
                  <a:ext uri="{FF2B5EF4-FFF2-40B4-BE49-F238E27FC236}">
                    <a16:creationId xmlns:a16="http://schemas.microsoft.com/office/drawing/2014/main" id="{7A7EBBDF-4AA0-4B0E-B28B-98F62F4808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9197" y="3632745"/>
                <a:ext cx="141147" cy="95448"/>
              </a:xfrm>
              <a:custGeom>
                <a:avLst/>
                <a:gdLst>
                  <a:gd name="T0" fmla="*/ 3157 w 173"/>
                  <a:gd name="T1" fmla="*/ 18095 h 113"/>
                  <a:gd name="T2" fmla="*/ 3157 w 173"/>
                  <a:gd name="T3" fmla="*/ 18095 h 113"/>
                  <a:gd name="T4" fmla="*/ 6313 w 173"/>
                  <a:gd name="T5" fmla="*/ 18095 h 113"/>
                  <a:gd name="T6" fmla="*/ 13416 w 173"/>
                  <a:gd name="T7" fmla="*/ 15735 h 113"/>
                  <a:gd name="T8" fmla="*/ 16572 w 173"/>
                  <a:gd name="T9" fmla="*/ 18095 h 113"/>
                  <a:gd name="T10" fmla="*/ 20518 w 173"/>
                  <a:gd name="T11" fmla="*/ 15735 h 113"/>
                  <a:gd name="T12" fmla="*/ 13416 w 173"/>
                  <a:gd name="T13" fmla="*/ 15735 h 113"/>
                  <a:gd name="T14" fmla="*/ 3157 w 173"/>
                  <a:gd name="T15" fmla="*/ 15735 h 113"/>
                  <a:gd name="T16" fmla="*/ 0 w 173"/>
                  <a:gd name="T17" fmla="*/ 8654 h 113"/>
                  <a:gd name="T18" fmla="*/ 3157 w 173"/>
                  <a:gd name="T19" fmla="*/ 3147 h 113"/>
                  <a:gd name="T20" fmla="*/ 6313 w 173"/>
                  <a:gd name="T21" fmla="*/ 0 h 113"/>
                  <a:gd name="T22" fmla="*/ 13416 w 173"/>
                  <a:gd name="T23" fmla="*/ 0 h 113"/>
                  <a:gd name="T24" fmla="*/ 23675 w 173"/>
                  <a:gd name="T25" fmla="*/ 3147 h 113"/>
                  <a:gd name="T26" fmla="*/ 26832 w 173"/>
                  <a:gd name="T27" fmla="*/ 8654 h 113"/>
                  <a:gd name="T28" fmla="*/ 33934 w 173"/>
                  <a:gd name="T29" fmla="*/ 22028 h 113"/>
                  <a:gd name="T30" fmla="*/ 20518 w 173"/>
                  <a:gd name="T31" fmla="*/ 22028 h 113"/>
                  <a:gd name="T32" fmla="*/ 3157 w 173"/>
                  <a:gd name="T33" fmla="*/ 22028 h 113"/>
                  <a:gd name="T34" fmla="*/ 3157 w 173"/>
                  <a:gd name="T35" fmla="*/ 18095 h 113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173"/>
                  <a:gd name="T55" fmla="*/ 0 h 113"/>
                  <a:gd name="T56" fmla="*/ 173 w 173"/>
                  <a:gd name="T57" fmla="*/ 113 h 113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173" h="113">
                    <a:moveTo>
                      <a:pt x="17" y="95"/>
                    </a:moveTo>
                    <a:lnTo>
                      <a:pt x="17" y="95"/>
                    </a:lnTo>
                    <a:lnTo>
                      <a:pt x="35" y="95"/>
                    </a:lnTo>
                    <a:lnTo>
                      <a:pt x="69" y="80"/>
                    </a:lnTo>
                    <a:lnTo>
                      <a:pt x="86" y="95"/>
                    </a:lnTo>
                    <a:lnTo>
                      <a:pt x="104" y="80"/>
                    </a:lnTo>
                    <a:lnTo>
                      <a:pt x="69" y="80"/>
                    </a:lnTo>
                    <a:lnTo>
                      <a:pt x="17" y="80"/>
                    </a:lnTo>
                    <a:lnTo>
                      <a:pt x="0" y="47"/>
                    </a:lnTo>
                    <a:lnTo>
                      <a:pt x="17" y="17"/>
                    </a:lnTo>
                    <a:lnTo>
                      <a:pt x="35" y="0"/>
                    </a:lnTo>
                    <a:lnTo>
                      <a:pt x="69" y="0"/>
                    </a:lnTo>
                    <a:lnTo>
                      <a:pt x="121" y="17"/>
                    </a:lnTo>
                    <a:lnTo>
                      <a:pt x="138" y="47"/>
                    </a:lnTo>
                    <a:lnTo>
                      <a:pt x="173" y="113"/>
                    </a:lnTo>
                    <a:lnTo>
                      <a:pt x="104" y="113"/>
                    </a:lnTo>
                    <a:lnTo>
                      <a:pt x="17" y="113"/>
                    </a:lnTo>
                    <a:lnTo>
                      <a:pt x="17" y="9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4" name="Freeform 311">
                <a:extLst>
                  <a:ext uri="{FF2B5EF4-FFF2-40B4-BE49-F238E27FC236}">
                    <a16:creationId xmlns:a16="http://schemas.microsoft.com/office/drawing/2014/main" id="{F5AA1E0E-AD04-4BE5-9991-88D07AA482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5806" y="3755463"/>
                <a:ext cx="85344" cy="136353"/>
              </a:xfrm>
              <a:custGeom>
                <a:avLst/>
                <a:gdLst>
                  <a:gd name="T0" fmla="*/ 0 w 104"/>
                  <a:gd name="T1" fmla="*/ 9407 h 162"/>
                  <a:gd name="T2" fmla="*/ 0 w 104"/>
                  <a:gd name="T3" fmla="*/ 9407 h 162"/>
                  <a:gd name="T4" fmla="*/ 0 w 104"/>
                  <a:gd name="T5" fmla="*/ 3136 h 162"/>
                  <a:gd name="T6" fmla="*/ 0 w 104"/>
                  <a:gd name="T7" fmla="*/ 0 h 162"/>
                  <a:gd name="T8" fmla="*/ 14288 w 104"/>
                  <a:gd name="T9" fmla="*/ 0 h 162"/>
                  <a:gd name="T10" fmla="*/ 17463 w 104"/>
                  <a:gd name="T11" fmla="*/ 12543 h 162"/>
                  <a:gd name="T12" fmla="*/ 20638 w 104"/>
                  <a:gd name="T13" fmla="*/ 21951 h 162"/>
                  <a:gd name="T14" fmla="*/ 20638 w 104"/>
                  <a:gd name="T15" fmla="*/ 25086 h 162"/>
                  <a:gd name="T16" fmla="*/ 3969 w 104"/>
                  <a:gd name="T17" fmla="*/ 31358 h 162"/>
                  <a:gd name="T18" fmla="*/ 0 w 104"/>
                  <a:gd name="T19" fmla="*/ 31358 h 162"/>
                  <a:gd name="T20" fmla="*/ 0 w 104"/>
                  <a:gd name="T21" fmla="*/ 21951 h 162"/>
                  <a:gd name="T22" fmla="*/ 3969 w 104"/>
                  <a:gd name="T23" fmla="*/ 15679 h 162"/>
                  <a:gd name="T24" fmla="*/ 0 w 104"/>
                  <a:gd name="T25" fmla="*/ 9407 h 16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04"/>
                  <a:gd name="T40" fmla="*/ 0 h 162"/>
                  <a:gd name="T41" fmla="*/ 104 w 104"/>
                  <a:gd name="T42" fmla="*/ 162 h 16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04" h="162">
                    <a:moveTo>
                      <a:pt x="0" y="48"/>
                    </a:moveTo>
                    <a:lnTo>
                      <a:pt x="0" y="4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69" y="0"/>
                    </a:lnTo>
                    <a:lnTo>
                      <a:pt x="87" y="66"/>
                    </a:lnTo>
                    <a:lnTo>
                      <a:pt x="104" y="114"/>
                    </a:lnTo>
                    <a:lnTo>
                      <a:pt x="104" y="129"/>
                    </a:lnTo>
                    <a:lnTo>
                      <a:pt x="18" y="162"/>
                    </a:lnTo>
                    <a:lnTo>
                      <a:pt x="0" y="162"/>
                    </a:lnTo>
                    <a:lnTo>
                      <a:pt x="0" y="114"/>
                    </a:lnTo>
                    <a:lnTo>
                      <a:pt x="18" y="81"/>
                    </a:lnTo>
                    <a:lnTo>
                      <a:pt x="0" y="4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5" name="Freeform 312">
                <a:extLst>
                  <a:ext uri="{FF2B5EF4-FFF2-40B4-BE49-F238E27FC236}">
                    <a16:creationId xmlns:a16="http://schemas.microsoft.com/office/drawing/2014/main" id="{209329B1-E351-41FB-ADA4-6165944436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2181" y="3700922"/>
                <a:ext cx="259316" cy="204530"/>
              </a:xfrm>
              <a:custGeom>
                <a:avLst/>
                <a:gdLst>
                  <a:gd name="T0" fmla="*/ 30859 w 317"/>
                  <a:gd name="T1" fmla="*/ 45244 h 240"/>
                  <a:gd name="T2" fmla="*/ 30859 w 317"/>
                  <a:gd name="T3" fmla="*/ 45244 h 240"/>
                  <a:gd name="T4" fmla="*/ 37980 w 317"/>
                  <a:gd name="T5" fmla="*/ 35719 h 240"/>
                  <a:gd name="T6" fmla="*/ 41145 w 317"/>
                  <a:gd name="T7" fmla="*/ 35719 h 240"/>
                  <a:gd name="T8" fmla="*/ 45101 w 317"/>
                  <a:gd name="T9" fmla="*/ 38100 h 240"/>
                  <a:gd name="T10" fmla="*/ 48266 w 317"/>
                  <a:gd name="T11" fmla="*/ 35719 h 240"/>
                  <a:gd name="T12" fmla="*/ 55387 w 317"/>
                  <a:gd name="T13" fmla="*/ 26194 h 240"/>
                  <a:gd name="T14" fmla="*/ 58552 w 317"/>
                  <a:gd name="T15" fmla="*/ 16669 h 240"/>
                  <a:gd name="T16" fmla="*/ 62508 w 317"/>
                  <a:gd name="T17" fmla="*/ 9525 h 240"/>
                  <a:gd name="T18" fmla="*/ 62508 w 317"/>
                  <a:gd name="T19" fmla="*/ 7144 h 240"/>
                  <a:gd name="T20" fmla="*/ 62508 w 317"/>
                  <a:gd name="T21" fmla="*/ 3175 h 240"/>
                  <a:gd name="T22" fmla="*/ 58552 w 317"/>
                  <a:gd name="T23" fmla="*/ 0 h 240"/>
                  <a:gd name="T24" fmla="*/ 55387 w 317"/>
                  <a:gd name="T25" fmla="*/ 0 h 240"/>
                  <a:gd name="T26" fmla="*/ 52222 w 317"/>
                  <a:gd name="T27" fmla="*/ 3175 h 240"/>
                  <a:gd name="T28" fmla="*/ 41145 w 317"/>
                  <a:gd name="T29" fmla="*/ 3175 h 240"/>
                  <a:gd name="T30" fmla="*/ 34815 w 317"/>
                  <a:gd name="T31" fmla="*/ 7144 h 240"/>
                  <a:gd name="T32" fmla="*/ 27694 w 317"/>
                  <a:gd name="T33" fmla="*/ 3175 h 240"/>
                  <a:gd name="T34" fmla="*/ 23737 w 317"/>
                  <a:gd name="T35" fmla="*/ 3175 h 240"/>
                  <a:gd name="T36" fmla="*/ 13451 w 317"/>
                  <a:gd name="T37" fmla="*/ 0 h 240"/>
                  <a:gd name="T38" fmla="*/ 10286 w 317"/>
                  <a:gd name="T39" fmla="*/ 0 h 240"/>
                  <a:gd name="T40" fmla="*/ 3165 w 317"/>
                  <a:gd name="T41" fmla="*/ 7144 h 240"/>
                  <a:gd name="T42" fmla="*/ 3165 w 317"/>
                  <a:gd name="T43" fmla="*/ 9525 h 240"/>
                  <a:gd name="T44" fmla="*/ 3165 w 317"/>
                  <a:gd name="T45" fmla="*/ 16669 h 240"/>
                  <a:gd name="T46" fmla="*/ 0 w 317"/>
                  <a:gd name="T47" fmla="*/ 28575 h 240"/>
                  <a:gd name="T48" fmla="*/ 0 w 317"/>
                  <a:gd name="T49" fmla="*/ 38100 h 240"/>
                  <a:gd name="T50" fmla="*/ 10286 w 317"/>
                  <a:gd name="T51" fmla="*/ 38100 h 240"/>
                  <a:gd name="T52" fmla="*/ 10286 w 317"/>
                  <a:gd name="T53" fmla="*/ 41275 h 240"/>
                  <a:gd name="T54" fmla="*/ 13451 w 317"/>
                  <a:gd name="T55" fmla="*/ 47625 h 240"/>
                  <a:gd name="T56" fmla="*/ 17407 w 317"/>
                  <a:gd name="T57" fmla="*/ 47625 h 240"/>
                  <a:gd name="T58" fmla="*/ 30859 w 317"/>
                  <a:gd name="T59" fmla="*/ 47625 h 240"/>
                  <a:gd name="T60" fmla="*/ 30859 w 317"/>
                  <a:gd name="T61" fmla="*/ 45244 h 24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317"/>
                  <a:gd name="T94" fmla="*/ 0 h 240"/>
                  <a:gd name="T95" fmla="*/ 317 w 317"/>
                  <a:gd name="T96" fmla="*/ 240 h 240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317" h="240">
                    <a:moveTo>
                      <a:pt x="159" y="225"/>
                    </a:moveTo>
                    <a:lnTo>
                      <a:pt x="159" y="225"/>
                    </a:lnTo>
                    <a:lnTo>
                      <a:pt x="194" y="177"/>
                    </a:lnTo>
                    <a:lnTo>
                      <a:pt x="211" y="177"/>
                    </a:lnTo>
                    <a:lnTo>
                      <a:pt x="228" y="192"/>
                    </a:lnTo>
                    <a:lnTo>
                      <a:pt x="246" y="177"/>
                    </a:lnTo>
                    <a:lnTo>
                      <a:pt x="282" y="129"/>
                    </a:lnTo>
                    <a:lnTo>
                      <a:pt x="299" y="81"/>
                    </a:lnTo>
                    <a:lnTo>
                      <a:pt x="317" y="48"/>
                    </a:lnTo>
                    <a:lnTo>
                      <a:pt x="317" y="33"/>
                    </a:lnTo>
                    <a:lnTo>
                      <a:pt x="317" y="15"/>
                    </a:lnTo>
                    <a:lnTo>
                      <a:pt x="299" y="0"/>
                    </a:lnTo>
                    <a:lnTo>
                      <a:pt x="282" y="0"/>
                    </a:lnTo>
                    <a:lnTo>
                      <a:pt x="265" y="15"/>
                    </a:lnTo>
                    <a:lnTo>
                      <a:pt x="211" y="15"/>
                    </a:lnTo>
                    <a:lnTo>
                      <a:pt x="177" y="33"/>
                    </a:lnTo>
                    <a:lnTo>
                      <a:pt x="142" y="15"/>
                    </a:lnTo>
                    <a:lnTo>
                      <a:pt x="123" y="15"/>
                    </a:lnTo>
                    <a:lnTo>
                      <a:pt x="71" y="0"/>
                    </a:lnTo>
                    <a:lnTo>
                      <a:pt x="54" y="0"/>
                    </a:lnTo>
                    <a:lnTo>
                      <a:pt x="19" y="33"/>
                    </a:lnTo>
                    <a:lnTo>
                      <a:pt x="19" y="48"/>
                    </a:lnTo>
                    <a:lnTo>
                      <a:pt x="19" y="81"/>
                    </a:lnTo>
                    <a:lnTo>
                      <a:pt x="0" y="144"/>
                    </a:lnTo>
                    <a:lnTo>
                      <a:pt x="0" y="192"/>
                    </a:lnTo>
                    <a:lnTo>
                      <a:pt x="54" y="192"/>
                    </a:lnTo>
                    <a:lnTo>
                      <a:pt x="54" y="207"/>
                    </a:lnTo>
                    <a:lnTo>
                      <a:pt x="71" y="240"/>
                    </a:lnTo>
                    <a:lnTo>
                      <a:pt x="88" y="240"/>
                    </a:lnTo>
                    <a:lnTo>
                      <a:pt x="159" y="240"/>
                    </a:lnTo>
                    <a:lnTo>
                      <a:pt x="159" y="22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6" name="Freeform 313">
                <a:extLst>
                  <a:ext uri="{FF2B5EF4-FFF2-40B4-BE49-F238E27FC236}">
                    <a16:creationId xmlns:a16="http://schemas.microsoft.com/office/drawing/2014/main" id="{F5AAFE8B-D291-426C-AA88-C14B40B082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1150" y="3728193"/>
                <a:ext cx="57444" cy="136353"/>
              </a:xfrm>
              <a:custGeom>
                <a:avLst/>
                <a:gdLst>
                  <a:gd name="T0" fmla="*/ 7247 w 69"/>
                  <a:gd name="T1" fmla="*/ 3195 h 159"/>
                  <a:gd name="T2" fmla="*/ 7247 w 69"/>
                  <a:gd name="T3" fmla="*/ 3195 h 159"/>
                  <a:gd name="T4" fmla="*/ 0 w 69"/>
                  <a:gd name="T5" fmla="*/ 6390 h 159"/>
                  <a:gd name="T6" fmla="*/ 0 w 69"/>
                  <a:gd name="T7" fmla="*/ 9585 h 159"/>
                  <a:gd name="T8" fmla="*/ 4026 w 69"/>
                  <a:gd name="T9" fmla="*/ 12780 h 159"/>
                  <a:gd name="T10" fmla="*/ 4026 w 69"/>
                  <a:gd name="T11" fmla="*/ 19170 h 159"/>
                  <a:gd name="T12" fmla="*/ 4026 w 69"/>
                  <a:gd name="T13" fmla="*/ 31950 h 159"/>
                  <a:gd name="T14" fmla="*/ 10468 w 69"/>
                  <a:gd name="T15" fmla="*/ 31950 h 159"/>
                  <a:gd name="T16" fmla="*/ 10468 w 69"/>
                  <a:gd name="T17" fmla="*/ 22365 h 159"/>
                  <a:gd name="T18" fmla="*/ 14495 w 69"/>
                  <a:gd name="T19" fmla="*/ 9585 h 159"/>
                  <a:gd name="T20" fmla="*/ 14495 w 69"/>
                  <a:gd name="T21" fmla="*/ 3195 h 159"/>
                  <a:gd name="T22" fmla="*/ 10468 w 69"/>
                  <a:gd name="T23" fmla="*/ 0 h 159"/>
                  <a:gd name="T24" fmla="*/ 7247 w 69"/>
                  <a:gd name="T25" fmla="*/ 0 h 159"/>
                  <a:gd name="T26" fmla="*/ 7247 w 69"/>
                  <a:gd name="T27" fmla="*/ 3195 h 15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69"/>
                  <a:gd name="T43" fmla="*/ 0 h 159"/>
                  <a:gd name="T44" fmla="*/ 69 w 69"/>
                  <a:gd name="T45" fmla="*/ 159 h 15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69" h="159">
                    <a:moveTo>
                      <a:pt x="35" y="15"/>
                    </a:moveTo>
                    <a:lnTo>
                      <a:pt x="35" y="15"/>
                    </a:lnTo>
                    <a:lnTo>
                      <a:pt x="0" y="30"/>
                    </a:lnTo>
                    <a:lnTo>
                      <a:pt x="0" y="48"/>
                    </a:lnTo>
                    <a:lnTo>
                      <a:pt x="17" y="63"/>
                    </a:lnTo>
                    <a:lnTo>
                      <a:pt x="17" y="96"/>
                    </a:lnTo>
                    <a:lnTo>
                      <a:pt x="17" y="159"/>
                    </a:lnTo>
                    <a:lnTo>
                      <a:pt x="52" y="159"/>
                    </a:lnTo>
                    <a:lnTo>
                      <a:pt x="52" y="111"/>
                    </a:lnTo>
                    <a:lnTo>
                      <a:pt x="69" y="48"/>
                    </a:lnTo>
                    <a:lnTo>
                      <a:pt x="69" y="15"/>
                    </a:lnTo>
                    <a:lnTo>
                      <a:pt x="52" y="0"/>
                    </a:lnTo>
                    <a:lnTo>
                      <a:pt x="35" y="0"/>
                    </a:lnTo>
                    <a:lnTo>
                      <a:pt x="35" y="15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7" name="Freeform 314">
                <a:extLst>
                  <a:ext uri="{FF2B5EF4-FFF2-40B4-BE49-F238E27FC236}">
                    <a16:creationId xmlns:a16="http://schemas.microsoft.com/office/drawing/2014/main" id="{7F1F6715-5DAF-4BE0-8280-8710F8C2C8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5000" y="3728193"/>
                <a:ext cx="155919" cy="109084"/>
              </a:xfrm>
              <a:custGeom>
                <a:avLst/>
                <a:gdLst>
                  <a:gd name="T0" fmla="*/ 34925 w 190"/>
                  <a:gd name="T1" fmla="*/ 26610 h 126"/>
                  <a:gd name="T2" fmla="*/ 34925 w 190"/>
                  <a:gd name="T3" fmla="*/ 26610 h 126"/>
                  <a:gd name="T4" fmla="*/ 38100 w 190"/>
                  <a:gd name="T5" fmla="*/ 26610 h 126"/>
                  <a:gd name="T6" fmla="*/ 38100 w 190"/>
                  <a:gd name="T7" fmla="*/ 22578 h 126"/>
                  <a:gd name="T8" fmla="*/ 38100 w 190"/>
                  <a:gd name="T9" fmla="*/ 20159 h 126"/>
                  <a:gd name="T10" fmla="*/ 38100 w 190"/>
                  <a:gd name="T11" fmla="*/ 16127 h 126"/>
                  <a:gd name="T12" fmla="*/ 38100 w 190"/>
                  <a:gd name="T13" fmla="*/ 12902 h 126"/>
                  <a:gd name="T14" fmla="*/ 30956 w 190"/>
                  <a:gd name="T15" fmla="*/ 0 h 126"/>
                  <a:gd name="T16" fmla="*/ 23813 w 190"/>
                  <a:gd name="T17" fmla="*/ 3225 h 126"/>
                  <a:gd name="T18" fmla="*/ 17463 w 190"/>
                  <a:gd name="T19" fmla="*/ 3225 h 126"/>
                  <a:gd name="T20" fmla="*/ 20638 w 190"/>
                  <a:gd name="T21" fmla="*/ 0 h 126"/>
                  <a:gd name="T22" fmla="*/ 7144 w 190"/>
                  <a:gd name="T23" fmla="*/ 0 h 126"/>
                  <a:gd name="T24" fmla="*/ 7144 w 190"/>
                  <a:gd name="T25" fmla="*/ 3225 h 126"/>
                  <a:gd name="T26" fmla="*/ 0 w 190"/>
                  <a:gd name="T27" fmla="*/ 9676 h 126"/>
                  <a:gd name="T28" fmla="*/ 10319 w 190"/>
                  <a:gd name="T29" fmla="*/ 16127 h 126"/>
                  <a:gd name="T30" fmla="*/ 14288 w 190"/>
                  <a:gd name="T31" fmla="*/ 12902 h 126"/>
                  <a:gd name="T32" fmla="*/ 17463 w 190"/>
                  <a:gd name="T33" fmla="*/ 12902 h 126"/>
                  <a:gd name="T34" fmla="*/ 23813 w 190"/>
                  <a:gd name="T35" fmla="*/ 20159 h 126"/>
                  <a:gd name="T36" fmla="*/ 23813 w 190"/>
                  <a:gd name="T37" fmla="*/ 22578 h 126"/>
                  <a:gd name="T38" fmla="*/ 27781 w 190"/>
                  <a:gd name="T39" fmla="*/ 20159 h 126"/>
                  <a:gd name="T40" fmla="*/ 30956 w 190"/>
                  <a:gd name="T41" fmla="*/ 26610 h 126"/>
                  <a:gd name="T42" fmla="*/ 34925 w 190"/>
                  <a:gd name="T43" fmla="*/ 26610 h 12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190"/>
                  <a:gd name="T67" fmla="*/ 0 h 126"/>
                  <a:gd name="T68" fmla="*/ 190 w 190"/>
                  <a:gd name="T69" fmla="*/ 126 h 12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190" h="126">
                    <a:moveTo>
                      <a:pt x="173" y="126"/>
                    </a:moveTo>
                    <a:lnTo>
                      <a:pt x="173" y="126"/>
                    </a:lnTo>
                    <a:lnTo>
                      <a:pt x="190" y="126"/>
                    </a:lnTo>
                    <a:lnTo>
                      <a:pt x="190" y="111"/>
                    </a:lnTo>
                    <a:lnTo>
                      <a:pt x="190" y="96"/>
                    </a:lnTo>
                    <a:lnTo>
                      <a:pt x="190" y="78"/>
                    </a:lnTo>
                    <a:lnTo>
                      <a:pt x="190" y="63"/>
                    </a:lnTo>
                    <a:lnTo>
                      <a:pt x="156" y="0"/>
                    </a:lnTo>
                    <a:lnTo>
                      <a:pt x="121" y="15"/>
                    </a:lnTo>
                    <a:lnTo>
                      <a:pt x="87" y="15"/>
                    </a:lnTo>
                    <a:lnTo>
                      <a:pt x="104" y="0"/>
                    </a:lnTo>
                    <a:lnTo>
                      <a:pt x="35" y="0"/>
                    </a:lnTo>
                    <a:lnTo>
                      <a:pt x="35" y="15"/>
                    </a:lnTo>
                    <a:lnTo>
                      <a:pt x="0" y="48"/>
                    </a:lnTo>
                    <a:lnTo>
                      <a:pt x="52" y="78"/>
                    </a:lnTo>
                    <a:lnTo>
                      <a:pt x="69" y="63"/>
                    </a:lnTo>
                    <a:lnTo>
                      <a:pt x="87" y="63"/>
                    </a:lnTo>
                    <a:lnTo>
                      <a:pt x="121" y="96"/>
                    </a:lnTo>
                    <a:lnTo>
                      <a:pt x="121" y="111"/>
                    </a:lnTo>
                    <a:lnTo>
                      <a:pt x="138" y="96"/>
                    </a:lnTo>
                    <a:lnTo>
                      <a:pt x="156" y="126"/>
                    </a:lnTo>
                    <a:lnTo>
                      <a:pt x="173" y="12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30" name="Group 129">
              <a:extLst>
                <a:ext uri="{FF2B5EF4-FFF2-40B4-BE49-F238E27FC236}">
                  <a16:creationId xmlns:a16="http://schemas.microsoft.com/office/drawing/2014/main" id="{B72D10D3-BC41-4D93-8BCC-80BF76A919BF}"/>
                </a:ext>
              </a:extLst>
            </p:cNvPr>
            <p:cNvGrpSpPr/>
            <p:nvPr/>
          </p:nvGrpSpPr>
          <p:grpSpPr>
            <a:xfrm>
              <a:off x="7356141" y="2873598"/>
              <a:ext cx="2921881" cy="2927546"/>
              <a:chOff x="7364681" y="2610090"/>
              <a:chExt cx="2517666" cy="2522547"/>
            </a:xfrm>
            <a:pattFill prst="pct50">
              <a:fgClr>
                <a:srgbClr val="7030A0"/>
              </a:fgClr>
              <a:bgClr>
                <a:schemeClr val="bg1"/>
              </a:bgClr>
            </a:pattFill>
          </p:grpSpPr>
          <p:sp>
            <p:nvSpPr>
              <p:cNvPr id="131" name="Freeform 93">
                <a:extLst>
                  <a:ext uri="{FF2B5EF4-FFF2-40B4-BE49-F238E27FC236}">
                    <a16:creationId xmlns:a16="http://schemas.microsoft.com/office/drawing/2014/main" id="{F871FD39-6693-4F66-AECE-723A3DEE82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89279" y="4000900"/>
                <a:ext cx="224850" cy="190895"/>
              </a:xfrm>
              <a:custGeom>
                <a:avLst/>
                <a:gdLst>
                  <a:gd name="T0" fmla="*/ 53779 w 275"/>
                  <a:gd name="T1" fmla="*/ 12644 h 225"/>
                  <a:gd name="T2" fmla="*/ 53779 w 275"/>
                  <a:gd name="T3" fmla="*/ 12644 h 225"/>
                  <a:gd name="T4" fmla="*/ 53779 w 275"/>
                  <a:gd name="T5" fmla="*/ 25287 h 225"/>
                  <a:gd name="T6" fmla="*/ 53779 w 275"/>
                  <a:gd name="T7" fmla="*/ 44252 h 225"/>
                  <a:gd name="T8" fmla="*/ 47452 w 275"/>
                  <a:gd name="T9" fmla="*/ 37931 h 225"/>
                  <a:gd name="T10" fmla="*/ 37171 w 275"/>
                  <a:gd name="T11" fmla="*/ 41092 h 225"/>
                  <a:gd name="T12" fmla="*/ 40334 w 275"/>
                  <a:gd name="T13" fmla="*/ 34770 h 225"/>
                  <a:gd name="T14" fmla="*/ 37171 w 275"/>
                  <a:gd name="T15" fmla="*/ 28448 h 225"/>
                  <a:gd name="T16" fmla="*/ 13445 w 275"/>
                  <a:gd name="T17" fmla="*/ 15804 h 225"/>
                  <a:gd name="T18" fmla="*/ 10281 w 275"/>
                  <a:gd name="T19" fmla="*/ 18965 h 225"/>
                  <a:gd name="T20" fmla="*/ 10281 w 275"/>
                  <a:gd name="T21" fmla="*/ 15804 h 225"/>
                  <a:gd name="T22" fmla="*/ 6327 w 275"/>
                  <a:gd name="T23" fmla="*/ 12644 h 225"/>
                  <a:gd name="T24" fmla="*/ 13445 w 275"/>
                  <a:gd name="T25" fmla="*/ 12644 h 225"/>
                  <a:gd name="T26" fmla="*/ 16608 w 275"/>
                  <a:gd name="T27" fmla="*/ 9483 h 225"/>
                  <a:gd name="T28" fmla="*/ 6327 w 275"/>
                  <a:gd name="T29" fmla="*/ 9483 h 225"/>
                  <a:gd name="T30" fmla="*/ 3163 w 275"/>
                  <a:gd name="T31" fmla="*/ 6322 h 225"/>
                  <a:gd name="T32" fmla="*/ 0 w 275"/>
                  <a:gd name="T33" fmla="*/ 6322 h 225"/>
                  <a:gd name="T34" fmla="*/ 6327 w 275"/>
                  <a:gd name="T35" fmla="*/ 0 h 225"/>
                  <a:gd name="T36" fmla="*/ 10281 w 275"/>
                  <a:gd name="T37" fmla="*/ 0 h 225"/>
                  <a:gd name="T38" fmla="*/ 16608 w 275"/>
                  <a:gd name="T39" fmla="*/ 3161 h 225"/>
                  <a:gd name="T40" fmla="*/ 16608 w 275"/>
                  <a:gd name="T41" fmla="*/ 9483 h 225"/>
                  <a:gd name="T42" fmla="*/ 22935 w 275"/>
                  <a:gd name="T43" fmla="*/ 15804 h 225"/>
                  <a:gd name="T44" fmla="*/ 30053 w 275"/>
                  <a:gd name="T45" fmla="*/ 9483 h 225"/>
                  <a:gd name="T46" fmla="*/ 37171 w 275"/>
                  <a:gd name="T47" fmla="*/ 6322 h 225"/>
                  <a:gd name="T48" fmla="*/ 53779 w 275"/>
                  <a:gd name="T49" fmla="*/ 12644 h 225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275"/>
                  <a:gd name="T76" fmla="*/ 0 h 225"/>
                  <a:gd name="T77" fmla="*/ 275 w 275"/>
                  <a:gd name="T78" fmla="*/ 225 h 225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275" h="225">
                    <a:moveTo>
                      <a:pt x="275" y="65"/>
                    </a:moveTo>
                    <a:lnTo>
                      <a:pt x="275" y="65"/>
                    </a:lnTo>
                    <a:lnTo>
                      <a:pt x="275" y="129"/>
                    </a:lnTo>
                    <a:lnTo>
                      <a:pt x="275" y="225"/>
                    </a:lnTo>
                    <a:lnTo>
                      <a:pt x="240" y="192"/>
                    </a:lnTo>
                    <a:lnTo>
                      <a:pt x="189" y="209"/>
                    </a:lnTo>
                    <a:lnTo>
                      <a:pt x="206" y="177"/>
                    </a:lnTo>
                    <a:lnTo>
                      <a:pt x="189" y="144"/>
                    </a:lnTo>
                    <a:lnTo>
                      <a:pt x="68" y="81"/>
                    </a:lnTo>
                    <a:lnTo>
                      <a:pt x="52" y="96"/>
                    </a:lnTo>
                    <a:lnTo>
                      <a:pt x="52" y="81"/>
                    </a:lnTo>
                    <a:lnTo>
                      <a:pt x="35" y="65"/>
                    </a:lnTo>
                    <a:lnTo>
                      <a:pt x="68" y="65"/>
                    </a:lnTo>
                    <a:lnTo>
                      <a:pt x="85" y="48"/>
                    </a:lnTo>
                    <a:lnTo>
                      <a:pt x="35" y="48"/>
                    </a:lnTo>
                    <a:lnTo>
                      <a:pt x="18" y="33"/>
                    </a:lnTo>
                    <a:lnTo>
                      <a:pt x="0" y="33"/>
                    </a:lnTo>
                    <a:lnTo>
                      <a:pt x="35" y="0"/>
                    </a:lnTo>
                    <a:lnTo>
                      <a:pt x="52" y="0"/>
                    </a:lnTo>
                    <a:lnTo>
                      <a:pt x="85" y="18"/>
                    </a:lnTo>
                    <a:lnTo>
                      <a:pt x="85" y="48"/>
                    </a:lnTo>
                    <a:lnTo>
                      <a:pt x="119" y="81"/>
                    </a:lnTo>
                    <a:lnTo>
                      <a:pt x="154" y="48"/>
                    </a:lnTo>
                    <a:lnTo>
                      <a:pt x="189" y="33"/>
                    </a:lnTo>
                    <a:lnTo>
                      <a:pt x="275" y="6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2" name="Freeform 94">
                <a:extLst>
                  <a:ext uri="{FF2B5EF4-FFF2-40B4-BE49-F238E27FC236}">
                    <a16:creationId xmlns:a16="http://schemas.microsoft.com/office/drawing/2014/main" id="{92E5B8C7-9088-46C4-89E0-5F3F844F07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14129" y="4055441"/>
                <a:ext cx="215003" cy="177260"/>
              </a:xfrm>
              <a:custGeom>
                <a:avLst/>
                <a:gdLst>
                  <a:gd name="T0" fmla="*/ 0 w 261"/>
                  <a:gd name="T1" fmla="*/ 31750 h 208"/>
                  <a:gd name="T2" fmla="*/ 0 w 261"/>
                  <a:gd name="T3" fmla="*/ 31750 h 208"/>
                  <a:gd name="T4" fmla="*/ 0 w 261"/>
                  <a:gd name="T5" fmla="*/ 12700 h 208"/>
                  <a:gd name="T6" fmla="*/ 0 w 261"/>
                  <a:gd name="T7" fmla="*/ 0 h 208"/>
                  <a:gd name="T8" fmla="*/ 14342 w 261"/>
                  <a:gd name="T9" fmla="*/ 3175 h 208"/>
                  <a:gd name="T10" fmla="*/ 24701 w 261"/>
                  <a:gd name="T11" fmla="*/ 9525 h 208"/>
                  <a:gd name="T12" fmla="*/ 24701 w 261"/>
                  <a:gd name="T13" fmla="*/ 12700 h 208"/>
                  <a:gd name="T14" fmla="*/ 38246 w 261"/>
                  <a:gd name="T15" fmla="*/ 19050 h 208"/>
                  <a:gd name="T16" fmla="*/ 31872 w 261"/>
                  <a:gd name="T17" fmla="*/ 22225 h 208"/>
                  <a:gd name="T18" fmla="*/ 35059 w 261"/>
                  <a:gd name="T19" fmla="*/ 22225 h 208"/>
                  <a:gd name="T20" fmla="*/ 38246 w 261"/>
                  <a:gd name="T21" fmla="*/ 24606 h 208"/>
                  <a:gd name="T22" fmla="*/ 42230 w 261"/>
                  <a:gd name="T23" fmla="*/ 31750 h 208"/>
                  <a:gd name="T24" fmla="*/ 45417 w 261"/>
                  <a:gd name="T25" fmla="*/ 31750 h 208"/>
                  <a:gd name="T26" fmla="*/ 45417 w 261"/>
                  <a:gd name="T27" fmla="*/ 34925 h 208"/>
                  <a:gd name="T28" fmla="*/ 52588 w 261"/>
                  <a:gd name="T29" fmla="*/ 38100 h 208"/>
                  <a:gd name="T30" fmla="*/ 52588 w 261"/>
                  <a:gd name="T31" fmla="*/ 41275 h 208"/>
                  <a:gd name="T32" fmla="*/ 35059 w 261"/>
                  <a:gd name="T33" fmla="*/ 38100 h 208"/>
                  <a:gd name="T34" fmla="*/ 27888 w 261"/>
                  <a:gd name="T35" fmla="*/ 24606 h 208"/>
                  <a:gd name="T36" fmla="*/ 20717 w 261"/>
                  <a:gd name="T37" fmla="*/ 24606 h 208"/>
                  <a:gd name="T38" fmla="*/ 17529 w 261"/>
                  <a:gd name="T39" fmla="*/ 24606 h 208"/>
                  <a:gd name="T40" fmla="*/ 10358 w 261"/>
                  <a:gd name="T41" fmla="*/ 28575 h 208"/>
                  <a:gd name="T42" fmla="*/ 14342 w 261"/>
                  <a:gd name="T43" fmla="*/ 31750 h 208"/>
                  <a:gd name="T44" fmla="*/ 7171 w 261"/>
                  <a:gd name="T45" fmla="*/ 31750 h 208"/>
                  <a:gd name="T46" fmla="*/ 0 w 261"/>
                  <a:gd name="T47" fmla="*/ 31750 h 208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261"/>
                  <a:gd name="T73" fmla="*/ 0 h 208"/>
                  <a:gd name="T74" fmla="*/ 261 w 261"/>
                  <a:gd name="T75" fmla="*/ 208 h 208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261" h="208">
                    <a:moveTo>
                      <a:pt x="0" y="160"/>
                    </a:moveTo>
                    <a:lnTo>
                      <a:pt x="0" y="160"/>
                    </a:lnTo>
                    <a:lnTo>
                      <a:pt x="0" y="64"/>
                    </a:lnTo>
                    <a:lnTo>
                      <a:pt x="0" y="0"/>
                    </a:lnTo>
                    <a:lnTo>
                      <a:pt x="69" y="16"/>
                    </a:lnTo>
                    <a:lnTo>
                      <a:pt x="121" y="48"/>
                    </a:lnTo>
                    <a:lnTo>
                      <a:pt x="121" y="64"/>
                    </a:lnTo>
                    <a:lnTo>
                      <a:pt x="192" y="96"/>
                    </a:lnTo>
                    <a:lnTo>
                      <a:pt x="157" y="112"/>
                    </a:lnTo>
                    <a:lnTo>
                      <a:pt x="175" y="112"/>
                    </a:lnTo>
                    <a:lnTo>
                      <a:pt x="192" y="127"/>
                    </a:lnTo>
                    <a:lnTo>
                      <a:pt x="209" y="160"/>
                    </a:lnTo>
                    <a:lnTo>
                      <a:pt x="226" y="160"/>
                    </a:lnTo>
                    <a:lnTo>
                      <a:pt x="226" y="175"/>
                    </a:lnTo>
                    <a:lnTo>
                      <a:pt x="261" y="192"/>
                    </a:lnTo>
                    <a:lnTo>
                      <a:pt x="261" y="208"/>
                    </a:lnTo>
                    <a:lnTo>
                      <a:pt x="175" y="192"/>
                    </a:lnTo>
                    <a:lnTo>
                      <a:pt x="140" y="127"/>
                    </a:lnTo>
                    <a:lnTo>
                      <a:pt x="104" y="127"/>
                    </a:lnTo>
                    <a:lnTo>
                      <a:pt x="86" y="127"/>
                    </a:lnTo>
                    <a:lnTo>
                      <a:pt x="52" y="144"/>
                    </a:lnTo>
                    <a:lnTo>
                      <a:pt x="69" y="160"/>
                    </a:lnTo>
                    <a:lnTo>
                      <a:pt x="34" y="160"/>
                    </a:lnTo>
                    <a:lnTo>
                      <a:pt x="0" y="16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3" name="Freeform 95">
                <a:extLst>
                  <a:ext uri="{FF2B5EF4-FFF2-40B4-BE49-F238E27FC236}">
                    <a16:creationId xmlns:a16="http://schemas.microsoft.com/office/drawing/2014/main" id="{FF091C71-267A-41A9-8252-104653F40A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8816" y="4232703"/>
                <a:ext cx="910889" cy="681769"/>
              </a:xfrm>
              <a:custGeom>
                <a:avLst/>
                <a:gdLst>
                  <a:gd name="T0" fmla="*/ 11123 w 1109"/>
                  <a:gd name="T1" fmla="*/ 127000 h 800"/>
                  <a:gd name="T2" fmla="*/ 27806 w 1109"/>
                  <a:gd name="T3" fmla="*/ 133350 h 800"/>
                  <a:gd name="T4" fmla="*/ 55613 w 1109"/>
                  <a:gd name="T5" fmla="*/ 123825 h 800"/>
                  <a:gd name="T6" fmla="*/ 73091 w 1109"/>
                  <a:gd name="T7" fmla="*/ 114300 h 800"/>
                  <a:gd name="T8" fmla="*/ 114403 w 1109"/>
                  <a:gd name="T9" fmla="*/ 117475 h 800"/>
                  <a:gd name="T10" fmla="*/ 117581 w 1109"/>
                  <a:gd name="T11" fmla="*/ 120650 h 800"/>
                  <a:gd name="T12" fmla="*/ 135059 w 1109"/>
                  <a:gd name="T13" fmla="*/ 117475 h 800"/>
                  <a:gd name="T14" fmla="*/ 131087 w 1109"/>
                  <a:gd name="T15" fmla="*/ 133350 h 800"/>
                  <a:gd name="T16" fmla="*/ 135059 w 1109"/>
                  <a:gd name="T17" fmla="*/ 127000 h 800"/>
                  <a:gd name="T18" fmla="*/ 135059 w 1109"/>
                  <a:gd name="T19" fmla="*/ 136525 h 800"/>
                  <a:gd name="T20" fmla="*/ 145387 w 1109"/>
                  <a:gd name="T21" fmla="*/ 142875 h 800"/>
                  <a:gd name="T22" fmla="*/ 148565 w 1109"/>
                  <a:gd name="T23" fmla="*/ 149225 h 800"/>
                  <a:gd name="T24" fmla="*/ 162071 w 1109"/>
                  <a:gd name="T25" fmla="*/ 152400 h 800"/>
                  <a:gd name="T26" fmla="*/ 172399 w 1109"/>
                  <a:gd name="T27" fmla="*/ 149225 h 800"/>
                  <a:gd name="T28" fmla="*/ 176371 w 1109"/>
                  <a:gd name="T29" fmla="*/ 152400 h 800"/>
                  <a:gd name="T30" fmla="*/ 182727 w 1109"/>
                  <a:gd name="T31" fmla="*/ 158750 h 800"/>
                  <a:gd name="T32" fmla="*/ 200205 w 1109"/>
                  <a:gd name="T33" fmla="*/ 149225 h 800"/>
                  <a:gd name="T34" fmla="*/ 216889 w 1109"/>
                  <a:gd name="T35" fmla="*/ 107950 h 800"/>
                  <a:gd name="T36" fmla="*/ 216889 w 1109"/>
                  <a:gd name="T37" fmla="*/ 79375 h 800"/>
                  <a:gd name="T38" fmla="*/ 206561 w 1109"/>
                  <a:gd name="T39" fmla="*/ 66675 h 800"/>
                  <a:gd name="T40" fmla="*/ 200205 w 1109"/>
                  <a:gd name="T41" fmla="*/ 57150 h 800"/>
                  <a:gd name="T42" fmla="*/ 193055 w 1109"/>
                  <a:gd name="T43" fmla="*/ 50006 h 800"/>
                  <a:gd name="T44" fmla="*/ 179549 w 1109"/>
                  <a:gd name="T45" fmla="*/ 31750 h 800"/>
                  <a:gd name="T46" fmla="*/ 176371 w 1109"/>
                  <a:gd name="T47" fmla="*/ 21431 h 800"/>
                  <a:gd name="T48" fmla="*/ 166043 w 1109"/>
                  <a:gd name="T49" fmla="*/ 19050 h 800"/>
                  <a:gd name="T50" fmla="*/ 158893 w 1109"/>
                  <a:gd name="T51" fmla="*/ 0 h 800"/>
                  <a:gd name="T52" fmla="*/ 155715 w 1109"/>
                  <a:gd name="T53" fmla="*/ 21431 h 800"/>
                  <a:gd name="T54" fmla="*/ 145387 w 1109"/>
                  <a:gd name="T55" fmla="*/ 34925 h 800"/>
                  <a:gd name="T56" fmla="*/ 127909 w 1109"/>
                  <a:gd name="T57" fmla="*/ 25400 h 800"/>
                  <a:gd name="T58" fmla="*/ 120759 w 1109"/>
                  <a:gd name="T59" fmla="*/ 21431 h 800"/>
                  <a:gd name="T60" fmla="*/ 127909 w 1109"/>
                  <a:gd name="T61" fmla="*/ 11906 h 800"/>
                  <a:gd name="T62" fmla="*/ 127909 w 1109"/>
                  <a:gd name="T63" fmla="*/ 6350 h 800"/>
                  <a:gd name="T64" fmla="*/ 124731 w 1109"/>
                  <a:gd name="T65" fmla="*/ 6350 h 800"/>
                  <a:gd name="T66" fmla="*/ 103281 w 1109"/>
                  <a:gd name="T67" fmla="*/ 2381 h 800"/>
                  <a:gd name="T68" fmla="*/ 103281 w 1109"/>
                  <a:gd name="T69" fmla="*/ 6350 h 800"/>
                  <a:gd name="T70" fmla="*/ 92953 w 1109"/>
                  <a:gd name="T71" fmla="*/ 9525 h 800"/>
                  <a:gd name="T72" fmla="*/ 89775 w 1109"/>
                  <a:gd name="T73" fmla="*/ 11906 h 800"/>
                  <a:gd name="T74" fmla="*/ 89775 w 1109"/>
                  <a:gd name="T75" fmla="*/ 21431 h 800"/>
                  <a:gd name="T76" fmla="*/ 82624 w 1109"/>
                  <a:gd name="T77" fmla="*/ 21431 h 800"/>
                  <a:gd name="T78" fmla="*/ 79447 w 1109"/>
                  <a:gd name="T79" fmla="*/ 15875 h 800"/>
                  <a:gd name="T80" fmla="*/ 69119 w 1109"/>
                  <a:gd name="T81" fmla="*/ 19050 h 800"/>
                  <a:gd name="T82" fmla="*/ 62763 w 1109"/>
                  <a:gd name="T83" fmla="*/ 28575 h 800"/>
                  <a:gd name="T84" fmla="*/ 55613 w 1109"/>
                  <a:gd name="T85" fmla="*/ 28575 h 800"/>
                  <a:gd name="T86" fmla="*/ 55613 w 1109"/>
                  <a:gd name="T87" fmla="*/ 34925 h 800"/>
                  <a:gd name="T88" fmla="*/ 48462 w 1109"/>
                  <a:gd name="T89" fmla="*/ 34925 h 800"/>
                  <a:gd name="T90" fmla="*/ 42107 w 1109"/>
                  <a:gd name="T91" fmla="*/ 44450 h 800"/>
                  <a:gd name="T92" fmla="*/ 7150 w 1109"/>
                  <a:gd name="T93" fmla="*/ 60325 h 800"/>
                  <a:gd name="T94" fmla="*/ 3972 w 1109"/>
                  <a:gd name="T95" fmla="*/ 60325 h 800"/>
                  <a:gd name="T96" fmla="*/ 0 w 1109"/>
                  <a:gd name="T97" fmla="*/ 66675 h 800"/>
                  <a:gd name="T98" fmla="*/ 3972 w 1109"/>
                  <a:gd name="T99" fmla="*/ 76200 h 800"/>
                  <a:gd name="T100" fmla="*/ 0 w 1109"/>
                  <a:gd name="T101" fmla="*/ 79375 h 800"/>
                  <a:gd name="T102" fmla="*/ 14300 w 1109"/>
                  <a:gd name="T103" fmla="*/ 111125 h 800"/>
                  <a:gd name="T104" fmla="*/ 11123 w 1109"/>
                  <a:gd name="T105" fmla="*/ 123825 h 80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109"/>
                  <a:gd name="T160" fmla="*/ 0 h 800"/>
                  <a:gd name="T161" fmla="*/ 1109 w 1109"/>
                  <a:gd name="T162" fmla="*/ 800 h 800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109" h="800">
                    <a:moveTo>
                      <a:pt x="54" y="639"/>
                    </a:moveTo>
                    <a:lnTo>
                      <a:pt x="54" y="639"/>
                    </a:lnTo>
                    <a:lnTo>
                      <a:pt x="105" y="671"/>
                    </a:lnTo>
                    <a:lnTo>
                      <a:pt x="140" y="671"/>
                    </a:lnTo>
                    <a:lnTo>
                      <a:pt x="192" y="623"/>
                    </a:lnTo>
                    <a:lnTo>
                      <a:pt x="278" y="623"/>
                    </a:lnTo>
                    <a:lnTo>
                      <a:pt x="295" y="608"/>
                    </a:lnTo>
                    <a:lnTo>
                      <a:pt x="365" y="575"/>
                    </a:lnTo>
                    <a:lnTo>
                      <a:pt x="503" y="560"/>
                    </a:lnTo>
                    <a:lnTo>
                      <a:pt x="574" y="591"/>
                    </a:lnTo>
                    <a:lnTo>
                      <a:pt x="574" y="608"/>
                    </a:lnTo>
                    <a:lnTo>
                      <a:pt x="591" y="608"/>
                    </a:lnTo>
                    <a:lnTo>
                      <a:pt x="626" y="671"/>
                    </a:lnTo>
                    <a:lnTo>
                      <a:pt x="677" y="591"/>
                    </a:lnTo>
                    <a:lnTo>
                      <a:pt x="677" y="623"/>
                    </a:lnTo>
                    <a:lnTo>
                      <a:pt x="660" y="671"/>
                    </a:lnTo>
                    <a:lnTo>
                      <a:pt x="677" y="671"/>
                    </a:lnTo>
                    <a:lnTo>
                      <a:pt x="677" y="639"/>
                    </a:lnTo>
                    <a:lnTo>
                      <a:pt x="695" y="671"/>
                    </a:lnTo>
                    <a:lnTo>
                      <a:pt x="677" y="687"/>
                    </a:lnTo>
                    <a:lnTo>
                      <a:pt x="712" y="687"/>
                    </a:lnTo>
                    <a:lnTo>
                      <a:pt x="729" y="719"/>
                    </a:lnTo>
                    <a:lnTo>
                      <a:pt x="729" y="735"/>
                    </a:lnTo>
                    <a:lnTo>
                      <a:pt x="747" y="752"/>
                    </a:lnTo>
                    <a:lnTo>
                      <a:pt x="781" y="767"/>
                    </a:lnTo>
                    <a:lnTo>
                      <a:pt x="816" y="767"/>
                    </a:lnTo>
                    <a:lnTo>
                      <a:pt x="833" y="783"/>
                    </a:lnTo>
                    <a:lnTo>
                      <a:pt x="868" y="752"/>
                    </a:lnTo>
                    <a:lnTo>
                      <a:pt x="868" y="767"/>
                    </a:lnTo>
                    <a:lnTo>
                      <a:pt x="885" y="767"/>
                    </a:lnTo>
                    <a:lnTo>
                      <a:pt x="885" y="783"/>
                    </a:lnTo>
                    <a:lnTo>
                      <a:pt x="919" y="800"/>
                    </a:lnTo>
                    <a:lnTo>
                      <a:pt x="954" y="752"/>
                    </a:lnTo>
                    <a:lnTo>
                      <a:pt x="1006" y="752"/>
                    </a:lnTo>
                    <a:lnTo>
                      <a:pt x="1023" y="687"/>
                    </a:lnTo>
                    <a:lnTo>
                      <a:pt x="1092" y="543"/>
                    </a:lnTo>
                    <a:lnTo>
                      <a:pt x="1109" y="479"/>
                    </a:lnTo>
                    <a:lnTo>
                      <a:pt x="1092" y="399"/>
                    </a:lnTo>
                    <a:lnTo>
                      <a:pt x="1058" y="351"/>
                    </a:lnTo>
                    <a:lnTo>
                      <a:pt x="1040" y="336"/>
                    </a:lnTo>
                    <a:lnTo>
                      <a:pt x="1023" y="303"/>
                    </a:lnTo>
                    <a:lnTo>
                      <a:pt x="1006" y="288"/>
                    </a:lnTo>
                    <a:lnTo>
                      <a:pt x="1006" y="303"/>
                    </a:lnTo>
                    <a:lnTo>
                      <a:pt x="971" y="255"/>
                    </a:lnTo>
                    <a:lnTo>
                      <a:pt x="919" y="207"/>
                    </a:lnTo>
                    <a:lnTo>
                      <a:pt x="902" y="159"/>
                    </a:lnTo>
                    <a:lnTo>
                      <a:pt x="885" y="144"/>
                    </a:lnTo>
                    <a:lnTo>
                      <a:pt x="885" y="111"/>
                    </a:lnTo>
                    <a:lnTo>
                      <a:pt x="868" y="96"/>
                    </a:lnTo>
                    <a:lnTo>
                      <a:pt x="833" y="96"/>
                    </a:lnTo>
                    <a:lnTo>
                      <a:pt x="816" y="0"/>
                    </a:lnTo>
                    <a:lnTo>
                      <a:pt x="798" y="0"/>
                    </a:lnTo>
                    <a:lnTo>
                      <a:pt x="781" y="32"/>
                    </a:lnTo>
                    <a:lnTo>
                      <a:pt x="781" y="111"/>
                    </a:lnTo>
                    <a:lnTo>
                      <a:pt x="764" y="176"/>
                    </a:lnTo>
                    <a:lnTo>
                      <a:pt x="729" y="176"/>
                    </a:lnTo>
                    <a:lnTo>
                      <a:pt x="660" y="128"/>
                    </a:lnTo>
                    <a:lnTo>
                      <a:pt x="643" y="128"/>
                    </a:lnTo>
                    <a:lnTo>
                      <a:pt x="643" y="111"/>
                    </a:lnTo>
                    <a:lnTo>
                      <a:pt x="608" y="111"/>
                    </a:lnTo>
                    <a:lnTo>
                      <a:pt x="626" y="63"/>
                    </a:lnTo>
                    <a:lnTo>
                      <a:pt x="643" y="63"/>
                    </a:lnTo>
                    <a:lnTo>
                      <a:pt x="660" y="32"/>
                    </a:lnTo>
                    <a:lnTo>
                      <a:pt x="643" y="32"/>
                    </a:lnTo>
                    <a:lnTo>
                      <a:pt x="626" y="48"/>
                    </a:lnTo>
                    <a:lnTo>
                      <a:pt x="626" y="32"/>
                    </a:lnTo>
                    <a:lnTo>
                      <a:pt x="608" y="32"/>
                    </a:lnTo>
                    <a:lnTo>
                      <a:pt x="520" y="15"/>
                    </a:lnTo>
                    <a:lnTo>
                      <a:pt x="537" y="32"/>
                    </a:lnTo>
                    <a:lnTo>
                      <a:pt x="520" y="32"/>
                    </a:lnTo>
                    <a:lnTo>
                      <a:pt x="485" y="32"/>
                    </a:lnTo>
                    <a:lnTo>
                      <a:pt x="468" y="48"/>
                    </a:lnTo>
                    <a:lnTo>
                      <a:pt x="468" y="63"/>
                    </a:lnTo>
                    <a:lnTo>
                      <a:pt x="451" y="63"/>
                    </a:lnTo>
                    <a:lnTo>
                      <a:pt x="451" y="96"/>
                    </a:lnTo>
                    <a:lnTo>
                      <a:pt x="451" y="111"/>
                    </a:lnTo>
                    <a:lnTo>
                      <a:pt x="416" y="96"/>
                    </a:lnTo>
                    <a:lnTo>
                      <a:pt x="416" y="111"/>
                    </a:lnTo>
                    <a:lnTo>
                      <a:pt x="416" y="96"/>
                    </a:lnTo>
                    <a:lnTo>
                      <a:pt x="399" y="80"/>
                    </a:lnTo>
                    <a:lnTo>
                      <a:pt x="382" y="80"/>
                    </a:lnTo>
                    <a:lnTo>
                      <a:pt x="347" y="96"/>
                    </a:lnTo>
                    <a:lnTo>
                      <a:pt x="330" y="96"/>
                    </a:lnTo>
                    <a:lnTo>
                      <a:pt x="313" y="144"/>
                    </a:lnTo>
                    <a:lnTo>
                      <a:pt x="295" y="144"/>
                    </a:lnTo>
                    <a:lnTo>
                      <a:pt x="278" y="144"/>
                    </a:lnTo>
                    <a:lnTo>
                      <a:pt x="295" y="159"/>
                    </a:lnTo>
                    <a:lnTo>
                      <a:pt x="278" y="176"/>
                    </a:lnTo>
                    <a:lnTo>
                      <a:pt x="278" y="144"/>
                    </a:lnTo>
                    <a:lnTo>
                      <a:pt x="244" y="176"/>
                    </a:lnTo>
                    <a:lnTo>
                      <a:pt x="261" y="192"/>
                    </a:lnTo>
                    <a:lnTo>
                      <a:pt x="209" y="224"/>
                    </a:lnTo>
                    <a:lnTo>
                      <a:pt x="88" y="255"/>
                    </a:lnTo>
                    <a:lnTo>
                      <a:pt x="36" y="303"/>
                    </a:lnTo>
                    <a:lnTo>
                      <a:pt x="17" y="288"/>
                    </a:lnTo>
                    <a:lnTo>
                      <a:pt x="17" y="303"/>
                    </a:lnTo>
                    <a:lnTo>
                      <a:pt x="17" y="336"/>
                    </a:lnTo>
                    <a:lnTo>
                      <a:pt x="0" y="336"/>
                    </a:lnTo>
                    <a:lnTo>
                      <a:pt x="36" y="416"/>
                    </a:lnTo>
                    <a:lnTo>
                      <a:pt x="17" y="384"/>
                    </a:lnTo>
                    <a:lnTo>
                      <a:pt x="17" y="416"/>
                    </a:lnTo>
                    <a:lnTo>
                      <a:pt x="0" y="399"/>
                    </a:lnTo>
                    <a:lnTo>
                      <a:pt x="54" y="495"/>
                    </a:lnTo>
                    <a:lnTo>
                      <a:pt x="71" y="560"/>
                    </a:lnTo>
                    <a:lnTo>
                      <a:pt x="71" y="608"/>
                    </a:lnTo>
                    <a:lnTo>
                      <a:pt x="54" y="623"/>
                    </a:lnTo>
                    <a:lnTo>
                      <a:pt x="54" y="639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4" name="Freeform 96">
                <a:extLst>
                  <a:ext uri="{FF2B5EF4-FFF2-40B4-BE49-F238E27FC236}">
                    <a16:creationId xmlns:a16="http://schemas.microsoft.com/office/drawing/2014/main" id="{EA73505E-00A1-4984-9C45-BF79A72BB5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72867" y="4246337"/>
                <a:ext cx="27901" cy="13636"/>
              </a:xfrm>
              <a:custGeom>
                <a:avLst/>
                <a:gdLst>
                  <a:gd name="T0" fmla="*/ 0 w 35"/>
                  <a:gd name="T1" fmla="*/ 2988 h 17"/>
                  <a:gd name="T2" fmla="*/ 0 w 35"/>
                  <a:gd name="T3" fmla="*/ 2988 h 17"/>
                  <a:gd name="T4" fmla="*/ 3084 w 35"/>
                  <a:gd name="T5" fmla="*/ 2988 h 17"/>
                  <a:gd name="T6" fmla="*/ 6169 w 35"/>
                  <a:gd name="T7" fmla="*/ 0 h 17"/>
                  <a:gd name="T8" fmla="*/ 0 w 35"/>
                  <a:gd name="T9" fmla="*/ 0 h 17"/>
                  <a:gd name="T10" fmla="*/ 0 w 35"/>
                  <a:gd name="T11" fmla="*/ 2988 h 1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5"/>
                  <a:gd name="T19" fmla="*/ 0 h 17"/>
                  <a:gd name="T20" fmla="*/ 35 w 35"/>
                  <a:gd name="T21" fmla="*/ 17 h 1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5" h="17">
                    <a:moveTo>
                      <a:pt x="0" y="17"/>
                    </a:moveTo>
                    <a:lnTo>
                      <a:pt x="0" y="17"/>
                    </a:lnTo>
                    <a:lnTo>
                      <a:pt x="17" y="17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17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5" name="Freeform 98">
                <a:extLst>
                  <a:ext uri="{FF2B5EF4-FFF2-40B4-BE49-F238E27FC236}">
                    <a16:creationId xmlns:a16="http://schemas.microsoft.com/office/drawing/2014/main" id="{D564FC86-DD46-4921-B9B5-CA036739E6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97833" y="4955377"/>
                <a:ext cx="86986" cy="81812"/>
              </a:xfrm>
              <a:custGeom>
                <a:avLst/>
                <a:gdLst>
                  <a:gd name="T0" fmla="*/ 0 w 105"/>
                  <a:gd name="T1" fmla="*/ 0 h 96"/>
                  <a:gd name="T2" fmla="*/ 0 w 105"/>
                  <a:gd name="T3" fmla="*/ 0 h 96"/>
                  <a:gd name="T4" fmla="*/ 4007 w 105"/>
                  <a:gd name="T5" fmla="*/ 15875 h 96"/>
                  <a:gd name="T6" fmla="*/ 11218 w 105"/>
                  <a:gd name="T7" fmla="*/ 19050 h 96"/>
                  <a:gd name="T8" fmla="*/ 14424 w 105"/>
                  <a:gd name="T9" fmla="*/ 11906 h 96"/>
                  <a:gd name="T10" fmla="*/ 17629 w 105"/>
                  <a:gd name="T11" fmla="*/ 15875 h 96"/>
                  <a:gd name="T12" fmla="*/ 21635 w 105"/>
                  <a:gd name="T13" fmla="*/ 0 h 96"/>
                  <a:gd name="T14" fmla="*/ 17629 w 105"/>
                  <a:gd name="T15" fmla="*/ 0 h 96"/>
                  <a:gd name="T16" fmla="*/ 7212 w 105"/>
                  <a:gd name="T17" fmla="*/ 2381 h 96"/>
                  <a:gd name="T18" fmla="*/ 0 w 105"/>
                  <a:gd name="T19" fmla="*/ 0 h 9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05"/>
                  <a:gd name="T31" fmla="*/ 0 h 96"/>
                  <a:gd name="T32" fmla="*/ 105 w 105"/>
                  <a:gd name="T33" fmla="*/ 96 h 9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05" h="96">
                    <a:moveTo>
                      <a:pt x="0" y="0"/>
                    </a:moveTo>
                    <a:lnTo>
                      <a:pt x="0" y="0"/>
                    </a:lnTo>
                    <a:lnTo>
                      <a:pt x="19" y="79"/>
                    </a:lnTo>
                    <a:lnTo>
                      <a:pt x="53" y="96"/>
                    </a:lnTo>
                    <a:lnTo>
                      <a:pt x="71" y="63"/>
                    </a:lnTo>
                    <a:lnTo>
                      <a:pt x="88" y="79"/>
                    </a:lnTo>
                    <a:lnTo>
                      <a:pt x="105" y="0"/>
                    </a:lnTo>
                    <a:lnTo>
                      <a:pt x="88" y="0"/>
                    </a:lnTo>
                    <a:lnTo>
                      <a:pt x="36" y="1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6" name="Freeform 99">
                <a:extLst>
                  <a:ext uri="{FF2B5EF4-FFF2-40B4-BE49-F238E27FC236}">
                    <a16:creationId xmlns:a16="http://schemas.microsoft.com/office/drawing/2014/main" id="{EA43726E-877E-4037-B37E-6A892E9EE5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23145" y="4791752"/>
                <a:ext cx="129659" cy="189192"/>
              </a:xfrm>
              <a:custGeom>
                <a:avLst/>
                <a:gdLst>
                  <a:gd name="T0" fmla="*/ 7189 w 157"/>
                  <a:gd name="T1" fmla="*/ 28447 h 223"/>
                  <a:gd name="T2" fmla="*/ 7189 w 157"/>
                  <a:gd name="T3" fmla="*/ 28447 h 223"/>
                  <a:gd name="T4" fmla="*/ 14379 w 157"/>
                  <a:gd name="T5" fmla="*/ 30818 h 223"/>
                  <a:gd name="T6" fmla="*/ 10385 w 157"/>
                  <a:gd name="T7" fmla="*/ 40300 h 223"/>
                  <a:gd name="T8" fmla="*/ 14379 w 157"/>
                  <a:gd name="T9" fmla="*/ 43461 h 223"/>
                  <a:gd name="T10" fmla="*/ 17574 w 157"/>
                  <a:gd name="T11" fmla="*/ 40300 h 223"/>
                  <a:gd name="T12" fmla="*/ 24763 w 157"/>
                  <a:gd name="T13" fmla="*/ 28447 h 223"/>
                  <a:gd name="T14" fmla="*/ 27958 w 157"/>
                  <a:gd name="T15" fmla="*/ 28447 h 223"/>
                  <a:gd name="T16" fmla="*/ 31952 w 157"/>
                  <a:gd name="T17" fmla="*/ 24496 h 223"/>
                  <a:gd name="T18" fmla="*/ 31952 w 157"/>
                  <a:gd name="T19" fmla="*/ 18965 h 223"/>
                  <a:gd name="T20" fmla="*/ 27958 w 157"/>
                  <a:gd name="T21" fmla="*/ 15014 h 223"/>
                  <a:gd name="T22" fmla="*/ 24763 w 157"/>
                  <a:gd name="T23" fmla="*/ 18965 h 223"/>
                  <a:gd name="T24" fmla="*/ 17574 w 157"/>
                  <a:gd name="T25" fmla="*/ 18965 h 223"/>
                  <a:gd name="T26" fmla="*/ 17574 w 157"/>
                  <a:gd name="T27" fmla="*/ 11853 h 223"/>
                  <a:gd name="T28" fmla="*/ 14379 w 157"/>
                  <a:gd name="T29" fmla="*/ 11853 h 223"/>
                  <a:gd name="T30" fmla="*/ 14379 w 157"/>
                  <a:gd name="T31" fmla="*/ 15014 h 223"/>
                  <a:gd name="T32" fmla="*/ 10385 w 157"/>
                  <a:gd name="T33" fmla="*/ 11853 h 223"/>
                  <a:gd name="T34" fmla="*/ 10385 w 157"/>
                  <a:gd name="T35" fmla="*/ 2371 h 223"/>
                  <a:gd name="T36" fmla="*/ 0 w 157"/>
                  <a:gd name="T37" fmla="*/ 0 h 223"/>
                  <a:gd name="T38" fmla="*/ 10385 w 157"/>
                  <a:gd name="T39" fmla="*/ 11853 h 223"/>
                  <a:gd name="T40" fmla="*/ 10385 w 157"/>
                  <a:gd name="T41" fmla="*/ 24496 h 223"/>
                  <a:gd name="T42" fmla="*/ 7189 w 157"/>
                  <a:gd name="T43" fmla="*/ 28447 h 223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157"/>
                  <a:gd name="T67" fmla="*/ 0 h 223"/>
                  <a:gd name="T68" fmla="*/ 157 w 157"/>
                  <a:gd name="T69" fmla="*/ 223 h 223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157" h="223">
                    <a:moveTo>
                      <a:pt x="34" y="144"/>
                    </a:moveTo>
                    <a:lnTo>
                      <a:pt x="34" y="144"/>
                    </a:lnTo>
                    <a:lnTo>
                      <a:pt x="69" y="159"/>
                    </a:lnTo>
                    <a:lnTo>
                      <a:pt x="52" y="207"/>
                    </a:lnTo>
                    <a:lnTo>
                      <a:pt x="69" y="223"/>
                    </a:lnTo>
                    <a:lnTo>
                      <a:pt x="86" y="207"/>
                    </a:lnTo>
                    <a:lnTo>
                      <a:pt x="121" y="144"/>
                    </a:lnTo>
                    <a:lnTo>
                      <a:pt x="140" y="144"/>
                    </a:lnTo>
                    <a:lnTo>
                      <a:pt x="157" y="127"/>
                    </a:lnTo>
                    <a:lnTo>
                      <a:pt x="157" y="96"/>
                    </a:lnTo>
                    <a:lnTo>
                      <a:pt x="140" y="79"/>
                    </a:lnTo>
                    <a:lnTo>
                      <a:pt x="121" y="96"/>
                    </a:lnTo>
                    <a:lnTo>
                      <a:pt x="86" y="96"/>
                    </a:lnTo>
                    <a:lnTo>
                      <a:pt x="86" y="63"/>
                    </a:lnTo>
                    <a:lnTo>
                      <a:pt x="69" y="63"/>
                    </a:lnTo>
                    <a:lnTo>
                      <a:pt x="69" y="79"/>
                    </a:lnTo>
                    <a:lnTo>
                      <a:pt x="52" y="63"/>
                    </a:lnTo>
                    <a:lnTo>
                      <a:pt x="52" y="15"/>
                    </a:lnTo>
                    <a:lnTo>
                      <a:pt x="0" y="0"/>
                    </a:lnTo>
                    <a:lnTo>
                      <a:pt x="52" y="63"/>
                    </a:lnTo>
                    <a:lnTo>
                      <a:pt x="52" y="127"/>
                    </a:lnTo>
                    <a:lnTo>
                      <a:pt x="34" y="14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7" name="Freeform 100">
                <a:extLst>
                  <a:ext uri="{FF2B5EF4-FFF2-40B4-BE49-F238E27FC236}">
                    <a16:creationId xmlns:a16="http://schemas.microsoft.com/office/drawing/2014/main" id="{E0B94F15-1441-4675-B302-E69B765462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81999" y="4955377"/>
                <a:ext cx="183819" cy="177260"/>
              </a:xfrm>
              <a:custGeom>
                <a:avLst/>
                <a:gdLst>
                  <a:gd name="T0" fmla="*/ 0 w 223"/>
                  <a:gd name="T1" fmla="*/ 35094 h 207"/>
                  <a:gd name="T2" fmla="*/ 0 w 223"/>
                  <a:gd name="T3" fmla="*/ 35094 h 207"/>
                  <a:gd name="T4" fmla="*/ 3987 w 223"/>
                  <a:gd name="T5" fmla="*/ 38284 h 207"/>
                  <a:gd name="T6" fmla="*/ 7176 w 223"/>
                  <a:gd name="T7" fmla="*/ 38284 h 207"/>
                  <a:gd name="T8" fmla="*/ 14352 w 223"/>
                  <a:gd name="T9" fmla="*/ 41474 h 207"/>
                  <a:gd name="T10" fmla="*/ 20730 w 223"/>
                  <a:gd name="T11" fmla="*/ 38284 h 207"/>
                  <a:gd name="T12" fmla="*/ 24717 w 223"/>
                  <a:gd name="T13" fmla="*/ 31903 h 207"/>
                  <a:gd name="T14" fmla="*/ 27906 w 223"/>
                  <a:gd name="T15" fmla="*/ 25523 h 207"/>
                  <a:gd name="T16" fmla="*/ 34284 w 223"/>
                  <a:gd name="T17" fmla="*/ 19142 h 207"/>
                  <a:gd name="T18" fmla="*/ 37474 w 223"/>
                  <a:gd name="T19" fmla="*/ 19142 h 207"/>
                  <a:gd name="T20" fmla="*/ 34284 w 223"/>
                  <a:gd name="T21" fmla="*/ 15952 h 207"/>
                  <a:gd name="T22" fmla="*/ 44649 w 223"/>
                  <a:gd name="T23" fmla="*/ 6381 h 207"/>
                  <a:gd name="T24" fmla="*/ 44649 w 223"/>
                  <a:gd name="T25" fmla="*/ 3190 h 207"/>
                  <a:gd name="T26" fmla="*/ 41460 w 223"/>
                  <a:gd name="T27" fmla="*/ 3190 h 207"/>
                  <a:gd name="T28" fmla="*/ 41460 w 223"/>
                  <a:gd name="T29" fmla="*/ 0 h 207"/>
                  <a:gd name="T30" fmla="*/ 37474 w 223"/>
                  <a:gd name="T31" fmla="*/ 3190 h 207"/>
                  <a:gd name="T32" fmla="*/ 37474 w 223"/>
                  <a:gd name="T33" fmla="*/ 0 h 207"/>
                  <a:gd name="T34" fmla="*/ 34284 w 223"/>
                  <a:gd name="T35" fmla="*/ 0 h 207"/>
                  <a:gd name="T36" fmla="*/ 31095 w 223"/>
                  <a:gd name="T37" fmla="*/ 0 h 207"/>
                  <a:gd name="T38" fmla="*/ 31095 w 223"/>
                  <a:gd name="T39" fmla="*/ 6381 h 207"/>
                  <a:gd name="T40" fmla="*/ 27906 w 223"/>
                  <a:gd name="T41" fmla="*/ 6381 h 207"/>
                  <a:gd name="T42" fmla="*/ 24717 w 223"/>
                  <a:gd name="T43" fmla="*/ 12761 h 207"/>
                  <a:gd name="T44" fmla="*/ 10365 w 223"/>
                  <a:gd name="T45" fmla="*/ 22332 h 207"/>
                  <a:gd name="T46" fmla="*/ 0 w 223"/>
                  <a:gd name="T47" fmla="*/ 35094 h 207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223"/>
                  <a:gd name="T73" fmla="*/ 0 h 207"/>
                  <a:gd name="T74" fmla="*/ 223 w 223"/>
                  <a:gd name="T75" fmla="*/ 207 h 207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223" h="207">
                    <a:moveTo>
                      <a:pt x="0" y="174"/>
                    </a:moveTo>
                    <a:lnTo>
                      <a:pt x="0" y="174"/>
                    </a:lnTo>
                    <a:lnTo>
                      <a:pt x="17" y="192"/>
                    </a:lnTo>
                    <a:lnTo>
                      <a:pt x="34" y="192"/>
                    </a:lnTo>
                    <a:lnTo>
                      <a:pt x="69" y="207"/>
                    </a:lnTo>
                    <a:lnTo>
                      <a:pt x="104" y="192"/>
                    </a:lnTo>
                    <a:lnTo>
                      <a:pt x="121" y="159"/>
                    </a:lnTo>
                    <a:lnTo>
                      <a:pt x="138" y="127"/>
                    </a:lnTo>
                    <a:lnTo>
                      <a:pt x="171" y="96"/>
                    </a:lnTo>
                    <a:lnTo>
                      <a:pt x="188" y="96"/>
                    </a:lnTo>
                    <a:lnTo>
                      <a:pt x="171" y="79"/>
                    </a:lnTo>
                    <a:lnTo>
                      <a:pt x="223" y="31"/>
                    </a:lnTo>
                    <a:lnTo>
                      <a:pt x="223" y="15"/>
                    </a:lnTo>
                    <a:lnTo>
                      <a:pt x="205" y="15"/>
                    </a:lnTo>
                    <a:lnTo>
                      <a:pt x="205" y="0"/>
                    </a:lnTo>
                    <a:lnTo>
                      <a:pt x="188" y="15"/>
                    </a:lnTo>
                    <a:lnTo>
                      <a:pt x="188" y="0"/>
                    </a:lnTo>
                    <a:lnTo>
                      <a:pt x="171" y="0"/>
                    </a:lnTo>
                    <a:lnTo>
                      <a:pt x="153" y="0"/>
                    </a:lnTo>
                    <a:lnTo>
                      <a:pt x="153" y="31"/>
                    </a:lnTo>
                    <a:lnTo>
                      <a:pt x="138" y="31"/>
                    </a:lnTo>
                    <a:lnTo>
                      <a:pt x="121" y="63"/>
                    </a:lnTo>
                    <a:lnTo>
                      <a:pt x="52" y="111"/>
                    </a:lnTo>
                    <a:lnTo>
                      <a:pt x="0" y="17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8" name="Freeform 102">
                <a:extLst>
                  <a:ext uri="{FF2B5EF4-FFF2-40B4-BE49-F238E27FC236}">
                    <a16:creationId xmlns:a16="http://schemas.microsoft.com/office/drawing/2014/main" id="{7E2BC18C-EAF3-4C22-A631-D6FE340338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59388" y="4178160"/>
                <a:ext cx="170689" cy="13636"/>
              </a:xfrm>
              <a:custGeom>
                <a:avLst/>
                <a:gdLst>
                  <a:gd name="T0" fmla="*/ 0 w 208"/>
                  <a:gd name="T1" fmla="*/ 3175 h 16"/>
                  <a:gd name="T2" fmla="*/ 0 w 208"/>
                  <a:gd name="T3" fmla="*/ 3175 h 16"/>
                  <a:gd name="T4" fmla="*/ 3969 w 208"/>
                  <a:gd name="T5" fmla="*/ 3175 h 16"/>
                  <a:gd name="T6" fmla="*/ 17463 w 208"/>
                  <a:gd name="T7" fmla="*/ 0 h 16"/>
                  <a:gd name="T8" fmla="*/ 30956 w 208"/>
                  <a:gd name="T9" fmla="*/ 3175 h 16"/>
                  <a:gd name="T10" fmla="*/ 41275 w 208"/>
                  <a:gd name="T11" fmla="*/ 0 h 16"/>
                  <a:gd name="T12" fmla="*/ 34925 w 208"/>
                  <a:gd name="T13" fmla="*/ 0 h 16"/>
                  <a:gd name="T14" fmla="*/ 23812 w 208"/>
                  <a:gd name="T15" fmla="*/ 0 h 16"/>
                  <a:gd name="T16" fmla="*/ 17463 w 208"/>
                  <a:gd name="T17" fmla="*/ 0 h 16"/>
                  <a:gd name="T18" fmla="*/ 7144 w 208"/>
                  <a:gd name="T19" fmla="*/ 0 h 16"/>
                  <a:gd name="T20" fmla="*/ 10319 w 208"/>
                  <a:gd name="T21" fmla="*/ 0 h 16"/>
                  <a:gd name="T22" fmla="*/ 0 w 208"/>
                  <a:gd name="T23" fmla="*/ 0 h 16"/>
                  <a:gd name="T24" fmla="*/ 0 w 208"/>
                  <a:gd name="T25" fmla="*/ 3175 h 1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08"/>
                  <a:gd name="T40" fmla="*/ 0 h 16"/>
                  <a:gd name="T41" fmla="*/ 208 w 208"/>
                  <a:gd name="T42" fmla="*/ 16 h 1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08" h="16">
                    <a:moveTo>
                      <a:pt x="0" y="16"/>
                    </a:moveTo>
                    <a:lnTo>
                      <a:pt x="0" y="16"/>
                    </a:lnTo>
                    <a:lnTo>
                      <a:pt x="17" y="16"/>
                    </a:lnTo>
                    <a:lnTo>
                      <a:pt x="87" y="0"/>
                    </a:lnTo>
                    <a:lnTo>
                      <a:pt x="156" y="16"/>
                    </a:lnTo>
                    <a:lnTo>
                      <a:pt x="208" y="0"/>
                    </a:lnTo>
                    <a:lnTo>
                      <a:pt x="173" y="0"/>
                    </a:lnTo>
                    <a:lnTo>
                      <a:pt x="121" y="0"/>
                    </a:lnTo>
                    <a:lnTo>
                      <a:pt x="87" y="0"/>
                    </a:lnTo>
                    <a:lnTo>
                      <a:pt x="35" y="0"/>
                    </a:lnTo>
                    <a:lnTo>
                      <a:pt x="52" y="0"/>
                    </a:lnTo>
                    <a:lnTo>
                      <a:pt x="0" y="0"/>
                    </a:lnTo>
                    <a:lnTo>
                      <a:pt x="0" y="16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9" name="Freeform 103">
                <a:extLst>
                  <a:ext uri="{FF2B5EF4-FFF2-40B4-BE49-F238E27FC236}">
                    <a16:creationId xmlns:a16="http://schemas.microsoft.com/office/drawing/2014/main" id="{CFE1179C-E5FF-449C-B15C-7ED6463274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18474" y="4205431"/>
                <a:ext cx="42673" cy="13636"/>
              </a:xfrm>
              <a:custGeom>
                <a:avLst/>
                <a:gdLst>
                  <a:gd name="T0" fmla="*/ 0 w 52"/>
                  <a:gd name="T1" fmla="*/ 0 h 17"/>
                  <a:gd name="T2" fmla="*/ 0 w 52"/>
                  <a:gd name="T3" fmla="*/ 0 h 17"/>
                  <a:gd name="T4" fmla="*/ 7144 w 52"/>
                  <a:gd name="T5" fmla="*/ 2988 h 17"/>
                  <a:gd name="T6" fmla="*/ 10319 w 52"/>
                  <a:gd name="T7" fmla="*/ 2988 h 17"/>
                  <a:gd name="T8" fmla="*/ 7144 w 52"/>
                  <a:gd name="T9" fmla="*/ 0 h 17"/>
                  <a:gd name="T10" fmla="*/ 0 w 52"/>
                  <a:gd name="T11" fmla="*/ 0 h 1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2"/>
                  <a:gd name="T19" fmla="*/ 0 h 17"/>
                  <a:gd name="T20" fmla="*/ 52 w 52"/>
                  <a:gd name="T21" fmla="*/ 17 h 1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2" h="17">
                    <a:moveTo>
                      <a:pt x="0" y="0"/>
                    </a:moveTo>
                    <a:lnTo>
                      <a:pt x="0" y="0"/>
                    </a:lnTo>
                    <a:lnTo>
                      <a:pt x="35" y="17"/>
                    </a:lnTo>
                    <a:lnTo>
                      <a:pt x="52" y="17"/>
                    </a:lnTo>
                    <a:lnTo>
                      <a:pt x="35" y="0"/>
                    </a:lnTo>
                    <a:lnTo>
                      <a:pt x="0" y="0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0" name="Freeform 104">
                <a:extLst>
                  <a:ext uri="{FF2B5EF4-FFF2-40B4-BE49-F238E27FC236}">
                    <a16:creationId xmlns:a16="http://schemas.microsoft.com/office/drawing/2014/main" id="{18804064-C729-4DCC-AF9D-8397E31A56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16948" y="4178160"/>
                <a:ext cx="85344" cy="40907"/>
              </a:xfrm>
              <a:custGeom>
                <a:avLst/>
                <a:gdLst>
                  <a:gd name="T0" fmla="*/ 0 w 104"/>
                  <a:gd name="T1" fmla="*/ 9525 h 48"/>
                  <a:gd name="T2" fmla="*/ 0 w 104"/>
                  <a:gd name="T3" fmla="*/ 9525 h 48"/>
                  <a:gd name="T4" fmla="*/ 7144 w 104"/>
                  <a:gd name="T5" fmla="*/ 9525 h 48"/>
                  <a:gd name="T6" fmla="*/ 20638 w 104"/>
                  <a:gd name="T7" fmla="*/ 0 h 48"/>
                  <a:gd name="T8" fmla="*/ 10319 w 104"/>
                  <a:gd name="T9" fmla="*/ 0 h 48"/>
                  <a:gd name="T10" fmla="*/ 3969 w 104"/>
                  <a:gd name="T11" fmla="*/ 5556 h 48"/>
                  <a:gd name="T12" fmla="*/ 0 w 104"/>
                  <a:gd name="T13" fmla="*/ 9525 h 4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4"/>
                  <a:gd name="T22" fmla="*/ 0 h 48"/>
                  <a:gd name="T23" fmla="*/ 104 w 104"/>
                  <a:gd name="T24" fmla="*/ 48 h 4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4" h="48">
                    <a:moveTo>
                      <a:pt x="0" y="48"/>
                    </a:moveTo>
                    <a:lnTo>
                      <a:pt x="0" y="48"/>
                    </a:lnTo>
                    <a:lnTo>
                      <a:pt x="35" y="48"/>
                    </a:lnTo>
                    <a:lnTo>
                      <a:pt x="104" y="0"/>
                    </a:lnTo>
                    <a:lnTo>
                      <a:pt x="52" y="0"/>
                    </a:lnTo>
                    <a:lnTo>
                      <a:pt x="17" y="31"/>
                    </a:lnTo>
                    <a:lnTo>
                      <a:pt x="0" y="48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1" name="Freeform 105">
                <a:extLst>
                  <a:ext uri="{FF2B5EF4-FFF2-40B4-BE49-F238E27FC236}">
                    <a16:creationId xmlns:a16="http://schemas.microsoft.com/office/drawing/2014/main" id="{34EDC97E-1A5C-403F-9342-AE1809E2F2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58211" y="4109983"/>
                <a:ext cx="16413" cy="40907"/>
              </a:xfrm>
              <a:custGeom>
                <a:avLst/>
                <a:gdLst>
                  <a:gd name="T0" fmla="*/ 0 w 19"/>
                  <a:gd name="T1" fmla="*/ 9525 h 48"/>
                  <a:gd name="T2" fmla="*/ 0 w 19"/>
                  <a:gd name="T3" fmla="*/ 9525 h 48"/>
                  <a:gd name="T4" fmla="*/ 4178 w 19"/>
                  <a:gd name="T5" fmla="*/ 2381 h 48"/>
                  <a:gd name="T6" fmla="*/ 4178 w 19"/>
                  <a:gd name="T7" fmla="*/ 0 h 48"/>
                  <a:gd name="T8" fmla="*/ 0 w 19"/>
                  <a:gd name="T9" fmla="*/ 9525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9"/>
                  <a:gd name="T16" fmla="*/ 0 h 48"/>
                  <a:gd name="T17" fmla="*/ 19 w 19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9" h="48">
                    <a:moveTo>
                      <a:pt x="0" y="48"/>
                    </a:moveTo>
                    <a:lnTo>
                      <a:pt x="0" y="48"/>
                    </a:lnTo>
                    <a:lnTo>
                      <a:pt x="19" y="15"/>
                    </a:lnTo>
                    <a:lnTo>
                      <a:pt x="19" y="0"/>
                    </a:lnTo>
                    <a:lnTo>
                      <a:pt x="0" y="48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2" name="Freeform 106">
                <a:extLst>
                  <a:ext uri="{FF2B5EF4-FFF2-40B4-BE49-F238E27FC236}">
                    <a16:creationId xmlns:a16="http://schemas.microsoft.com/office/drawing/2014/main" id="{C796D6AC-01F5-4D59-9261-24A9EA680A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18474" y="3959994"/>
                <a:ext cx="141147" cy="163625"/>
              </a:xfrm>
              <a:custGeom>
                <a:avLst/>
                <a:gdLst>
                  <a:gd name="T0" fmla="*/ 0 w 173"/>
                  <a:gd name="T1" fmla="*/ 22225 h 192"/>
                  <a:gd name="T2" fmla="*/ 0 w 173"/>
                  <a:gd name="T3" fmla="*/ 22225 h 192"/>
                  <a:gd name="T4" fmla="*/ 0 w 173"/>
                  <a:gd name="T5" fmla="*/ 26194 h 192"/>
                  <a:gd name="T6" fmla="*/ 3157 w 173"/>
                  <a:gd name="T7" fmla="*/ 26194 h 192"/>
                  <a:gd name="T8" fmla="*/ 3157 w 173"/>
                  <a:gd name="T9" fmla="*/ 28575 h 192"/>
                  <a:gd name="T10" fmla="*/ 3157 w 173"/>
                  <a:gd name="T11" fmla="*/ 38100 h 192"/>
                  <a:gd name="T12" fmla="*/ 6313 w 173"/>
                  <a:gd name="T13" fmla="*/ 35719 h 192"/>
                  <a:gd name="T14" fmla="*/ 6313 w 173"/>
                  <a:gd name="T15" fmla="*/ 26194 h 192"/>
                  <a:gd name="T16" fmla="*/ 10259 w 173"/>
                  <a:gd name="T17" fmla="*/ 22225 h 192"/>
                  <a:gd name="T18" fmla="*/ 13416 w 173"/>
                  <a:gd name="T19" fmla="*/ 22225 h 192"/>
                  <a:gd name="T20" fmla="*/ 10259 w 173"/>
                  <a:gd name="T21" fmla="*/ 26194 h 192"/>
                  <a:gd name="T22" fmla="*/ 13416 w 173"/>
                  <a:gd name="T23" fmla="*/ 28575 h 192"/>
                  <a:gd name="T24" fmla="*/ 13416 w 173"/>
                  <a:gd name="T25" fmla="*/ 32544 h 192"/>
                  <a:gd name="T26" fmla="*/ 20518 w 173"/>
                  <a:gd name="T27" fmla="*/ 32544 h 192"/>
                  <a:gd name="T28" fmla="*/ 20518 w 173"/>
                  <a:gd name="T29" fmla="*/ 38100 h 192"/>
                  <a:gd name="T30" fmla="*/ 23675 w 173"/>
                  <a:gd name="T31" fmla="*/ 35719 h 192"/>
                  <a:gd name="T32" fmla="*/ 23675 w 173"/>
                  <a:gd name="T33" fmla="*/ 32544 h 192"/>
                  <a:gd name="T34" fmla="*/ 16572 w 173"/>
                  <a:gd name="T35" fmla="*/ 26194 h 192"/>
                  <a:gd name="T36" fmla="*/ 20518 w 173"/>
                  <a:gd name="T37" fmla="*/ 26194 h 192"/>
                  <a:gd name="T38" fmla="*/ 13416 w 173"/>
                  <a:gd name="T39" fmla="*/ 19050 h 192"/>
                  <a:gd name="T40" fmla="*/ 20518 w 173"/>
                  <a:gd name="T41" fmla="*/ 13494 h 192"/>
                  <a:gd name="T42" fmla="*/ 23675 w 173"/>
                  <a:gd name="T43" fmla="*/ 13494 h 192"/>
                  <a:gd name="T44" fmla="*/ 10259 w 173"/>
                  <a:gd name="T45" fmla="*/ 16669 h 192"/>
                  <a:gd name="T46" fmla="*/ 6313 w 173"/>
                  <a:gd name="T47" fmla="*/ 13494 h 192"/>
                  <a:gd name="T48" fmla="*/ 6313 w 173"/>
                  <a:gd name="T49" fmla="*/ 9525 h 192"/>
                  <a:gd name="T50" fmla="*/ 10259 w 173"/>
                  <a:gd name="T51" fmla="*/ 7144 h 192"/>
                  <a:gd name="T52" fmla="*/ 30777 w 173"/>
                  <a:gd name="T53" fmla="*/ 7144 h 192"/>
                  <a:gd name="T54" fmla="*/ 33934 w 173"/>
                  <a:gd name="T55" fmla="*/ 0 h 192"/>
                  <a:gd name="T56" fmla="*/ 26832 w 173"/>
                  <a:gd name="T57" fmla="*/ 3969 h 192"/>
                  <a:gd name="T58" fmla="*/ 20518 w 173"/>
                  <a:gd name="T59" fmla="*/ 7144 h 192"/>
                  <a:gd name="T60" fmla="*/ 10259 w 173"/>
                  <a:gd name="T61" fmla="*/ 3969 h 192"/>
                  <a:gd name="T62" fmla="*/ 10259 w 173"/>
                  <a:gd name="T63" fmla="*/ 7144 h 192"/>
                  <a:gd name="T64" fmla="*/ 6313 w 173"/>
                  <a:gd name="T65" fmla="*/ 7144 h 192"/>
                  <a:gd name="T66" fmla="*/ 6313 w 173"/>
                  <a:gd name="T67" fmla="*/ 13494 h 192"/>
                  <a:gd name="T68" fmla="*/ 0 w 173"/>
                  <a:gd name="T69" fmla="*/ 22225 h 19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73"/>
                  <a:gd name="T106" fmla="*/ 0 h 192"/>
                  <a:gd name="T107" fmla="*/ 173 w 173"/>
                  <a:gd name="T108" fmla="*/ 192 h 192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73" h="192">
                    <a:moveTo>
                      <a:pt x="0" y="113"/>
                    </a:moveTo>
                    <a:lnTo>
                      <a:pt x="0" y="113"/>
                    </a:lnTo>
                    <a:lnTo>
                      <a:pt x="0" y="129"/>
                    </a:lnTo>
                    <a:lnTo>
                      <a:pt x="17" y="129"/>
                    </a:lnTo>
                    <a:lnTo>
                      <a:pt x="17" y="144"/>
                    </a:lnTo>
                    <a:lnTo>
                      <a:pt x="17" y="192"/>
                    </a:lnTo>
                    <a:lnTo>
                      <a:pt x="35" y="177"/>
                    </a:lnTo>
                    <a:lnTo>
                      <a:pt x="35" y="129"/>
                    </a:lnTo>
                    <a:lnTo>
                      <a:pt x="52" y="113"/>
                    </a:lnTo>
                    <a:lnTo>
                      <a:pt x="69" y="113"/>
                    </a:lnTo>
                    <a:lnTo>
                      <a:pt x="52" y="129"/>
                    </a:lnTo>
                    <a:lnTo>
                      <a:pt x="69" y="144"/>
                    </a:lnTo>
                    <a:lnTo>
                      <a:pt x="69" y="161"/>
                    </a:lnTo>
                    <a:lnTo>
                      <a:pt x="104" y="161"/>
                    </a:lnTo>
                    <a:lnTo>
                      <a:pt x="104" y="192"/>
                    </a:lnTo>
                    <a:lnTo>
                      <a:pt x="121" y="177"/>
                    </a:lnTo>
                    <a:lnTo>
                      <a:pt x="121" y="161"/>
                    </a:lnTo>
                    <a:lnTo>
                      <a:pt x="87" y="129"/>
                    </a:lnTo>
                    <a:lnTo>
                      <a:pt x="104" y="129"/>
                    </a:lnTo>
                    <a:lnTo>
                      <a:pt x="69" y="96"/>
                    </a:lnTo>
                    <a:lnTo>
                      <a:pt x="104" y="66"/>
                    </a:lnTo>
                    <a:lnTo>
                      <a:pt x="121" y="66"/>
                    </a:lnTo>
                    <a:lnTo>
                      <a:pt x="52" y="81"/>
                    </a:lnTo>
                    <a:lnTo>
                      <a:pt x="35" y="66"/>
                    </a:lnTo>
                    <a:lnTo>
                      <a:pt x="35" y="48"/>
                    </a:lnTo>
                    <a:lnTo>
                      <a:pt x="52" y="33"/>
                    </a:lnTo>
                    <a:lnTo>
                      <a:pt x="156" y="33"/>
                    </a:lnTo>
                    <a:lnTo>
                      <a:pt x="173" y="0"/>
                    </a:lnTo>
                    <a:lnTo>
                      <a:pt x="138" y="18"/>
                    </a:lnTo>
                    <a:lnTo>
                      <a:pt x="104" y="33"/>
                    </a:lnTo>
                    <a:lnTo>
                      <a:pt x="52" y="18"/>
                    </a:lnTo>
                    <a:lnTo>
                      <a:pt x="52" y="33"/>
                    </a:lnTo>
                    <a:lnTo>
                      <a:pt x="35" y="33"/>
                    </a:lnTo>
                    <a:lnTo>
                      <a:pt x="35" y="66"/>
                    </a:lnTo>
                    <a:lnTo>
                      <a:pt x="0" y="113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3" name="Freeform 107">
                <a:extLst>
                  <a:ext uri="{FF2B5EF4-FFF2-40B4-BE49-F238E27FC236}">
                    <a16:creationId xmlns:a16="http://schemas.microsoft.com/office/drawing/2014/main" id="{A61C6EDB-E988-4AA6-9AC3-C6C798C67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02292" y="3946359"/>
                <a:ext cx="27901" cy="68177"/>
              </a:xfrm>
              <a:custGeom>
                <a:avLst/>
                <a:gdLst>
                  <a:gd name="T0" fmla="*/ 0 w 34"/>
                  <a:gd name="T1" fmla="*/ 6272 h 81"/>
                  <a:gd name="T2" fmla="*/ 0 w 34"/>
                  <a:gd name="T3" fmla="*/ 6272 h 81"/>
                  <a:gd name="T4" fmla="*/ 3175 w 34"/>
                  <a:gd name="T5" fmla="*/ 11759 h 81"/>
                  <a:gd name="T6" fmla="*/ 7144 w 34"/>
                  <a:gd name="T7" fmla="*/ 15679 h 81"/>
                  <a:gd name="T8" fmla="*/ 3175 w 34"/>
                  <a:gd name="T9" fmla="*/ 11759 h 81"/>
                  <a:gd name="T10" fmla="*/ 3175 w 34"/>
                  <a:gd name="T11" fmla="*/ 9407 h 81"/>
                  <a:gd name="T12" fmla="*/ 7144 w 34"/>
                  <a:gd name="T13" fmla="*/ 9407 h 81"/>
                  <a:gd name="T14" fmla="*/ 7144 w 34"/>
                  <a:gd name="T15" fmla="*/ 6272 h 81"/>
                  <a:gd name="T16" fmla="*/ 7144 w 34"/>
                  <a:gd name="T17" fmla="*/ 2352 h 81"/>
                  <a:gd name="T18" fmla="*/ 7144 w 34"/>
                  <a:gd name="T19" fmla="*/ 6272 h 81"/>
                  <a:gd name="T20" fmla="*/ 3175 w 34"/>
                  <a:gd name="T21" fmla="*/ 0 h 81"/>
                  <a:gd name="T22" fmla="*/ 0 w 34"/>
                  <a:gd name="T23" fmla="*/ 6272 h 8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4"/>
                  <a:gd name="T37" fmla="*/ 0 h 81"/>
                  <a:gd name="T38" fmla="*/ 34 w 34"/>
                  <a:gd name="T39" fmla="*/ 81 h 81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4" h="81">
                    <a:moveTo>
                      <a:pt x="0" y="33"/>
                    </a:moveTo>
                    <a:lnTo>
                      <a:pt x="0" y="33"/>
                    </a:lnTo>
                    <a:lnTo>
                      <a:pt x="17" y="63"/>
                    </a:lnTo>
                    <a:lnTo>
                      <a:pt x="34" y="81"/>
                    </a:lnTo>
                    <a:lnTo>
                      <a:pt x="17" y="63"/>
                    </a:lnTo>
                    <a:lnTo>
                      <a:pt x="17" y="48"/>
                    </a:lnTo>
                    <a:lnTo>
                      <a:pt x="34" y="48"/>
                    </a:lnTo>
                    <a:lnTo>
                      <a:pt x="34" y="33"/>
                    </a:lnTo>
                    <a:lnTo>
                      <a:pt x="34" y="15"/>
                    </a:lnTo>
                    <a:lnTo>
                      <a:pt x="34" y="33"/>
                    </a:lnTo>
                    <a:lnTo>
                      <a:pt x="17" y="0"/>
                    </a:lnTo>
                    <a:lnTo>
                      <a:pt x="0" y="33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4" name="Freeform 108">
                <a:extLst>
                  <a:ext uri="{FF2B5EF4-FFF2-40B4-BE49-F238E27FC236}">
                    <a16:creationId xmlns:a16="http://schemas.microsoft.com/office/drawing/2014/main" id="{44BE4376-D244-4693-AB09-8357F03A6A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74393" y="4069077"/>
                <a:ext cx="27901" cy="13636"/>
              </a:xfrm>
              <a:custGeom>
                <a:avLst/>
                <a:gdLst>
                  <a:gd name="T0" fmla="*/ 0 w 35"/>
                  <a:gd name="T1" fmla="*/ 0 h 15"/>
                  <a:gd name="T2" fmla="*/ 0 w 35"/>
                  <a:gd name="T3" fmla="*/ 0 h 15"/>
                  <a:gd name="T4" fmla="*/ 6169 w 35"/>
                  <a:gd name="T5" fmla="*/ 3387 h 15"/>
                  <a:gd name="T6" fmla="*/ 6169 w 35"/>
                  <a:gd name="T7" fmla="*/ 0 h 15"/>
                  <a:gd name="T8" fmla="*/ 0 w 35"/>
                  <a:gd name="T9" fmla="*/ 0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5"/>
                  <a:gd name="T16" fmla="*/ 0 h 15"/>
                  <a:gd name="T17" fmla="*/ 35 w 35"/>
                  <a:gd name="T18" fmla="*/ 15 h 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5" h="15">
                    <a:moveTo>
                      <a:pt x="0" y="0"/>
                    </a:moveTo>
                    <a:lnTo>
                      <a:pt x="0" y="0"/>
                    </a:lnTo>
                    <a:lnTo>
                      <a:pt x="35" y="15"/>
                    </a:lnTo>
                    <a:lnTo>
                      <a:pt x="35" y="0"/>
                    </a:lnTo>
                    <a:lnTo>
                      <a:pt x="0" y="0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5" name="Freeform 109">
                <a:extLst>
                  <a:ext uri="{FF2B5EF4-FFF2-40B4-BE49-F238E27FC236}">
                    <a16:creationId xmlns:a16="http://schemas.microsoft.com/office/drawing/2014/main" id="{AFC1EB3C-0F6F-46A9-9B5B-F0203A5A6C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17064" y="4055441"/>
                <a:ext cx="70574" cy="27271"/>
              </a:xfrm>
              <a:custGeom>
                <a:avLst/>
                <a:gdLst>
                  <a:gd name="T0" fmla="*/ 0 w 86"/>
                  <a:gd name="T1" fmla="*/ 3277 h 31"/>
                  <a:gd name="T2" fmla="*/ 0 w 86"/>
                  <a:gd name="T3" fmla="*/ 3277 h 31"/>
                  <a:gd name="T4" fmla="*/ 17463 w 86"/>
                  <a:gd name="T5" fmla="*/ 6555 h 31"/>
                  <a:gd name="T6" fmla="*/ 14288 w 86"/>
                  <a:gd name="T7" fmla="*/ 3277 h 31"/>
                  <a:gd name="T8" fmla="*/ 10319 w 86"/>
                  <a:gd name="T9" fmla="*/ 0 h 31"/>
                  <a:gd name="T10" fmla="*/ 3969 w 86"/>
                  <a:gd name="T11" fmla="*/ 0 h 31"/>
                  <a:gd name="T12" fmla="*/ 0 w 86"/>
                  <a:gd name="T13" fmla="*/ 3277 h 3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6"/>
                  <a:gd name="T22" fmla="*/ 0 h 31"/>
                  <a:gd name="T23" fmla="*/ 86 w 86"/>
                  <a:gd name="T24" fmla="*/ 31 h 3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6" h="31">
                    <a:moveTo>
                      <a:pt x="0" y="16"/>
                    </a:moveTo>
                    <a:lnTo>
                      <a:pt x="0" y="16"/>
                    </a:lnTo>
                    <a:lnTo>
                      <a:pt x="86" y="31"/>
                    </a:lnTo>
                    <a:lnTo>
                      <a:pt x="69" y="16"/>
                    </a:lnTo>
                    <a:lnTo>
                      <a:pt x="52" y="0"/>
                    </a:lnTo>
                    <a:lnTo>
                      <a:pt x="17" y="0"/>
                    </a:lnTo>
                    <a:lnTo>
                      <a:pt x="0" y="16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6" name="Freeform 110">
                <a:extLst>
                  <a:ext uri="{FF2B5EF4-FFF2-40B4-BE49-F238E27FC236}">
                    <a16:creationId xmlns:a16="http://schemas.microsoft.com/office/drawing/2014/main" id="{F2606E0E-F139-44A4-B42F-C2CE8663C2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02292" y="4028170"/>
                <a:ext cx="27901" cy="0"/>
              </a:xfrm>
              <a:custGeom>
                <a:avLst/>
                <a:gdLst>
                  <a:gd name="T0" fmla="*/ 0 w 34"/>
                  <a:gd name="T1" fmla="*/ 0 w 34"/>
                  <a:gd name="T2" fmla="*/ 7144 w 34"/>
                  <a:gd name="T3" fmla="*/ 3175 w 34"/>
                  <a:gd name="T4" fmla="*/ 0 w 34"/>
                  <a:gd name="T5" fmla="*/ 0 60000 65536"/>
                  <a:gd name="T6" fmla="*/ 0 60000 65536"/>
                  <a:gd name="T7" fmla="*/ 0 60000 65536"/>
                  <a:gd name="T8" fmla="*/ 0 60000 65536"/>
                  <a:gd name="T9" fmla="*/ 0 60000 65536"/>
                  <a:gd name="T10" fmla="*/ 0 w 34"/>
                  <a:gd name="T11" fmla="*/ 34 w 34"/>
                </a:gdLst>
                <a:ahLst/>
                <a:cxnLst>
                  <a:cxn ang="T5">
                    <a:pos x="T0" y="0"/>
                  </a:cxn>
                  <a:cxn ang="T6">
                    <a:pos x="T1" y="0"/>
                  </a:cxn>
                  <a:cxn ang="T7">
                    <a:pos x="T2" y="0"/>
                  </a:cxn>
                  <a:cxn ang="T8">
                    <a:pos x="T3" y="0"/>
                  </a:cxn>
                  <a:cxn ang="T9">
                    <a:pos x="T4" y="0"/>
                  </a:cxn>
                </a:cxnLst>
                <a:rect l="T10" t="0" r="T11" b="0"/>
                <a:pathLst>
                  <a:path w="34">
                    <a:moveTo>
                      <a:pt x="0" y="0"/>
                    </a:moveTo>
                    <a:lnTo>
                      <a:pt x="0" y="0"/>
                    </a:lnTo>
                    <a:lnTo>
                      <a:pt x="34" y="0"/>
                    </a:lnTo>
                    <a:lnTo>
                      <a:pt x="17" y="0"/>
                    </a:lnTo>
                    <a:lnTo>
                      <a:pt x="0" y="0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7" name="Freeform 111">
                <a:extLst>
                  <a:ext uri="{FF2B5EF4-FFF2-40B4-BE49-F238E27FC236}">
                    <a16:creationId xmlns:a16="http://schemas.microsoft.com/office/drawing/2014/main" id="{70B28866-2497-4280-B892-0E147E2479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86111" y="4014534"/>
                <a:ext cx="14772" cy="13636"/>
              </a:xfrm>
              <a:custGeom>
                <a:avLst/>
                <a:gdLst>
                  <a:gd name="T0" fmla="*/ 0 w 18"/>
                  <a:gd name="T1" fmla="*/ 0 h 15"/>
                  <a:gd name="T2" fmla="*/ 0 w 18"/>
                  <a:gd name="T3" fmla="*/ 0 h 15"/>
                  <a:gd name="T4" fmla="*/ 3969 w 18"/>
                  <a:gd name="T5" fmla="*/ 3387 h 15"/>
                  <a:gd name="T6" fmla="*/ 3969 w 18"/>
                  <a:gd name="T7" fmla="*/ 0 h 15"/>
                  <a:gd name="T8" fmla="*/ 0 w 18"/>
                  <a:gd name="T9" fmla="*/ 0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"/>
                  <a:gd name="T16" fmla="*/ 0 h 15"/>
                  <a:gd name="T17" fmla="*/ 18 w 18"/>
                  <a:gd name="T18" fmla="*/ 15 h 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" h="15">
                    <a:moveTo>
                      <a:pt x="0" y="0"/>
                    </a:moveTo>
                    <a:lnTo>
                      <a:pt x="0" y="0"/>
                    </a:lnTo>
                    <a:lnTo>
                      <a:pt x="18" y="15"/>
                    </a:lnTo>
                    <a:lnTo>
                      <a:pt x="18" y="0"/>
                    </a:lnTo>
                    <a:lnTo>
                      <a:pt x="0" y="0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8" name="Freeform 112">
                <a:extLst>
                  <a:ext uri="{FF2B5EF4-FFF2-40B4-BE49-F238E27FC236}">
                    <a16:creationId xmlns:a16="http://schemas.microsoft.com/office/drawing/2014/main" id="{86DF6DD2-3ED5-4B94-8FDF-E0C866606E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70047" y="4082712"/>
                <a:ext cx="100116" cy="54542"/>
              </a:xfrm>
              <a:custGeom>
                <a:avLst/>
                <a:gdLst>
                  <a:gd name="T0" fmla="*/ 0 w 123"/>
                  <a:gd name="T1" fmla="*/ 6252 h 65"/>
                  <a:gd name="T2" fmla="*/ 0 w 123"/>
                  <a:gd name="T3" fmla="*/ 6252 h 65"/>
                  <a:gd name="T4" fmla="*/ 6298 w 123"/>
                  <a:gd name="T5" fmla="*/ 12505 h 65"/>
                  <a:gd name="T6" fmla="*/ 13384 w 123"/>
                  <a:gd name="T7" fmla="*/ 12505 h 65"/>
                  <a:gd name="T8" fmla="*/ 20470 w 123"/>
                  <a:gd name="T9" fmla="*/ 9378 h 65"/>
                  <a:gd name="T10" fmla="*/ 23619 w 123"/>
                  <a:gd name="T11" fmla="*/ 3126 h 65"/>
                  <a:gd name="T12" fmla="*/ 23619 w 123"/>
                  <a:gd name="T13" fmla="*/ 0 h 65"/>
                  <a:gd name="T14" fmla="*/ 20470 w 123"/>
                  <a:gd name="T15" fmla="*/ 0 h 65"/>
                  <a:gd name="T16" fmla="*/ 20470 w 123"/>
                  <a:gd name="T17" fmla="*/ 6252 h 65"/>
                  <a:gd name="T18" fmla="*/ 17321 w 123"/>
                  <a:gd name="T19" fmla="*/ 6252 h 65"/>
                  <a:gd name="T20" fmla="*/ 13384 w 123"/>
                  <a:gd name="T21" fmla="*/ 6252 h 65"/>
                  <a:gd name="T22" fmla="*/ 0 w 123"/>
                  <a:gd name="T23" fmla="*/ 6252 h 6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23"/>
                  <a:gd name="T37" fmla="*/ 0 h 65"/>
                  <a:gd name="T38" fmla="*/ 123 w 123"/>
                  <a:gd name="T39" fmla="*/ 65 h 6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23" h="65">
                    <a:moveTo>
                      <a:pt x="0" y="33"/>
                    </a:moveTo>
                    <a:lnTo>
                      <a:pt x="0" y="33"/>
                    </a:lnTo>
                    <a:lnTo>
                      <a:pt x="35" y="65"/>
                    </a:lnTo>
                    <a:lnTo>
                      <a:pt x="71" y="65"/>
                    </a:lnTo>
                    <a:lnTo>
                      <a:pt x="106" y="48"/>
                    </a:lnTo>
                    <a:lnTo>
                      <a:pt x="123" y="17"/>
                    </a:lnTo>
                    <a:lnTo>
                      <a:pt x="123" y="0"/>
                    </a:lnTo>
                    <a:lnTo>
                      <a:pt x="106" y="0"/>
                    </a:lnTo>
                    <a:lnTo>
                      <a:pt x="106" y="33"/>
                    </a:lnTo>
                    <a:lnTo>
                      <a:pt x="88" y="33"/>
                    </a:lnTo>
                    <a:lnTo>
                      <a:pt x="71" y="33"/>
                    </a:lnTo>
                    <a:lnTo>
                      <a:pt x="0" y="33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9" name="Freeform 113">
                <a:extLst>
                  <a:ext uri="{FF2B5EF4-FFF2-40B4-BE49-F238E27FC236}">
                    <a16:creationId xmlns:a16="http://schemas.microsoft.com/office/drawing/2014/main" id="{12127A4B-565C-42D9-9B9F-28271380FF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42261" y="4069077"/>
                <a:ext cx="42673" cy="27271"/>
              </a:xfrm>
              <a:custGeom>
                <a:avLst/>
                <a:gdLst>
                  <a:gd name="T0" fmla="*/ 0 w 52"/>
                  <a:gd name="T1" fmla="*/ 0 h 32"/>
                  <a:gd name="T2" fmla="*/ 0 w 52"/>
                  <a:gd name="T3" fmla="*/ 0 h 32"/>
                  <a:gd name="T4" fmla="*/ 7144 w 52"/>
                  <a:gd name="T5" fmla="*/ 2381 h 32"/>
                  <a:gd name="T6" fmla="*/ 10319 w 52"/>
                  <a:gd name="T7" fmla="*/ 6350 h 32"/>
                  <a:gd name="T8" fmla="*/ 10319 w 52"/>
                  <a:gd name="T9" fmla="*/ 2381 h 32"/>
                  <a:gd name="T10" fmla="*/ 0 w 52"/>
                  <a:gd name="T11" fmla="*/ 0 h 3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2"/>
                  <a:gd name="T19" fmla="*/ 0 h 32"/>
                  <a:gd name="T20" fmla="*/ 52 w 52"/>
                  <a:gd name="T21" fmla="*/ 32 h 3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2" h="32">
                    <a:moveTo>
                      <a:pt x="0" y="0"/>
                    </a:moveTo>
                    <a:lnTo>
                      <a:pt x="0" y="0"/>
                    </a:lnTo>
                    <a:lnTo>
                      <a:pt x="35" y="15"/>
                    </a:lnTo>
                    <a:lnTo>
                      <a:pt x="52" y="32"/>
                    </a:lnTo>
                    <a:lnTo>
                      <a:pt x="52" y="15"/>
                    </a:lnTo>
                    <a:lnTo>
                      <a:pt x="0" y="0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0" name="Freeform 114">
                <a:extLst>
                  <a:ext uri="{FF2B5EF4-FFF2-40B4-BE49-F238E27FC236}">
                    <a16:creationId xmlns:a16="http://schemas.microsoft.com/office/drawing/2014/main" id="{915126CC-4DA6-4734-80C9-2B2A6AFD71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27606" y="4109983"/>
                <a:ext cx="27901" cy="40907"/>
              </a:xfrm>
              <a:custGeom>
                <a:avLst/>
                <a:gdLst>
                  <a:gd name="T0" fmla="*/ 0 w 35"/>
                  <a:gd name="T1" fmla="*/ 0 h 48"/>
                  <a:gd name="T2" fmla="*/ 0 w 35"/>
                  <a:gd name="T3" fmla="*/ 0 h 48"/>
                  <a:gd name="T4" fmla="*/ 3084 w 35"/>
                  <a:gd name="T5" fmla="*/ 9525 h 48"/>
                  <a:gd name="T6" fmla="*/ 6169 w 35"/>
                  <a:gd name="T7" fmla="*/ 6350 h 48"/>
                  <a:gd name="T8" fmla="*/ 0 w 35"/>
                  <a:gd name="T9" fmla="*/ 0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5"/>
                  <a:gd name="T16" fmla="*/ 0 h 48"/>
                  <a:gd name="T17" fmla="*/ 35 w 3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5" h="48">
                    <a:moveTo>
                      <a:pt x="0" y="0"/>
                    </a:moveTo>
                    <a:lnTo>
                      <a:pt x="0" y="0"/>
                    </a:lnTo>
                    <a:lnTo>
                      <a:pt x="17" y="48"/>
                    </a:lnTo>
                    <a:lnTo>
                      <a:pt x="35" y="32"/>
                    </a:lnTo>
                    <a:lnTo>
                      <a:pt x="0" y="0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1" name="Freeform 115">
                <a:extLst>
                  <a:ext uri="{FF2B5EF4-FFF2-40B4-BE49-F238E27FC236}">
                    <a16:creationId xmlns:a16="http://schemas.microsoft.com/office/drawing/2014/main" id="{DD1F5FFB-0193-44EE-A64F-A8431D3334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26081" y="4191796"/>
                <a:ext cx="29543" cy="13636"/>
              </a:xfrm>
              <a:custGeom>
                <a:avLst/>
                <a:gdLst>
                  <a:gd name="T0" fmla="*/ 0 w 34"/>
                  <a:gd name="T1" fmla="*/ 0 h 15"/>
                  <a:gd name="T2" fmla="*/ 0 w 34"/>
                  <a:gd name="T3" fmla="*/ 0 h 15"/>
                  <a:gd name="T4" fmla="*/ 0 w 34"/>
                  <a:gd name="T5" fmla="*/ 3387 h 15"/>
                  <a:gd name="T6" fmla="*/ 8404 w 34"/>
                  <a:gd name="T7" fmla="*/ 3387 h 15"/>
                  <a:gd name="T8" fmla="*/ 0 w 34"/>
                  <a:gd name="T9" fmla="*/ 0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4"/>
                  <a:gd name="T16" fmla="*/ 0 h 15"/>
                  <a:gd name="T17" fmla="*/ 34 w 34"/>
                  <a:gd name="T18" fmla="*/ 15 h 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4" h="15">
                    <a:moveTo>
                      <a:pt x="0" y="0"/>
                    </a:moveTo>
                    <a:lnTo>
                      <a:pt x="0" y="0"/>
                    </a:lnTo>
                    <a:lnTo>
                      <a:pt x="0" y="15"/>
                    </a:lnTo>
                    <a:lnTo>
                      <a:pt x="34" y="15"/>
                    </a:lnTo>
                    <a:lnTo>
                      <a:pt x="0" y="0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2" name="Freeform 116">
                <a:extLst>
                  <a:ext uri="{FF2B5EF4-FFF2-40B4-BE49-F238E27FC236}">
                    <a16:creationId xmlns:a16="http://schemas.microsoft.com/office/drawing/2014/main" id="{4F7D8279-7E08-4B36-9609-EE5D638EF1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96771" y="4314514"/>
                <a:ext cx="14772" cy="27271"/>
              </a:xfrm>
              <a:custGeom>
                <a:avLst/>
                <a:gdLst>
                  <a:gd name="T0" fmla="*/ 0 w 18"/>
                  <a:gd name="T1" fmla="*/ 0 h 32"/>
                  <a:gd name="T2" fmla="*/ 0 w 18"/>
                  <a:gd name="T3" fmla="*/ 0 h 32"/>
                  <a:gd name="T4" fmla="*/ 0 w 18"/>
                  <a:gd name="T5" fmla="*/ 6350 h 32"/>
                  <a:gd name="T6" fmla="*/ 3969 w 18"/>
                  <a:gd name="T7" fmla="*/ 2381 h 32"/>
                  <a:gd name="T8" fmla="*/ 0 w 18"/>
                  <a:gd name="T9" fmla="*/ 0 h 3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"/>
                  <a:gd name="T16" fmla="*/ 0 h 32"/>
                  <a:gd name="T17" fmla="*/ 18 w 18"/>
                  <a:gd name="T18" fmla="*/ 32 h 3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" h="32">
                    <a:moveTo>
                      <a:pt x="0" y="0"/>
                    </a:moveTo>
                    <a:lnTo>
                      <a:pt x="0" y="0"/>
                    </a:lnTo>
                    <a:lnTo>
                      <a:pt x="0" y="32"/>
                    </a:lnTo>
                    <a:lnTo>
                      <a:pt x="18" y="15"/>
                    </a:lnTo>
                    <a:lnTo>
                      <a:pt x="0" y="0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3" name="Freeform 117">
                <a:extLst>
                  <a:ext uri="{FF2B5EF4-FFF2-40B4-BE49-F238E27FC236}">
                    <a16:creationId xmlns:a16="http://schemas.microsoft.com/office/drawing/2014/main" id="{5AA995B5-3D0D-4FBA-8783-BE9F081E8B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42609" y="4437233"/>
                <a:ext cx="54161" cy="52837"/>
              </a:xfrm>
              <a:custGeom>
                <a:avLst/>
                <a:gdLst>
                  <a:gd name="T0" fmla="*/ 0 w 67"/>
                  <a:gd name="T1" fmla="*/ 0 h 63"/>
                  <a:gd name="T2" fmla="*/ 0 w 67"/>
                  <a:gd name="T3" fmla="*/ 0 h 63"/>
                  <a:gd name="T4" fmla="*/ 3128 w 67"/>
                  <a:gd name="T5" fmla="*/ 6249 h 63"/>
                  <a:gd name="T6" fmla="*/ 9383 w 67"/>
                  <a:gd name="T7" fmla="*/ 11717 h 63"/>
                  <a:gd name="T8" fmla="*/ 12511 w 67"/>
                  <a:gd name="T9" fmla="*/ 11717 h 63"/>
                  <a:gd name="T10" fmla="*/ 3128 w 67"/>
                  <a:gd name="T11" fmla="*/ 2343 h 63"/>
                  <a:gd name="T12" fmla="*/ 0 w 67"/>
                  <a:gd name="T13" fmla="*/ 0 h 6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7"/>
                  <a:gd name="T22" fmla="*/ 0 h 63"/>
                  <a:gd name="T23" fmla="*/ 67 w 67"/>
                  <a:gd name="T24" fmla="*/ 63 h 6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7" h="63">
                    <a:moveTo>
                      <a:pt x="0" y="0"/>
                    </a:moveTo>
                    <a:lnTo>
                      <a:pt x="0" y="0"/>
                    </a:lnTo>
                    <a:lnTo>
                      <a:pt x="17" y="32"/>
                    </a:lnTo>
                    <a:lnTo>
                      <a:pt x="50" y="63"/>
                    </a:lnTo>
                    <a:lnTo>
                      <a:pt x="67" y="63"/>
                    </a:lnTo>
                    <a:lnTo>
                      <a:pt x="17" y="15"/>
                    </a:lnTo>
                    <a:lnTo>
                      <a:pt x="0" y="0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4" name="Freeform 118">
                <a:extLst>
                  <a:ext uri="{FF2B5EF4-FFF2-40B4-BE49-F238E27FC236}">
                    <a16:creationId xmlns:a16="http://schemas.microsoft.com/office/drawing/2014/main" id="{794A09D5-1F48-4682-B96C-35E85AC17F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4903" y="4369055"/>
                <a:ext cx="29543" cy="27271"/>
              </a:xfrm>
              <a:custGeom>
                <a:avLst/>
                <a:gdLst>
                  <a:gd name="T0" fmla="*/ 0 w 34"/>
                  <a:gd name="T1" fmla="*/ 6158 h 33"/>
                  <a:gd name="T2" fmla="*/ 0 w 34"/>
                  <a:gd name="T3" fmla="*/ 6158 h 33"/>
                  <a:gd name="T4" fmla="*/ 8404 w 34"/>
                  <a:gd name="T5" fmla="*/ 6158 h 33"/>
                  <a:gd name="T6" fmla="*/ 8404 w 34"/>
                  <a:gd name="T7" fmla="*/ 3079 h 33"/>
                  <a:gd name="T8" fmla="*/ 4202 w 34"/>
                  <a:gd name="T9" fmla="*/ 0 h 33"/>
                  <a:gd name="T10" fmla="*/ 0 w 34"/>
                  <a:gd name="T11" fmla="*/ 6158 h 3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4"/>
                  <a:gd name="T19" fmla="*/ 0 h 33"/>
                  <a:gd name="T20" fmla="*/ 34 w 34"/>
                  <a:gd name="T21" fmla="*/ 33 h 3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4" h="33">
                    <a:moveTo>
                      <a:pt x="0" y="33"/>
                    </a:moveTo>
                    <a:lnTo>
                      <a:pt x="0" y="33"/>
                    </a:lnTo>
                    <a:lnTo>
                      <a:pt x="34" y="33"/>
                    </a:lnTo>
                    <a:lnTo>
                      <a:pt x="34" y="17"/>
                    </a:lnTo>
                    <a:lnTo>
                      <a:pt x="17" y="0"/>
                    </a:lnTo>
                    <a:lnTo>
                      <a:pt x="0" y="33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5" name="Freeform 119">
                <a:extLst>
                  <a:ext uri="{FF2B5EF4-FFF2-40B4-BE49-F238E27FC236}">
                    <a16:creationId xmlns:a16="http://schemas.microsoft.com/office/drawing/2014/main" id="{4E1AA8F5-7B5B-49CD-AE9D-C9E8792EC1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54446" y="4355420"/>
                <a:ext cx="27901" cy="13636"/>
              </a:xfrm>
              <a:custGeom>
                <a:avLst/>
                <a:gdLst>
                  <a:gd name="T0" fmla="*/ 0 w 35"/>
                  <a:gd name="T1" fmla="*/ 0 h 15"/>
                  <a:gd name="T2" fmla="*/ 0 w 35"/>
                  <a:gd name="T3" fmla="*/ 0 h 15"/>
                  <a:gd name="T4" fmla="*/ 3084 w 35"/>
                  <a:gd name="T5" fmla="*/ 3387 h 15"/>
                  <a:gd name="T6" fmla="*/ 6169 w 35"/>
                  <a:gd name="T7" fmla="*/ 0 h 15"/>
                  <a:gd name="T8" fmla="*/ 0 w 35"/>
                  <a:gd name="T9" fmla="*/ 0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5"/>
                  <a:gd name="T16" fmla="*/ 0 h 15"/>
                  <a:gd name="T17" fmla="*/ 35 w 35"/>
                  <a:gd name="T18" fmla="*/ 15 h 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5" h="15">
                    <a:moveTo>
                      <a:pt x="0" y="0"/>
                    </a:moveTo>
                    <a:lnTo>
                      <a:pt x="0" y="0"/>
                    </a:lnTo>
                    <a:lnTo>
                      <a:pt x="17" y="15"/>
                    </a:lnTo>
                    <a:lnTo>
                      <a:pt x="35" y="0"/>
                    </a:lnTo>
                    <a:lnTo>
                      <a:pt x="0" y="0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6" name="Line 120">
                <a:extLst>
                  <a:ext uri="{FF2B5EF4-FFF2-40B4-BE49-F238E27FC236}">
                    <a16:creationId xmlns:a16="http://schemas.microsoft.com/office/drawing/2014/main" id="{3F6C811D-9024-4240-B5FA-A57591EA039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795845" y="4157707"/>
                <a:ext cx="13130" cy="40907"/>
              </a:xfrm>
              <a:prstGeom prst="line">
                <a:avLst/>
              </a:pr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7" name="Line 121">
                <a:extLst>
                  <a:ext uri="{FF2B5EF4-FFF2-40B4-BE49-F238E27FC236}">
                    <a16:creationId xmlns:a16="http://schemas.microsoft.com/office/drawing/2014/main" id="{0FA8783D-91CD-43E5-AB5C-40038994AE4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362072" y="4157707"/>
                <a:ext cx="29543" cy="13636"/>
              </a:xfrm>
              <a:prstGeom prst="line">
                <a:avLst/>
              </a:pr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8" name="Line 122">
                <a:extLst>
                  <a:ext uri="{FF2B5EF4-FFF2-40B4-BE49-F238E27FC236}">
                    <a16:creationId xmlns:a16="http://schemas.microsoft.com/office/drawing/2014/main" id="{CD9918CC-92B3-4573-B7C8-F7E82FFE3B9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391615" y="4184978"/>
                <a:ext cx="13130" cy="13636"/>
              </a:xfrm>
              <a:prstGeom prst="line">
                <a:avLst/>
              </a:pr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9" name="Line 123">
                <a:extLst>
                  <a:ext uri="{FF2B5EF4-FFF2-40B4-BE49-F238E27FC236}">
                    <a16:creationId xmlns:a16="http://schemas.microsoft.com/office/drawing/2014/main" id="{90CBBB03-A8D0-4474-8C2F-022F451ECE9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463829" y="4198612"/>
                <a:ext cx="13130" cy="27271"/>
              </a:xfrm>
              <a:prstGeom prst="line">
                <a:avLst/>
              </a:pr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0" name="Line 124">
                <a:extLst>
                  <a:ext uri="{FF2B5EF4-FFF2-40B4-BE49-F238E27FC236}">
                    <a16:creationId xmlns:a16="http://schemas.microsoft.com/office/drawing/2014/main" id="{865D2371-9FAF-4698-83E8-2E32BFE38A9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476959" y="4239519"/>
                <a:ext cx="27901" cy="13636"/>
              </a:xfrm>
              <a:prstGeom prst="line">
                <a:avLst/>
              </a:pr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1" name="Freeform 125">
                <a:extLst>
                  <a:ext uri="{FF2B5EF4-FFF2-40B4-BE49-F238E27FC236}">
                    <a16:creationId xmlns:a16="http://schemas.microsoft.com/office/drawing/2014/main" id="{BD47E680-29AF-41C4-9980-EB2F745D5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3471" y="3850911"/>
                <a:ext cx="228133" cy="122719"/>
              </a:xfrm>
              <a:custGeom>
                <a:avLst/>
                <a:gdLst>
                  <a:gd name="T0" fmla="*/ 30956 w 278"/>
                  <a:gd name="T1" fmla="*/ 9525 h 144"/>
                  <a:gd name="T2" fmla="*/ 30956 w 278"/>
                  <a:gd name="T3" fmla="*/ 9525 h 144"/>
                  <a:gd name="T4" fmla="*/ 34131 w 278"/>
                  <a:gd name="T5" fmla="*/ 9525 h 144"/>
                  <a:gd name="T6" fmla="*/ 30956 w 278"/>
                  <a:gd name="T7" fmla="*/ 11906 h 144"/>
                  <a:gd name="T8" fmla="*/ 27781 w 278"/>
                  <a:gd name="T9" fmla="*/ 11906 h 144"/>
                  <a:gd name="T10" fmla="*/ 23813 w 278"/>
                  <a:gd name="T11" fmla="*/ 11906 h 144"/>
                  <a:gd name="T12" fmla="*/ 17463 w 278"/>
                  <a:gd name="T13" fmla="*/ 19050 h 144"/>
                  <a:gd name="T14" fmla="*/ 10319 w 278"/>
                  <a:gd name="T15" fmla="*/ 19050 h 144"/>
                  <a:gd name="T16" fmla="*/ 10319 w 278"/>
                  <a:gd name="T17" fmla="*/ 24606 h 144"/>
                  <a:gd name="T18" fmla="*/ 0 w 278"/>
                  <a:gd name="T19" fmla="*/ 24606 h 144"/>
                  <a:gd name="T20" fmla="*/ 7144 w 278"/>
                  <a:gd name="T21" fmla="*/ 28575 h 144"/>
                  <a:gd name="T22" fmla="*/ 13494 w 278"/>
                  <a:gd name="T23" fmla="*/ 28575 h 144"/>
                  <a:gd name="T24" fmla="*/ 17463 w 278"/>
                  <a:gd name="T25" fmla="*/ 24606 h 144"/>
                  <a:gd name="T26" fmla="*/ 23813 w 278"/>
                  <a:gd name="T27" fmla="*/ 28575 h 144"/>
                  <a:gd name="T28" fmla="*/ 27781 w 278"/>
                  <a:gd name="T29" fmla="*/ 24606 h 144"/>
                  <a:gd name="T30" fmla="*/ 38100 w 278"/>
                  <a:gd name="T31" fmla="*/ 11906 h 144"/>
                  <a:gd name="T32" fmla="*/ 48419 w 278"/>
                  <a:gd name="T33" fmla="*/ 11906 h 144"/>
                  <a:gd name="T34" fmla="*/ 52388 w 278"/>
                  <a:gd name="T35" fmla="*/ 11906 h 144"/>
                  <a:gd name="T36" fmla="*/ 48419 w 278"/>
                  <a:gd name="T37" fmla="*/ 9525 h 144"/>
                  <a:gd name="T38" fmla="*/ 55563 w 278"/>
                  <a:gd name="T39" fmla="*/ 9525 h 144"/>
                  <a:gd name="T40" fmla="*/ 44450 w 278"/>
                  <a:gd name="T41" fmla="*/ 5556 h 144"/>
                  <a:gd name="T42" fmla="*/ 44450 w 278"/>
                  <a:gd name="T43" fmla="*/ 2381 h 144"/>
                  <a:gd name="T44" fmla="*/ 41275 w 278"/>
                  <a:gd name="T45" fmla="*/ 0 h 144"/>
                  <a:gd name="T46" fmla="*/ 34131 w 278"/>
                  <a:gd name="T47" fmla="*/ 5556 h 144"/>
                  <a:gd name="T48" fmla="*/ 30956 w 278"/>
                  <a:gd name="T49" fmla="*/ 9525 h 144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278"/>
                  <a:gd name="T76" fmla="*/ 0 h 144"/>
                  <a:gd name="T77" fmla="*/ 278 w 278"/>
                  <a:gd name="T78" fmla="*/ 144 h 144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278" h="144">
                    <a:moveTo>
                      <a:pt x="158" y="48"/>
                    </a:moveTo>
                    <a:lnTo>
                      <a:pt x="158" y="48"/>
                    </a:lnTo>
                    <a:lnTo>
                      <a:pt x="175" y="48"/>
                    </a:lnTo>
                    <a:lnTo>
                      <a:pt x="158" y="63"/>
                    </a:lnTo>
                    <a:lnTo>
                      <a:pt x="140" y="63"/>
                    </a:lnTo>
                    <a:lnTo>
                      <a:pt x="123" y="63"/>
                    </a:lnTo>
                    <a:lnTo>
                      <a:pt x="88" y="96"/>
                    </a:lnTo>
                    <a:lnTo>
                      <a:pt x="52" y="96"/>
                    </a:lnTo>
                    <a:lnTo>
                      <a:pt x="52" y="126"/>
                    </a:lnTo>
                    <a:lnTo>
                      <a:pt x="0" y="126"/>
                    </a:lnTo>
                    <a:lnTo>
                      <a:pt x="35" y="144"/>
                    </a:lnTo>
                    <a:lnTo>
                      <a:pt x="69" y="144"/>
                    </a:lnTo>
                    <a:lnTo>
                      <a:pt x="88" y="126"/>
                    </a:lnTo>
                    <a:lnTo>
                      <a:pt x="123" y="144"/>
                    </a:lnTo>
                    <a:lnTo>
                      <a:pt x="140" y="126"/>
                    </a:lnTo>
                    <a:lnTo>
                      <a:pt x="192" y="63"/>
                    </a:lnTo>
                    <a:lnTo>
                      <a:pt x="244" y="63"/>
                    </a:lnTo>
                    <a:lnTo>
                      <a:pt x="261" y="63"/>
                    </a:lnTo>
                    <a:lnTo>
                      <a:pt x="244" y="48"/>
                    </a:lnTo>
                    <a:lnTo>
                      <a:pt x="278" y="48"/>
                    </a:lnTo>
                    <a:lnTo>
                      <a:pt x="227" y="30"/>
                    </a:lnTo>
                    <a:lnTo>
                      <a:pt x="227" y="15"/>
                    </a:lnTo>
                    <a:lnTo>
                      <a:pt x="209" y="0"/>
                    </a:lnTo>
                    <a:lnTo>
                      <a:pt x="175" y="30"/>
                    </a:lnTo>
                    <a:lnTo>
                      <a:pt x="158" y="48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2" name="Freeform 126">
                <a:extLst>
                  <a:ext uri="{FF2B5EF4-FFF2-40B4-BE49-F238E27FC236}">
                    <a16:creationId xmlns:a16="http://schemas.microsoft.com/office/drawing/2014/main" id="{C8E64772-A476-4BDB-9964-E2DE311776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03587" y="3891817"/>
                <a:ext cx="42673" cy="13636"/>
              </a:xfrm>
              <a:custGeom>
                <a:avLst/>
                <a:gdLst>
                  <a:gd name="T0" fmla="*/ 0 w 52"/>
                  <a:gd name="T1" fmla="*/ 3387 h 15"/>
                  <a:gd name="T2" fmla="*/ 0 w 52"/>
                  <a:gd name="T3" fmla="*/ 3387 h 15"/>
                  <a:gd name="T4" fmla="*/ 3969 w 52"/>
                  <a:gd name="T5" fmla="*/ 3387 h 15"/>
                  <a:gd name="T6" fmla="*/ 7144 w 52"/>
                  <a:gd name="T7" fmla="*/ 3387 h 15"/>
                  <a:gd name="T8" fmla="*/ 10319 w 52"/>
                  <a:gd name="T9" fmla="*/ 0 h 15"/>
                  <a:gd name="T10" fmla="*/ 7144 w 52"/>
                  <a:gd name="T11" fmla="*/ 0 h 15"/>
                  <a:gd name="T12" fmla="*/ 0 w 52"/>
                  <a:gd name="T13" fmla="*/ 3387 h 1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2"/>
                  <a:gd name="T22" fmla="*/ 0 h 15"/>
                  <a:gd name="T23" fmla="*/ 52 w 52"/>
                  <a:gd name="T24" fmla="*/ 15 h 1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2" h="15">
                    <a:moveTo>
                      <a:pt x="0" y="15"/>
                    </a:moveTo>
                    <a:lnTo>
                      <a:pt x="0" y="15"/>
                    </a:lnTo>
                    <a:lnTo>
                      <a:pt x="17" y="15"/>
                    </a:lnTo>
                    <a:lnTo>
                      <a:pt x="35" y="15"/>
                    </a:lnTo>
                    <a:lnTo>
                      <a:pt x="52" y="0"/>
                    </a:lnTo>
                    <a:lnTo>
                      <a:pt x="35" y="0"/>
                    </a:lnTo>
                    <a:lnTo>
                      <a:pt x="0" y="15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3" name="Freeform 127">
                <a:extLst>
                  <a:ext uri="{FF2B5EF4-FFF2-40B4-BE49-F238E27FC236}">
                    <a16:creationId xmlns:a16="http://schemas.microsoft.com/office/drawing/2014/main" id="{4BF00A27-4148-4BC5-977E-591DE659B4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88699" y="3905452"/>
                <a:ext cx="229774" cy="177260"/>
              </a:xfrm>
              <a:custGeom>
                <a:avLst/>
                <a:gdLst>
                  <a:gd name="T0" fmla="*/ 3997 w 278"/>
                  <a:gd name="T1" fmla="*/ 12761 h 207"/>
                  <a:gd name="T2" fmla="*/ 3997 w 278"/>
                  <a:gd name="T3" fmla="*/ 12761 h 207"/>
                  <a:gd name="T4" fmla="*/ 10393 w 278"/>
                  <a:gd name="T5" fmla="*/ 16749 h 207"/>
                  <a:gd name="T6" fmla="*/ 17588 w 278"/>
                  <a:gd name="T7" fmla="*/ 16749 h 207"/>
                  <a:gd name="T8" fmla="*/ 20786 w 278"/>
                  <a:gd name="T9" fmla="*/ 12761 h 207"/>
                  <a:gd name="T10" fmla="*/ 27981 w 278"/>
                  <a:gd name="T11" fmla="*/ 16749 h 207"/>
                  <a:gd name="T12" fmla="*/ 31179 w 278"/>
                  <a:gd name="T13" fmla="*/ 12761 h 207"/>
                  <a:gd name="T14" fmla="*/ 41572 w 278"/>
                  <a:gd name="T15" fmla="*/ 0 h 207"/>
                  <a:gd name="T16" fmla="*/ 52764 w 278"/>
                  <a:gd name="T17" fmla="*/ 0 h 207"/>
                  <a:gd name="T18" fmla="*/ 49567 w 278"/>
                  <a:gd name="T19" fmla="*/ 7178 h 207"/>
                  <a:gd name="T20" fmla="*/ 52764 w 278"/>
                  <a:gd name="T21" fmla="*/ 9571 h 207"/>
                  <a:gd name="T22" fmla="*/ 49567 w 278"/>
                  <a:gd name="T23" fmla="*/ 12761 h 207"/>
                  <a:gd name="T24" fmla="*/ 56762 w 278"/>
                  <a:gd name="T25" fmla="*/ 16749 h 207"/>
                  <a:gd name="T26" fmla="*/ 52764 w 278"/>
                  <a:gd name="T27" fmla="*/ 19142 h 207"/>
                  <a:gd name="T28" fmla="*/ 45569 w 278"/>
                  <a:gd name="T29" fmla="*/ 26320 h 207"/>
                  <a:gd name="T30" fmla="*/ 41572 w 278"/>
                  <a:gd name="T31" fmla="*/ 31903 h 207"/>
                  <a:gd name="T32" fmla="*/ 45569 w 278"/>
                  <a:gd name="T33" fmla="*/ 31903 h 207"/>
                  <a:gd name="T34" fmla="*/ 41572 w 278"/>
                  <a:gd name="T35" fmla="*/ 38284 h 207"/>
                  <a:gd name="T36" fmla="*/ 35176 w 278"/>
                  <a:gd name="T37" fmla="*/ 41474 h 207"/>
                  <a:gd name="T38" fmla="*/ 31179 w 278"/>
                  <a:gd name="T39" fmla="*/ 38284 h 207"/>
                  <a:gd name="T40" fmla="*/ 24783 w 278"/>
                  <a:gd name="T41" fmla="*/ 38284 h 207"/>
                  <a:gd name="T42" fmla="*/ 17588 w 278"/>
                  <a:gd name="T43" fmla="*/ 38284 h 207"/>
                  <a:gd name="T44" fmla="*/ 17588 w 278"/>
                  <a:gd name="T45" fmla="*/ 35094 h 207"/>
                  <a:gd name="T46" fmla="*/ 10393 w 278"/>
                  <a:gd name="T47" fmla="*/ 35094 h 207"/>
                  <a:gd name="T48" fmla="*/ 7195 w 278"/>
                  <a:gd name="T49" fmla="*/ 28713 h 207"/>
                  <a:gd name="T50" fmla="*/ 3997 w 278"/>
                  <a:gd name="T51" fmla="*/ 22332 h 207"/>
                  <a:gd name="T52" fmla="*/ 0 w 278"/>
                  <a:gd name="T53" fmla="*/ 16749 h 207"/>
                  <a:gd name="T54" fmla="*/ 3997 w 278"/>
                  <a:gd name="T55" fmla="*/ 12761 h 207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278"/>
                  <a:gd name="T85" fmla="*/ 0 h 207"/>
                  <a:gd name="T86" fmla="*/ 278 w 278"/>
                  <a:gd name="T87" fmla="*/ 207 h 207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278" h="207">
                    <a:moveTo>
                      <a:pt x="17" y="63"/>
                    </a:moveTo>
                    <a:lnTo>
                      <a:pt x="17" y="63"/>
                    </a:lnTo>
                    <a:lnTo>
                      <a:pt x="52" y="81"/>
                    </a:lnTo>
                    <a:lnTo>
                      <a:pt x="86" y="81"/>
                    </a:lnTo>
                    <a:lnTo>
                      <a:pt x="104" y="63"/>
                    </a:lnTo>
                    <a:lnTo>
                      <a:pt x="138" y="81"/>
                    </a:lnTo>
                    <a:lnTo>
                      <a:pt x="155" y="63"/>
                    </a:lnTo>
                    <a:lnTo>
                      <a:pt x="207" y="0"/>
                    </a:lnTo>
                    <a:lnTo>
                      <a:pt x="261" y="0"/>
                    </a:lnTo>
                    <a:lnTo>
                      <a:pt x="244" y="33"/>
                    </a:lnTo>
                    <a:lnTo>
                      <a:pt x="261" y="48"/>
                    </a:lnTo>
                    <a:lnTo>
                      <a:pt x="244" y="63"/>
                    </a:lnTo>
                    <a:lnTo>
                      <a:pt x="278" y="81"/>
                    </a:lnTo>
                    <a:lnTo>
                      <a:pt x="261" y="96"/>
                    </a:lnTo>
                    <a:lnTo>
                      <a:pt x="224" y="129"/>
                    </a:lnTo>
                    <a:lnTo>
                      <a:pt x="207" y="159"/>
                    </a:lnTo>
                    <a:lnTo>
                      <a:pt x="224" y="159"/>
                    </a:lnTo>
                    <a:lnTo>
                      <a:pt x="207" y="192"/>
                    </a:lnTo>
                    <a:lnTo>
                      <a:pt x="173" y="207"/>
                    </a:lnTo>
                    <a:lnTo>
                      <a:pt x="155" y="192"/>
                    </a:lnTo>
                    <a:lnTo>
                      <a:pt x="121" y="192"/>
                    </a:lnTo>
                    <a:lnTo>
                      <a:pt x="86" y="192"/>
                    </a:lnTo>
                    <a:lnTo>
                      <a:pt x="86" y="176"/>
                    </a:lnTo>
                    <a:lnTo>
                      <a:pt x="52" y="176"/>
                    </a:lnTo>
                    <a:lnTo>
                      <a:pt x="34" y="144"/>
                    </a:lnTo>
                    <a:lnTo>
                      <a:pt x="17" y="111"/>
                    </a:lnTo>
                    <a:lnTo>
                      <a:pt x="0" y="81"/>
                    </a:lnTo>
                    <a:lnTo>
                      <a:pt x="17" y="63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" name="Freeform 129">
                <a:extLst>
                  <a:ext uri="{FF2B5EF4-FFF2-40B4-BE49-F238E27FC236}">
                    <a16:creationId xmlns:a16="http://schemas.microsoft.com/office/drawing/2014/main" id="{65EE914B-082A-41E3-9BC6-94A6AEBD74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2208" y="4014534"/>
                <a:ext cx="13130" cy="27271"/>
              </a:xfrm>
              <a:custGeom>
                <a:avLst/>
                <a:gdLst>
                  <a:gd name="T0" fmla="*/ 0 w 16"/>
                  <a:gd name="T1" fmla="*/ 0 h 30"/>
                  <a:gd name="T2" fmla="*/ 0 w 16"/>
                  <a:gd name="T3" fmla="*/ 0 h 30"/>
                  <a:gd name="T4" fmla="*/ 3175 w 16"/>
                  <a:gd name="T5" fmla="*/ 7620 h 30"/>
                  <a:gd name="T6" fmla="*/ 3175 w 16"/>
                  <a:gd name="T7" fmla="*/ 3387 h 30"/>
                  <a:gd name="T8" fmla="*/ 3175 w 16"/>
                  <a:gd name="T9" fmla="*/ 0 h 30"/>
                  <a:gd name="T10" fmla="*/ 0 w 16"/>
                  <a:gd name="T11" fmla="*/ 0 h 3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"/>
                  <a:gd name="T19" fmla="*/ 0 h 30"/>
                  <a:gd name="T20" fmla="*/ 16 w 16"/>
                  <a:gd name="T21" fmla="*/ 30 h 3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" h="30">
                    <a:moveTo>
                      <a:pt x="0" y="0"/>
                    </a:moveTo>
                    <a:lnTo>
                      <a:pt x="0" y="0"/>
                    </a:lnTo>
                    <a:lnTo>
                      <a:pt x="16" y="30"/>
                    </a:lnTo>
                    <a:lnTo>
                      <a:pt x="16" y="15"/>
                    </a:lnTo>
                    <a:lnTo>
                      <a:pt x="16" y="0"/>
                    </a:lnTo>
                    <a:lnTo>
                      <a:pt x="0" y="0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" name="Freeform 131">
                <a:extLst>
                  <a:ext uri="{FF2B5EF4-FFF2-40B4-BE49-F238E27FC236}">
                    <a16:creationId xmlns:a16="http://schemas.microsoft.com/office/drawing/2014/main" id="{B5C2FFBC-A551-429E-AD24-CD68C9EAA1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88699" y="3564567"/>
                <a:ext cx="57444" cy="40907"/>
              </a:xfrm>
              <a:custGeom>
                <a:avLst/>
                <a:gdLst>
                  <a:gd name="T0" fmla="*/ 0 w 69"/>
                  <a:gd name="T1" fmla="*/ 2381 h 48"/>
                  <a:gd name="T2" fmla="*/ 0 w 69"/>
                  <a:gd name="T3" fmla="*/ 2381 h 48"/>
                  <a:gd name="T4" fmla="*/ 0 w 69"/>
                  <a:gd name="T5" fmla="*/ 5556 h 48"/>
                  <a:gd name="T6" fmla="*/ 7247 w 69"/>
                  <a:gd name="T7" fmla="*/ 9525 h 48"/>
                  <a:gd name="T8" fmla="*/ 10468 w 69"/>
                  <a:gd name="T9" fmla="*/ 5556 h 48"/>
                  <a:gd name="T10" fmla="*/ 14495 w 69"/>
                  <a:gd name="T11" fmla="*/ 0 h 48"/>
                  <a:gd name="T12" fmla="*/ 4026 w 69"/>
                  <a:gd name="T13" fmla="*/ 0 h 48"/>
                  <a:gd name="T14" fmla="*/ 0 w 69"/>
                  <a:gd name="T15" fmla="*/ 2381 h 4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9"/>
                  <a:gd name="T25" fmla="*/ 0 h 48"/>
                  <a:gd name="T26" fmla="*/ 69 w 69"/>
                  <a:gd name="T27" fmla="*/ 48 h 4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9" h="48">
                    <a:moveTo>
                      <a:pt x="0" y="15"/>
                    </a:moveTo>
                    <a:lnTo>
                      <a:pt x="0" y="15"/>
                    </a:lnTo>
                    <a:lnTo>
                      <a:pt x="0" y="31"/>
                    </a:lnTo>
                    <a:lnTo>
                      <a:pt x="34" y="48"/>
                    </a:lnTo>
                    <a:lnTo>
                      <a:pt x="52" y="31"/>
                    </a:lnTo>
                    <a:lnTo>
                      <a:pt x="69" y="0"/>
                    </a:lnTo>
                    <a:lnTo>
                      <a:pt x="17" y="0"/>
                    </a:lnTo>
                    <a:lnTo>
                      <a:pt x="0" y="15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6" name="Freeform 132">
                <a:extLst>
                  <a:ext uri="{FF2B5EF4-FFF2-40B4-BE49-F238E27FC236}">
                    <a16:creationId xmlns:a16="http://schemas.microsoft.com/office/drawing/2014/main" id="{5D6E29FB-537A-485D-8DFE-60BDADCF9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44734" y="3441849"/>
                <a:ext cx="42673" cy="68177"/>
              </a:xfrm>
              <a:custGeom>
                <a:avLst/>
                <a:gdLst>
                  <a:gd name="T0" fmla="*/ 0 w 52"/>
                  <a:gd name="T1" fmla="*/ 9646 h 79"/>
                  <a:gd name="T2" fmla="*/ 0 w 52"/>
                  <a:gd name="T3" fmla="*/ 9646 h 79"/>
                  <a:gd name="T4" fmla="*/ 0 w 52"/>
                  <a:gd name="T5" fmla="*/ 12861 h 79"/>
                  <a:gd name="T6" fmla="*/ 3969 w 52"/>
                  <a:gd name="T7" fmla="*/ 16076 h 79"/>
                  <a:gd name="T8" fmla="*/ 10319 w 52"/>
                  <a:gd name="T9" fmla="*/ 0 h 79"/>
                  <a:gd name="T10" fmla="*/ 7144 w 52"/>
                  <a:gd name="T11" fmla="*/ 0 h 79"/>
                  <a:gd name="T12" fmla="*/ 0 w 52"/>
                  <a:gd name="T13" fmla="*/ 9646 h 7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2"/>
                  <a:gd name="T22" fmla="*/ 0 h 79"/>
                  <a:gd name="T23" fmla="*/ 52 w 52"/>
                  <a:gd name="T24" fmla="*/ 79 h 7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2" h="79">
                    <a:moveTo>
                      <a:pt x="0" y="48"/>
                    </a:moveTo>
                    <a:lnTo>
                      <a:pt x="0" y="48"/>
                    </a:lnTo>
                    <a:lnTo>
                      <a:pt x="0" y="63"/>
                    </a:lnTo>
                    <a:lnTo>
                      <a:pt x="17" y="79"/>
                    </a:lnTo>
                    <a:lnTo>
                      <a:pt x="52" y="0"/>
                    </a:lnTo>
                    <a:lnTo>
                      <a:pt x="34" y="0"/>
                    </a:lnTo>
                    <a:lnTo>
                      <a:pt x="0" y="48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7" name="Freeform 133">
                <a:extLst>
                  <a:ext uri="{FF2B5EF4-FFF2-40B4-BE49-F238E27FC236}">
                    <a16:creationId xmlns:a16="http://schemas.microsoft.com/office/drawing/2014/main" id="{F37C1815-9D8F-42A9-98C1-C78BF74609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89993" y="3878182"/>
                <a:ext cx="242905" cy="245437"/>
              </a:xfrm>
              <a:custGeom>
                <a:avLst/>
                <a:gdLst>
                  <a:gd name="T0" fmla="*/ 0 w 296"/>
                  <a:gd name="T1" fmla="*/ 0 h 288"/>
                  <a:gd name="T2" fmla="*/ 0 w 296"/>
                  <a:gd name="T3" fmla="*/ 0 h 288"/>
                  <a:gd name="T4" fmla="*/ 0 w 296"/>
                  <a:gd name="T5" fmla="*/ 3969 h 288"/>
                  <a:gd name="T6" fmla="*/ 7144 w 296"/>
                  <a:gd name="T7" fmla="*/ 9525 h 288"/>
                  <a:gd name="T8" fmla="*/ 14288 w 296"/>
                  <a:gd name="T9" fmla="*/ 15875 h 288"/>
                  <a:gd name="T10" fmla="*/ 17462 w 296"/>
                  <a:gd name="T11" fmla="*/ 19050 h 288"/>
                  <a:gd name="T12" fmla="*/ 20637 w 296"/>
                  <a:gd name="T13" fmla="*/ 26194 h 288"/>
                  <a:gd name="T14" fmla="*/ 27781 w 296"/>
                  <a:gd name="T15" fmla="*/ 31750 h 288"/>
                  <a:gd name="T16" fmla="*/ 34131 w 296"/>
                  <a:gd name="T17" fmla="*/ 44450 h 288"/>
                  <a:gd name="T18" fmla="*/ 48419 w 296"/>
                  <a:gd name="T19" fmla="*/ 57150 h 288"/>
                  <a:gd name="T20" fmla="*/ 55563 w 296"/>
                  <a:gd name="T21" fmla="*/ 57150 h 288"/>
                  <a:gd name="T22" fmla="*/ 58738 w 296"/>
                  <a:gd name="T23" fmla="*/ 44450 h 288"/>
                  <a:gd name="T24" fmla="*/ 55563 w 296"/>
                  <a:gd name="T25" fmla="*/ 38100 h 288"/>
                  <a:gd name="T26" fmla="*/ 52388 w 296"/>
                  <a:gd name="T27" fmla="*/ 38100 h 288"/>
                  <a:gd name="T28" fmla="*/ 48419 w 296"/>
                  <a:gd name="T29" fmla="*/ 31750 h 288"/>
                  <a:gd name="T30" fmla="*/ 44450 w 296"/>
                  <a:gd name="T31" fmla="*/ 31750 h 288"/>
                  <a:gd name="T32" fmla="*/ 44450 w 296"/>
                  <a:gd name="T33" fmla="*/ 28575 h 288"/>
                  <a:gd name="T34" fmla="*/ 41275 w 296"/>
                  <a:gd name="T35" fmla="*/ 26194 h 288"/>
                  <a:gd name="T36" fmla="*/ 41275 w 296"/>
                  <a:gd name="T37" fmla="*/ 22225 h 288"/>
                  <a:gd name="T38" fmla="*/ 30956 w 296"/>
                  <a:gd name="T39" fmla="*/ 15875 h 288"/>
                  <a:gd name="T40" fmla="*/ 27781 w 296"/>
                  <a:gd name="T41" fmla="*/ 15875 h 288"/>
                  <a:gd name="T42" fmla="*/ 10319 w 296"/>
                  <a:gd name="T43" fmla="*/ 3969 h 288"/>
                  <a:gd name="T44" fmla="*/ 0 w 296"/>
                  <a:gd name="T45" fmla="*/ 0 h 28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296"/>
                  <a:gd name="T70" fmla="*/ 0 h 288"/>
                  <a:gd name="T71" fmla="*/ 296 w 296"/>
                  <a:gd name="T72" fmla="*/ 288 h 288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296" h="288">
                    <a:moveTo>
                      <a:pt x="0" y="0"/>
                    </a:moveTo>
                    <a:lnTo>
                      <a:pt x="0" y="0"/>
                    </a:lnTo>
                    <a:lnTo>
                      <a:pt x="0" y="18"/>
                    </a:lnTo>
                    <a:lnTo>
                      <a:pt x="35" y="48"/>
                    </a:lnTo>
                    <a:lnTo>
                      <a:pt x="71" y="81"/>
                    </a:lnTo>
                    <a:lnTo>
                      <a:pt x="88" y="96"/>
                    </a:lnTo>
                    <a:lnTo>
                      <a:pt x="106" y="129"/>
                    </a:lnTo>
                    <a:lnTo>
                      <a:pt x="140" y="162"/>
                    </a:lnTo>
                    <a:lnTo>
                      <a:pt x="175" y="225"/>
                    </a:lnTo>
                    <a:lnTo>
                      <a:pt x="244" y="288"/>
                    </a:lnTo>
                    <a:lnTo>
                      <a:pt x="278" y="288"/>
                    </a:lnTo>
                    <a:lnTo>
                      <a:pt x="296" y="225"/>
                    </a:lnTo>
                    <a:lnTo>
                      <a:pt x="278" y="192"/>
                    </a:lnTo>
                    <a:lnTo>
                      <a:pt x="261" y="192"/>
                    </a:lnTo>
                    <a:lnTo>
                      <a:pt x="244" y="162"/>
                    </a:lnTo>
                    <a:lnTo>
                      <a:pt x="227" y="162"/>
                    </a:lnTo>
                    <a:lnTo>
                      <a:pt x="227" y="144"/>
                    </a:lnTo>
                    <a:lnTo>
                      <a:pt x="209" y="129"/>
                    </a:lnTo>
                    <a:lnTo>
                      <a:pt x="209" y="114"/>
                    </a:lnTo>
                    <a:lnTo>
                      <a:pt x="158" y="81"/>
                    </a:lnTo>
                    <a:lnTo>
                      <a:pt x="140" y="81"/>
                    </a:lnTo>
                    <a:lnTo>
                      <a:pt x="54" y="18"/>
                    </a:lnTo>
                    <a:lnTo>
                      <a:pt x="0" y="0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8" name="Freeform 134">
                <a:extLst>
                  <a:ext uri="{FF2B5EF4-FFF2-40B4-BE49-F238E27FC236}">
                    <a16:creationId xmlns:a16="http://schemas.microsoft.com/office/drawing/2014/main" id="{9E40A716-085C-4294-87CA-9F250BF061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18126" y="4123619"/>
                <a:ext cx="198590" cy="54542"/>
              </a:xfrm>
              <a:custGeom>
                <a:avLst/>
                <a:gdLst>
                  <a:gd name="T0" fmla="*/ 0 w 242"/>
                  <a:gd name="T1" fmla="*/ 3126 h 65"/>
                  <a:gd name="T2" fmla="*/ 0 w 242"/>
                  <a:gd name="T3" fmla="*/ 3126 h 65"/>
                  <a:gd name="T4" fmla="*/ 14288 w 242"/>
                  <a:gd name="T5" fmla="*/ 9378 h 65"/>
                  <a:gd name="T6" fmla="*/ 48419 w 242"/>
                  <a:gd name="T7" fmla="*/ 12505 h 65"/>
                  <a:gd name="T8" fmla="*/ 48419 w 242"/>
                  <a:gd name="T9" fmla="*/ 9378 h 65"/>
                  <a:gd name="T10" fmla="*/ 41275 w 242"/>
                  <a:gd name="T11" fmla="*/ 9378 h 65"/>
                  <a:gd name="T12" fmla="*/ 38100 w 242"/>
                  <a:gd name="T13" fmla="*/ 6252 h 65"/>
                  <a:gd name="T14" fmla="*/ 27781 w 242"/>
                  <a:gd name="T15" fmla="*/ 3126 h 65"/>
                  <a:gd name="T16" fmla="*/ 27781 w 242"/>
                  <a:gd name="T17" fmla="*/ 6252 h 65"/>
                  <a:gd name="T18" fmla="*/ 20638 w 242"/>
                  <a:gd name="T19" fmla="*/ 3126 h 65"/>
                  <a:gd name="T20" fmla="*/ 10319 w 242"/>
                  <a:gd name="T21" fmla="*/ 0 h 65"/>
                  <a:gd name="T22" fmla="*/ 3969 w 242"/>
                  <a:gd name="T23" fmla="*/ 0 h 65"/>
                  <a:gd name="T24" fmla="*/ 0 w 242"/>
                  <a:gd name="T25" fmla="*/ 3126 h 6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42"/>
                  <a:gd name="T40" fmla="*/ 0 h 65"/>
                  <a:gd name="T41" fmla="*/ 242 w 242"/>
                  <a:gd name="T42" fmla="*/ 65 h 65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42" h="65">
                    <a:moveTo>
                      <a:pt x="0" y="17"/>
                    </a:moveTo>
                    <a:lnTo>
                      <a:pt x="0" y="17"/>
                    </a:lnTo>
                    <a:lnTo>
                      <a:pt x="70" y="48"/>
                    </a:lnTo>
                    <a:lnTo>
                      <a:pt x="242" y="65"/>
                    </a:lnTo>
                    <a:lnTo>
                      <a:pt x="242" y="48"/>
                    </a:lnTo>
                    <a:lnTo>
                      <a:pt x="208" y="48"/>
                    </a:lnTo>
                    <a:lnTo>
                      <a:pt x="191" y="33"/>
                    </a:lnTo>
                    <a:lnTo>
                      <a:pt x="139" y="17"/>
                    </a:lnTo>
                    <a:lnTo>
                      <a:pt x="139" y="33"/>
                    </a:lnTo>
                    <a:lnTo>
                      <a:pt x="104" y="17"/>
                    </a:lnTo>
                    <a:lnTo>
                      <a:pt x="52" y="0"/>
                    </a:lnTo>
                    <a:lnTo>
                      <a:pt x="18" y="0"/>
                    </a:lnTo>
                    <a:lnTo>
                      <a:pt x="0" y="1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9" name="Freeform 135">
                <a:extLst>
                  <a:ext uri="{FF2B5EF4-FFF2-40B4-BE49-F238E27FC236}">
                    <a16:creationId xmlns:a16="http://schemas.microsoft.com/office/drawing/2014/main" id="{5247028F-3CAD-4336-8218-4FD76BFBD0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16716" y="4178160"/>
                <a:ext cx="29543" cy="0"/>
              </a:xfrm>
              <a:custGeom>
                <a:avLst/>
                <a:gdLst>
                  <a:gd name="T0" fmla="*/ 0 w 37"/>
                  <a:gd name="T1" fmla="*/ 0 w 37"/>
                  <a:gd name="T2" fmla="*/ 3089 w 37"/>
                  <a:gd name="T3" fmla="*/ 6951 w 37"/>
                  <a:gd name="T4" fmla="*/ 0 w 37"/>
                  <a:gd name="T5" fmla="*/ 0 60000 65536"/>
                  <a:gd name="T6" fmla="*/ 0 60000 65536"/>
                  <a:gd name="T7" fmla="*/ 0 60000 65536"/>
                  <a:gd name="T8" fmla="*/ 0 60000 65536"/>
                  <a:gd name="T9" fmla="*/ 0 60000 65536"/>
                  <a:gd name="T10" fmla="*/ 0 w 37"/>
                  <a:gd name="T11" fmla="*/ 37 w 37"/>
                </a:gdLst>
                <a:ahLst/>
                <a:cxnLst>
                  <a:cxn ang="T5">
                    <a:pos x="T0" y="0"/>
                  </a:cxn>
                  <a:cxn ang="T6">
                    <a:pos x="T1" y="0"/>
                  </a:cxn>
                  <a:cxn ang="T7">
                    <a:pos x="T2" y="0"/>
                  </a:cxn>
                  <a:cxn ang="T8">
                    <a:pos x="T3" y="0"/>
                  </a:cxn>
                  <a:cxn ang="T9">
                    <a:pos x="T4" y="0"/>
                  </a:cxn>
                </a:cxnLst>
                <a:rect l="T10" t="0" r="T11" b="0"/>
                <a:pathLst>
                  <a:path w="37">
                    <a:moveTo>
                      <a:pt x="0" y="0"/>
                    </a:moveTo>
                    <a:lnTo>
                      <a:pt x="0" y="0"/>
                    </a:lnTo>
                    <a:lnTo>
                      <a:pt x="18" y="0"/>
                    </a:lnTo>
                    <a:lnTo>
                      <a:pt x="37" y="0"/>
                    </a:lnTo>
                    <a:lnTo>
                      <a:pt x="0" y="0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0" name="Freeform 136">
                <a:extLst>
                  <a:ext uri="{FF2B5EF4-FFF2-40B4-BE49-F238E27FC236}">
                    <a16:creationId xmlns:a16="http://schemas.microsoft.com/office/drawing/2014/main" id="{8D4E3E37-BBFB-4E22-997A-110B949087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18126" y="4028170"/>
                <a:ext cx="29543" cy="40907"/>
              </a:xfrm>
              <a:custGeom>
                <a:avLst/>
                <a:gdLst>
                  <a:gd name="T0" fmla="*/ 0 w 35"/>
                  <a:gd name="T1" fmla="*/ 2381 h 48"/>
                  <a:gd name="T2" fmla="*/ 0 w 35"/>
                  <a:gd name="T3" fmla="*/ 2381 h 48"/>
                  <a:gd name="T4" fmla="*/ 4082 w 35"/>
                  <a:gd name="T5" fmla="*/ 6350 h 48"/>
                  <a:gd name="T6" fmla="*/ 7348 w 35"/>
                  <a:gd name="T7" fmla="*/ 9525 h 48"/>
                  <a:gd name="T8" fmla="*/ 7348 w 35"/>
                  <a:gd name="T9" fmla="*/ 6350 h 48"/>
                  <a:gd name="T10" fmla="*/ 4082 w 35"/>
                  <a:gd name="T11" fmla="*/ 0 h 48"/>
                  <a:gd name="T12" fmla="*/ 0 w 35"/>
                  <a:gd name="T13" fmla="*/ 2381 h 4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5"/>
                  <a:gd name="T22" fmla="*/ 0 h 48"/>
                  <a:gd name="T23" fmla="*/ 35 w 35"/>
                  <a:gd name="T24" fmla="*/ 48 h 4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5" h="48">
                    <a:moveTo>
                      <a:pt x="0" y="15"/>
                    </a:moveTo>
                    <a:lnTo>
                      <a:pt x="0" y="15"/>
                    </a:lnTo>
                    <a:lnTo>
                      <a:pt x="18" y="32"/>
                    </a:lnTo>
                    <a:lnTo>
                      <a:pt x="35" y="48"/>
                    </a:lnTo>
                    <a:lnTo>
                      <a:pt x="35" y="32"/>
                    </a:lnTo>
                    <a:lnTo>
                      <a:pt x="18" y="0"/>
                    </a:lnTo>
                    <a:lnTo>
                      <a:pt x="0" y="15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1" name="Freeform 137">
                <a:extLst>
                  <a:ext uri="{FF2B5EF4-FFF2-40B4-BE49-F238E27FC236}">
                    <a16:creationId xmlns:a16="http://schemas.microsoft.com/office/drawing/2014/main" id="{1FDACCBA-45D3-472B-94D0-F4E4BA743D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60800" y="4055441"/>
                <a:ext cx="14772" cy="13636"/>
              </a:xfrm>
              <a:custGeom>
                <a:avLst/>
                <a:gdLst>
                  <a:gd name="T0" fmla="*/ 0 w 18"/>
                  <a:gd name="T1" fmla="*/ 3175 h 16"/>
                  <a:gd name="T2" fmla="*/ 0 w 18"/>
                  <a:gd name="T3" fmla="*/ 3175 h 16"/>
                  <a:gd name="T4" fmla="*/ 3969 w 18"/>
                  <a:gd name="T5" fmla="*/ 3175 h 16"/>
                  <a:gd name="T6" fmla="*/ 3969 w 18"/>
                  <a:gd name="T7" fmla="*/ 0 h 16"/>
                  <a:gd name="T8" fmla="*/ 0 w 18"/>
                  <a:gd name="T9" fmla="*/ 0 h 16"/>
                  <a:gd name="T10" fmla="*/ 0 w 18"/>
                  <a:gd name="T11" fmla="*/ 3175 h 1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8"/>
                  <a:gd name="T19" fmla="*/ 0 h 16"/>
                  <a:gd name="T20" fmla="*/ 18 w 18"/>
                  <a:gd name="T21" fmla="*/ 16 h 1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8" h="16">
                    <a:moveTo>
                      <a:pt x="0" y="16"/>
                    </a:moveTo>
                    <a:lnTo>
                      <a:pt x="0" y="16"/>
                    </a:lnTo>
                    <a:lnTo>
                      <a:pt x="18" y="16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0" y="16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2" name="Freeform 138">
                <a:extLst>
                  <a:ext uri="{FF2B5EF4-FFF2-40B4-BE49-F238E27FC236}">
                    <a16:creationId xmlns:a16="http://schemas.microsoft.com/office/drawing/2014/main" id="{1CB46799-743A-4BE7-9F82-229CA6DEC1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44734" y="3591838"/>
                <a:ext cx="85344" cy="122719"/>
              </a:xfrm>
              <a:custGeom>
                <a:avLst/>
                <a:gdLst>
                  <a:gd name="T0" fmla="*/ 0 w 104"/>
                  <a:gd name="T1" fmla="*/ 13588 h 143"/>
                  <a:gd name="T2" fmla="*/ 0 w 104"/>
                  <a:gd name="T3" fmla="*/ 13588 h 143"/>
                  <a:gd name="T4" fmla="*/ 0 w 104"/>
                  <a:gd name="T5" fmla="*/ 19183 h 143"/>
                  <a:gd name="T6" fmla="*/ 3969 w 104"/>
                  <a:gd name="T7" fmla="*/ 23180 h 143"/>
                  <a:gd name="T8" fmla="*/ 3969 w 104"/>
                  <a:gd name="T9" fmla="*/ 25578 h 143"/>
                  <a:gd name="T10" fmla="*/ 7144 w 104"/>
                  <a:gd name="T11" fmla="*/ 25578 h 143"/>
                  <a:gd name="T12" fmla="*/ 10319 w 104"/>
                  <a:gd name="T13" fmla="*/ 25578 h 143"/>
                  <a:gd name="T14" fmla="*/ 14288 w 104"/>
                  <a:gd name="T15" fmla="*/ 28775 h 143"/>
                  <a:gd name="T16" fmla="*/ 14288 w 104"/>
                  <a:gd name="T17" fmla="*/ 25578 h 143"/>
                  <a:gd name="T18" fmla="*/ 17463 w 104"/>
                  <a:gd name="T19" fmla="*/ 28775 h 143"/>
                  <a:gd name="T20" fmla="*/ 20638 w 104"/>
                  <a:gd name="T21" fmla="*/ 28775 h 143"/>
                  <a:gd name="T22" fmla="*/ 17463 w 104"/>
                  <a:gd name="T23" fmla="*/ 25578 h 143"/>
                  <a:gd name="T24" fmla="*/ 20638 w 104"/>
                  <a:gd name="T25" fmla="*/ 25578 h 143"/>
                  <a:gd name="T26" fmla="*/ 14288 w 104"/>
                  <a:gd name="T27" fmla="*/ 23180 h 143"/>
                  <a:gd name="T28" fmla="*/ 10319 w 104"/>
                  <a:gd name="T29" fmla="*/ 25578 h 143"/>
                  <a:gd name="T30" fmla="*/ 7144 w 104"/>
                  <a:gd name="T31" fmla="*/ 19183 h 143"/>
                  <a:gd name="T32" fmla="*/ 14288 w 104"/>
                  <a:gd name="T33" fmla="*/ 9592 h 143"/>
                  <a:gd name="T34" fmla="*/ 10319 w 104"/>
                  <a:gd name="T35" fmla="*/ 6394 h 143"/>
                  <a:gd name="T36" fmla="*/ 14288 w 104"/>
                  <a:gd name="T37" fmla="*/ 0 h 143"/>
                  <a:gd name="T38" fmla="*/ 10319 w 104"/>
                  <a:gd name="T39" fmla="*/ 3997 h 143"/>
                  <a:gd name="T40" fmla="*/ 3969 w 104"/>
                  <a:gd name="T41" fmla="*/ 0 h 143"/>
                  <a:gd name="T42" fmla="*/ 0 w 104"/>
                  <a:gd name="T43" fmla="*/ 13588 h 143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104"/>
                  <a:gd name="T67" fmla="*/ 0 h 143"/>
                  <a:gd name="T68" fmla="*/ 104 w 104"/>
                  <a:gd name="T69" fmla="*/ 143 h 143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104" h="143">
                    <a:moveTo>
                      <a:pt x="0" y="65"/>
                    </a:moveTo>
                    <a:lnTo>
                      <a:pt x="0" y="65"/>
                    </a:lnTo>
                    <a:lnTo>
                      <a:pt x="0" y="95"/>
                    </a:lnTo>
                    <a:lnTo>
                      <a:pt x="17" y="113"/>
                    </a:lnTo>
                    <a:lnTo>
                      <a:pt x="17" y="128"/>
                    </a:lnTo>
                    <a:lnTo>
                      <a:pt x="34" y="128"/>
                    </a:lnTo>
                    <a:lnTo>
                      <a:pt x="52" y="128"/>
                    </a:lnTo>
                    <a:lnTo>
                      <a:pt x="69" y="143"/>
                    </a:lnTo>
                    <a:lnTo>
                      <a:pt x="69" y="128"/>
                    </a:lnTo>
                    <a:lnTo>
                      <a:pt x="86" y="143"/>
                    </a:lnTo>
                    <a:lnTo>
                      <a:pt x="104" y="143"/>
                    </a:lnTo>
                    <a:lnTo>
                      <a:pt x="86" y="128"/>
                    </a:lnTo>
                    <a:lnTo>
                      <a:pt x="104" y="128"/>
                    </a:lnTo>
                    <a:lnTo>
                      <a:pt x="69" y="113"/>
                    </a:lnTo>
                    <a:lnTo>
                      <a:pt x="52" y="128"/>
                    </a:lnTo>
                    <a:lnTo>
                      <a:pt x="34" y="95"/>
                    </a:lnTo>
                    <a:lnTo>
                      <a:pt x="69" y="48"/>
                    </a:lnTo>
                    <a:lnTo>
                      <a:pt x="52" y="32"/>
                    </a:lnTo>
                    <a:lnTo>
                      <a:pt x="69" y="0"/>
                    </a:lnTo>
                    <a:lnTo>
                      <a:pt x="52" y="17"/>
                    </a:lnTo>
                    <a:lnTo>
                      <a:pt x="17" y="0"/>
                    </a:lnTo>
                    <a:lnTo>
                      <a:pt x="0" y="65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3" name="Freeform 139">
                <a:extLst>
                  <a:ext uri="{FF2B5EF4-FFF2-40B4-BE49-F238E27FC236}">
                    <a16:creationId xmlns:a16="http://schemas.microsoft.com/office/drawing/2014/main" id="{B5939A20-97C7-48EB-8BF3-F6697D2CD3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75801" y="3755463"/>
                <a:ext cx="55803" cy="68177"/>
              </a:xfrm>
              <a:custGeom>
                <a:avLst/>
                <a:gdLst>
                  <a:gd name="T0" fmla="*/ 0 w 69"/>
                  <a:gd name="T1" fmla="*/ 15679 h 81"/>
                  <a:gd name="T2" fmla="*/ 0 w 69"/>
                  <a:gd name="T3" fmla="*/ 15679 h 81"/>
                  <a:gd name="T4" fmla="*/ 13298 w 69"/>
                  <a:gd name="T5" fmla="*/ 3136 h 81"/>
                  <a:gd name="T6" fmla="*/ 13298 w 69"/>
                  <a:gd name="T7" fmla="*/ 0 h 81"/>
                  <a:gd name="T8" fmla="*/ 0 w 69"/>
                  <a:gd name="T9" fmla="*/ 15679 h 8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9"/>
                  <a:gd name="T16" fmla="*/ 0 h 81"/>
                  <a:gd name="T17" fmla="*/ 69 w 69"/>
                  <a:gd name="T18" fmla="*/ 81 h 8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9" h="81">
                    <a:moveTo>
                      <a:pt x="0" y="81"/>
                    </a:moveTo>
                    <a:lnTo>
                      <a:pt x="0" y="81"/>
                    </a:lnTo>
                    <a:lnTo>
                      <a:pt x="69" y="18"/>
                    </a:lnTo>
                    <a:lnTo>
                      <a:pt x="69" y="0"/>
                    </a:lnTo>
                    <a:lnTo>
                      <a:pt x="0" y="81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4" name="Freeform 140">
                <a:extLst>
                  <a:ext uri="{FF2B5EF4-FFF2-40B4-BE49-F238E27FC236}">
                    <a16:creationId xmlns:a16="http://schemas.microsoft.com/office/drawing/2014/main" id="{6A06EB7A-6CC9-497E-B7E8-07DB6EBA6B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44734" y="3714557"/>
                <a:ext cx="29543" cy="27271"/>
              </a:xfrm>
              <a:custGeom>
                <a:avLst/>
                <a:gdLst>
                  <a:gd name="T0" fmla="*/ 0 w 36"/>
                  <a:gd name="T1" fmla="*/ 0 h 33"/>
                  <a:gd name="T2" fmla="*/ 0 w 36"/>
                  <a:gd name="T3" fmla="*/ 0 h 33"/>
                  <a:gd name="T4" fmla="*/ 7144 w 36"/>
                  <a:gd name="T5" fmla="*/ 6158 h 33"/>
                  <a:gd name="T6" fmla="*/ 7144 w 36"/>
                  <a:gd name="T7" fmla="*/ 3079 h 33"/>
                  <a:gd name="T8" fmla="*/ 7144 w 36"/>
                  <a:gd name="T9" fmla="*/ 0 h 33"/>
                  <a:gd name="T10" fmla="*/ 0 w 36"/>
                  <a:gd name="T11" fmla="*/ 0 h 3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6"/>
                  <a:gd name="T19" fmla="*/ 0 h 33"/>
                  <a:gd name="T20" fmla="*/ 36 w 36"/>
                  <a:gd name="T21" fmla="*/ 33 h 3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6" h="33">
                    <a:moveTo>
                      <a:pt x="0" y="0"/>
                    </a:moveTo>
                    <a:lnTo>
                      <a:pt x="0" y="0"/>
                    </a:lnTo>
                    <a:lnTo>
                      <a:pt x="36" y="33"/>
                    </a:lnTo>
                    <a:lnTo>
                      <a:pt x="36" y="18"/>
                    </a:lnTo>
                    <a:lnTo>
                      <a:pt x="36" y="0"/>
                    </a:lnTo>
                    <a:lnTo>
                      <a:pt x="0" y="0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5" name="Freeform 141">
                <a:extLst>
                  <a:ext uri="{FF2B5EF4-FFF2-40B4-BE49-F238E27FC236}">
                    <a16:creationId xmlns:a16="http://schemas.microsoft.com/office/drawing/2014/main" id="{672CF3D5-C517-4171-817C-F873A9B714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7405" y="3741827"/>
                <a:ext cx="57444" cy="68177"/>
              </a:xfrm>
              <a:custGeom>
                <a:avLst/>
                <a:gdLst>
                  <a:gd name="T0" fmla="*/ 0 w 71"/>
                  <a:gd name="T1" fmla="*/ 6272 h 81"/>
                  <a:gd name="T2" fmla="*/ 0 w 71"/>
                  <a:gd name="T3" fmla="*/ 6272 h 81"/>
                  <a:gd name="T4" fmla="*/ 3130 w 71"/>
                  <a:gd name="T5" fmla="*/ 6272 h 81"/>
                  <a:gd name="T6" fmla="*/ 3130 w 71"/>
                  <a:gd name="T7" fmla="*/ 9407 h 81"/>
                  <a:gd name="T8" fmla="*/ 7043 w 71"/>
                  <a:gd name="T9" fmla="*/ 15679 h 81"/>
                  <a:gd name="T10" fmla="*/ 7043 w 71"/>
                  <a:gd name="T11" fmla="*/ 11759 h 81"/>
                  <a:gd name="T12" fmla="*/ 7043 w 71"/>
                  <a:gd name="T13" fmla="*/ 9407 h 81"/>
                  <a:gd name="T14" fmla="*/ 13304 w 71"/>
                  <a:gd name="T15" fmla="*/ 11759 h 81"/>
                  <a:gd name="T16" fmla="*/ 13304 w 71"/>
                  <a:gd name="T17" fmla="*/ 9407 h 81"/>
                  <a:gd name="T18" fmla="*/ 10174 w 71"/>
                  <a:gd name="T19" fmla="*/ 9407 h 81"/>
                  <a:gd name="T20" fmla="*/ 10174 w 71"/>
                  <a:gd name="T21" fmla="*/ 2352 h 81"/>
                  <a:gd name="T22" fmla="*/ 7043 w 71"/>
                  <a:gd name="T23" fmla="*/ 6272 h 81"/>
                  <a:gd name="T24" fmla="*/ 7043 w 71"/>
                  <a:gd name="T25" fmla="*/ 2352 h 81"/>
                  <a:gd name="T26" fmla="*/ 3130 w 71"/>
                  <a:gd name="T27" fmla="*/ 0 h 81"/>
                  <a:gd name="T28" fmla="*/ 0 w 71"/>
                  <a:gd name="T29" fmla="*/ 0 h 81"/>
                  <a:gd name="T30" fmla="*/ 0 w 71"/>
                  <a:gd name="T31" fmla="*/ 6272 h 8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71"/>
                  <a:gd name="T49" fmla="*/ 0 h 81"/>
                  <a:gd name="T50" fmla="*/ 71 w 71"/>
                  <a:gd name="T51" fmla="*/ 81 h 8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71" h="81">
                    <a:moveTo>
                      <a:pt x="0" y="33"/>
                    </a:moveTo>
                    <a:lnTo>
                      <a:pt x="0" y="33"/>
                    </a:lnTo>
                    <a:lnTo>
                      <a:pt x="19" y="33"/>
                    </a:lnTo>
                    <a:lnTo>
                      <a:pt x="19" y="48"/>
                    </a:lnTo>
                    <a:lnTo>
                      <a:pt x="36" y="81"/>
                    </a:lnTo>
                    <a:lnTo>
                      <a:pt x="36" y="63"/>
                    </a:lnTo>
                    <a:lnTo>
                      <a:pt x="36" y="48"/>
                    </a:lnTo>
                    <a:lnTo>
                      <a:pt x="71" y="63"/>
                    </a:lnTo>
                    <a:lnTo>
                      <a:pt x="71" y="48"/>
                    </a:lnTo>
                    <a:lnTo>
                      <a:pt x="53" y="48"/>
                    </a:lnTo>
                    <a:lnTo>
                      <a:pt x="53" y="15"/>
                    </a:lnTo>
                    <a:lnTo>
                      <a:pt x="36" y="33"/>
                    </a:lnTo>
                    <a:lnTo>
                      <a:pt x="36" y="15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0" y="33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6" name="Freeform 142">
                <a:extLst>
                  <a:ext uri="{FF2B5EF4-FFF2-40B4-BE49-F238E27FC236}">
                    <a16:creationId xmlns:a16="http://schemas.microsoft.com/office/drawing/2014/main" id="{C99A90AE-5728-45E3-9682-DFC2121D17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7405" y="3782733"/>
                <a:ext cx="100116" cy="95448"/>
              </a:xfrm>
              <a:custGeom>
                <a:avLst/>
                <a:gdLst>
                  <a:gd name="T0" fmla="*/ 0 w 123"/>
                  <a:gd name="T1" fmla="*/ 16819 h 111"/>
                  <a:gd name="T2" fmla="*/ 0 w 123"/>
                  <a:gd name="T3" fmla="*/ 16819 h 111"/>
                  <a:gd name="T4" fmla="*/ 3149 w 123"/>
                  <a:gd name="T5" fmla="*/ 12814 h 111"/>
                  <a:gd name="T6" fmla="*/ 7086 w 123"/>
                  <a:gd name="T7" fmla="*/ 12814 h 111"/>
                  <a:gd name="T8" fmla="*/ 10235 w 123"/>
                  <a:gd name="T9" fmla="*/ 12814 h 111"/>
                  <a:gd name="T10" fmla="*/ 13384 w 123"/>
                  <a:gd name="T11" fmla="*/ 12814 h 111"/>
                  <a:gd name="T12" fmla="*/ 10235 w 123"/>
                  <a:gd name="T13" fmla="*/ 19222 h 111"/>
                  <a:gd name="T14" fmla="*/ 17321 w 123"/>
                  <a:gd name="T15" fmla="*/ 22425 h 111"/>
                  <a:gd name="T16" fmla="*/ 20470 w 123"/>
                  <a:gd name="T17" fmla="*/ 19222 h 111"/>
                  <a:gd name="T18" fmla="*/ 17321 w 123"/>
                  <a:gd name="T19" fmla="*/ 16819 h 111"/>
                  <a:gd name="T20" fmla="*/ 20470 w 123"/>
                  <a:gd name="T21" fmla="*/ 12814 h 111"/>
                  <a:gd name="T22" fmla="*/ 23619 w 123"/>
                  <a:gd name="T23" fmla="*/ 19222 h 111"/>
                  <a:gd name="T24" fmla="*/ 23619 w 123"/>
                  <a:gd name="T25" fmla="*/ 12814 h 111"/>
                  <a:gd name="T26" fmla="*/ 23619 w 123"/>
                  <a:gd name="T27" fmla="*/ 7208 h 111"/>
                  <a:gd name="T28" fmla="*/ 17321 w 123"/>
                  <a:gd name="T29" fmla="*/ 0 h 111"/>
                  <a:gd name="T30" fmla="*/ 17321 w 123"/>
                  <a:gd name="T31" fmla="*/ 7208 h 111"/>
                  <a:gd name="T32" fmla="*/ 13384 w 123"/>
                  <a:gd name="T33" fmla="*/ 7208 h 111"/>
                  <a:gd name="T34" fmla="*/ 10235 w 123"/>
                  <a:gd name="T35" fmla="*/ 9611 h 111"/>
                  <a:gd name="T36" fmla="*/ 7086 w 123"/>
                  <a:gd name="T37" fmla="*/ 7208 h 111"/>
                  <a:gd name="T38" fmla="*/ 0 w 123"/>
                  <a:gd name="T39" fmla="*/ 12814 h 111"/>
                  <a:gd name="T40" fmla="*/ 0 w 123"/>
                  <a:gd name="T41" fmla="*/ 16819 h 111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23"/>
                  <a:gd name="T64" fmla="*/ 0 h 111"/>
                  <a:gd name="T65" fmla="*/ 123 w 123"/>
                  <a:gd name="T66" fmla="*/ 111 h 111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23" h="111">
                    <a:moveTo>
                      <a:pt x="0" y="81"/>
                    </a:moveTo>
                    <a:lnTo>
                      <a:pt x="0" y="81"/>
                    </a:lnTo>
                    <a:lnTo>
                      <a:pt x="19" y="63"/>
                    </a:lnTo>
                    <a:lnTo>
                      <a:pt x="36" y="63"/>
                    </a:lnTo>
                    <a:lnTo>
                      <a:pt x="53" y="63"/>
                    </a:lnTo>
                    <a:lnTo>
                      <a:pt x="71" y="63"/>
                    </a:lnTo>
                    <a:lnTo>
                      <a:pt x="53" y="96"/>
                    </a:lnTo>
                    <a:lnTo>
                      <a:pt x="88" y="111"/>
                    </a:lnTo>
                    <a:lnTo>
                      <a:pt x="105" y="96"/>
                    </a:lnTo>
                    <a:lnTo>
                      <a:pt x="88" y="81"/>
                    </a:lnTo>
                    <a:lnTo>
                      <a:pt x="105" y="63"/>
                    </a:lnTo>
                    <a:lnTo>
                      <a:pt x="123" y="96"/>
                    </a:lnTo>
                    <a:lnTo>
                      <a:pt x="123" y="63"/>
                    </a:lnTo>
                    <a:lnTo>
                      <a:pt x="123" y="33"/>
                    </a:lnTo>
                    <a:lnTo>
                      <a:pt x="88" y="0"/>
                    </a:lnTo>
                    <a:lnTo>
                      <a:pt x="88" y="33"/>
                    </a:lnTo>
                    <a:lnTo>
                      <a:pt x="71" y="33"/>
                    </a:lnTo>
                    <a:lnTo>
                      <a:pt x="53" y="48"/>
                    </a:lnTo>
                    <a:lnTo>
                      <a:pt x="36" y="33"/>
                    </a:lnTo>
                    <a:lnTo>
                      <a:pt x="0" y="63"/>
                    </a:lnTo>
                    <a:lnTo>
                      <a:pt x="0" y="81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7" name="Line 143">
                <a:extLst>
                  <a:ext uri="{FF2B5EF4-FFF2-40B4-BE49-F238E27FC236}">
                    <a16:creationId xmlns:a16="http://schemas.microsoft.com/office/drawing/2014/main" id="{362496F2-78F3-4AB4-85AC-A4B195A6971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940756" y="3735010"/>
                <a:ext cx="0" cy="13636"/>
              </a:xfrm>
              <a:prstGeom prst="line">
                <a:avLst/>
              </a:pr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8" name="Line 144">
                <a:extLst>
                  <a:ext uri="{FF2B5EF4-FFF2-40B4-BE49-F238E27FC236}">
                    <a16:creationId xmlns:a16="http://schemas.microsoft.com/office/drawing/2014/main" id="{C4CF1C9C-250C-4983-8A45-143058A1EAF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723630" y="3407760"/>
                <a:ext cx="13130" cy="40907"/>
              </a:xfrm>
              <a:prstGeom prst="line">
                <a:avLst/>
              </a:pr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9" name="Line 145">
                <a:extLst>
                  <a:ext uri="{FF2B5EF4-FFF2-40B4-BE49-F238E27FC236}">
                    <a16:creationId xmlns:a16="http://schemas.microsoft.com/office/drawing/2014/main" id="{8FAD3C37-E133-47D0-8217-8F70F8314DC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758096" y="3373672"/>
                <a:ext cx="0" cy="27271"/>
              </a:xfrm>
              <a:prstGeom prst="line">
                <a:avLst/>
              </a:pr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0" name="Freeform 146">
                <a:extLst>
                  <a:ext uri="{FF2B5EF4-FFF2-40B4-BE49-F238E27FC236}">
                    <a16:creationId xmlns:a16="http://schemas.microsoft.com/office/drawing/2014/main" id="{59C59F59-70ED-42F4-9C9F-7CD8D7BDEB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44850" y="3728193"/>
                <a:ext cx="29543" cy="54542"/>
              </a:xfrm>
              <a:custGeom>
                <a:avLst/>
                <a:gdLst>
                  <a:gd name="T0" fmla="*/ 0 w 34"/>
                  <a:gd name="T1" fmla="*/ 0 h 63"/>
                  <a:gd name="T2" fmla="*/ 0 w 34"/>
                  <a:gd name="T3" fmla="*/ 0 h 63"/>
                  <a:gd name="T4" fmla="*/ 4202 w 34"/>
                  <a:gd name="T5" fmla="*/ 3225 h 63"/>
                  <a:gd name="T6" fmla="*/ 0 w 34"/>
                  <a:gd name="T7" fmla="*/ 6451 h 63"/>
                  <a:gd name="T8" fmla="*/ 0 w 34"/>
                  <a:gd name="T9" fmla="*/ 9676 h 63"/>
                  <a:gd name="T10" fmla="*/ 0 w 34"/>
                  <a:gd name="T11" fmla="*/ 12902 h 63"/>
                  <a:gd name="T12" fmla="*/ 4202 w 34"/>
                  <a:gd name="T13" fmla="*/ 12902 h 63"/>
                  <a:gd name="T14" fmla="*/ 4202 w 34"/>
                  <a:gd name="T15" fmla="*/ 6451 h 63"/>
                  <a:gd name="T16" fmla="*/ 8404 w 34"/>
                  <a:gd name="T17" fmla="*/ 6451 h 63"/>
                  <a:gd name="T18" fmla="*/ 4202 w 34"/>
                  <a:gd name="T19" fmla="*/ 3225 h 63"/>
                  <a:gd name="T20" fmla="*/ 4202 w 34"/>
                  <a:gd name="T21" fmla="*/ 0 h 63"/>
                  <a:gd name="T22" fmla="*/ 0 w 34"/>
                  <a:gd name="T23" fmla="*/ 0 h 6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4"/>
                  <a:gd name="T37" fmla="*/ 0 h 63"/>
                  <a:gd name="T38" fmla="*/ 34 w 34"/>
                  <a:gd name="T39" fmla="*/ 63 h 63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4" h="63">
                    <a:moveTo>
                      <a:pt x="0" y="0"/>
                    </a:moveTo>
                    <a:lnTo>
                      <a:pt x="0" y="0"/>
                    </a:lnTo>
                    <a:lnTo>
                      <a:pt x="17" y="15"/>
                    </a:lnTo>
                    <a:lnTo>
                      <a:pt x="0" y="30"/>
                    </a:lnTo>
                    <a:lnTo>
                      <a:pt x="0" y="48"/>
                    </a:lnTo>
                    <a:lnTo>
                      <a:pt x="0" y="63"/>
                    </a:lnTo>
                    <a:lnTo>
                      <a:pt x="17" y="63"/>
                    </a:lnTo>
                    <a:lnTo>
                      <a:pt x="17" y="30"/>
                    </a:lnTo>
                    <a:lnTo>
                      <a:pt x="34" y="30"/>
                    </a:lnTo>
                    <a:lnTo>
                      <a:pt x="17" y="15"/>
                    </a:lnTo>
                    <a:lnTo>
                      <a:pt x="17" y="0"/>
                    </a:lnTo>
                    <a:lnTo>
                      <a:pt x="0" y="0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1" name="Freeform 147">
                <a:extLst>
                  <a:ext uri="{FF2B5EF4-FFF2-40B4-BE49-F238E27FC236}">
                    <a16:creationId xmlns:a16="http://schemas.microsoft.com/office/drawing/2014/main" id="{FCF61773-C6AB-4893-A704-DE4F50B5F3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50835" y="3687286"/>
                <a:ext cx="108321" cy="80108"/>
              </a:xfrm>
              <a:custGeom>
                <a:avLst/>
                <a:gdLst>
                  <a:gd name="T0" fmla="*/ 2922 w 251"/>
                  <a:gd name="T1" fmla="*/ 5543 h 175"/>
                  <a:gd name="T2" fmla="*/ 2922 w 251"/>
                  <a:gd name="T3" fmla="*/ 5543 h 175"/>
                  <a:gd name="T4" fmla="*/ 4592 w 251"/>
                  <a:gd name="T5" fmla="*/ 4264 h 175"/>
                  <a:gd name="T6" fmla="*/ 5427 w 251"/>
                  <a:gd name="T7" fmla="*/ 3411 h 175"/>
                  <a:gd name="T8" fmla="*/ 7096 w 251"/>
                  <a:gd name="T9" fmla="*/ 2558 h 175"/>
                  <a:gd name="T10" fmla="*/ 7096 w 251"/>
                  <a:gd name="T11" fmla="*/ 0 h 175"/>
                  <a:gd name="T12" fmla="*/ 5427 w 251"/>
                  <a:gd name="T13" fmla="*/ 0 h 175"/>
                  <a:gd name="T14" fmla="*/ 5427 w 251"/>
                  <a:gd name="T15" fmla="*/ 853 h 175"/>
                  <a:gd name="T16" fmla="*/ 4592 w 251"/>
                  <a:gd name="T17" fmla="*/ 0 h 175"/>
                  <a:gd name="T18" fmla="*/ 835 w 251"/>
                  <a:gd name="T19" fmla="*/ 0 h 175"/>
                  <a:gd name="T20" fmla="*/ 0 w 251"/>
                  <a:gd name="T21" fmla="*/ 1705 h 175"/>
                  <a:gd name="T22" fmla="*/ 835 w 251"/>
                  <a:gd name="T23" fmla="*/ 3411 h 175"/>
                  <a:gd name="T24" fmla="*/ 835 w 251"/>
                  <a:gd name="T25" fmla="*/ 4264 h 175"/>
                  <a:gd name="T26" fmla="*/ 835 w 251"/>
                  <a:gd name="T27" fmla="*/ 5543 h 175"/>
                  <a:gd name="T28" fmla="*/ 2922 w 251"/>
                  <a:gd name="T29" fmla="*/ 5543 h 17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51"/>
                  <a:gd name="T46" fmla="*/ 0 h 175"/>
                  <a:gd name="T47" fmla="*/ 251 w 251"/>
                  <a:gd name="T48" fmla="*/ 175 h 17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51" h="175">
                    <a:moveTo>
                      <a:pt x="94" y="175"/>
                    </a:moveTo>
                    <a:lnTo>
                      <a:pt x="94" y="175"/>
                    </a:lnTo>
                    <a:lnTo>
                      <a:pt x="157" y="146"/>
                    </a:lnTo>
                    <a:lnTo>
                      <a:pt x="188" y="117"/>
                    </a:lnTo>
                    <a:lnTo>
                      <a:pt x="251" y="89"/>
                    </a:lnTo>
                    <a:lnTo>
                      <a:pt x="251" y="0"/>
                    </a:lnTo>
                    <a:lnTo>
                      <a:pt x="188" y="0"/>
                    </a:lnTo>
                    <a:lnTo>
                      <a:pt x="188" y="31"/>
                    </a:lnTo>
                    <a:lnTo>
                      <a:pt x="157" y="0"/>
                    </a:lnTo>
                    <a:lnTo>
                      <a:pt x="30" y="0"/>
                    </a:lnTo>
                    <a:lnTo>
                      <a:pt x="0" y="60"/>
                    </a:lnTo>
                    <a:lnTo>
                      <a:pt x="30" y="117"/>
                    </a:lnTo>
                    <a:lnTo>
                      <a:pt x="30" y="146"/>
                    </a:lnTo>
                    <a:lnTo>
                      <a:pt x="30" y="175"/>
                    </a:lnTo>
                    <a:lnTo>
                      <a:pt x="94" y="17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2" name="Freeform 148">
                <a:extLst>
                  <a:ext uri="{FF2B5EF4-FFF2-40B4-BE49-F238E27FC236}">
                    <a16:creationId xmlns:a16="http://schemas.microsoft.com/office/drawing/2014/main" id="{2C7D5766-DFE6-4B6B-B60B-F2C70F3A76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19304" y="3414579"/>
                <a:ext cx="114887" cy="122719"/>
              </a:xfrm>
              <a:custGeom>
                <a:avLst/>
                <a:gdLst>
                  <a:gd name="T0" fmla="*/ 27781 w 140"/>
                  <a:gd name="T1" fmla="*/ 26194 h 144"/>
                  <a:gd name="T2" fmla="*/ 27781 w 140"/>
                  <a:gd name="T3" fmla="*/ 26194 h 144"/>
                  <a:gd name="T4" fmla="*/ 23812 w 140"/>
                  <a:gd name="T5" fmla="*/ 15875 h 144"/>
                  <a:gd name="T6" fmla="*/ 23812 w 140"/>
                  <a:gd name="T7" fmla="*/ 12700 h 144"/>
                  <a:gd name="T8" fmla="*/ 20637 w 140"/>
                  <a:gd name="T9" fmla="*/ 15875 h 144"/>
                  <a:gd name="T10" fmla="*/ 17462 w 140"/>
                  <a:gd name="T11" fmla="*/ 15875 h 144"/>
                  <a:gd name="T12" fmla="*/ 17462 w 140"/>
                  <a:gd name="T13" fmla="*/ 12700 h 144"/>
                  <a:gd name="T14" fmla="*/ 23812 w 140"/>
                  <a:gd name="T15" fmla="*/ 7144 h 144"/>
                  <a:gd name="T16" fmla="*/ 10319 w 140"/>
                  <a:gd name="T17" fmla="*/ 7144 h 144"/>
                  <a:gd name="T18" fmla="*/ 10319 w 140"/>
                  <a:gd name="T19" fmla="*/ 0 h 144"/>
                  <a:gd name="T20" fmla="*/ 7144 w 140"/>
                  <a:gd name="T21" fmla="*/ 0 h 144"/>
                  <a:gd name="T22" fmla="*/ 3175 w 140"/>
                  <a:gd name="T23" fmla="*/ 0 h 144"/>
                  <a:gd name="T24" fmla="*/ 3175 w 140"/>
                  <a:gd name="T25" fmla="*/ 3175 h 144"/>
                  <a:gd name="T26" fmla="*/ 0 w 140"/>
                  <a:gd name="T27" fmla="*/ 9525 h 144"/>
                  <a:gd name="T28" fmla="*/ 3175 w 140"/>
                  <a:gd name="T29" fmla="*/ 9525 h 144"/>
                  <a:gd name="T30" fmla="*/ 7144 w 140"/>
                  <a:gd name="T31" fmla="*/ 26194 h 144"/>
                  <a:gd name="T32" fmla="*/ 14287 w 140"/>
                  <a:gd name="T33" fmla="*/ 26194 h 144"/>
                  <a:gd name="T34" fmla="*/ 20637 w 140"/>
                  <a:gd name="T35" fmla="*/ 19050 h 144"/>
                  <a:gd name="T36" fmla="*/ 23812 w 140"/>
                  <a:gd name="T37" fmla="*/ 28575 h 144"/>
                  <a:gd name="T38" fmla="*/ 27781 w 140"/>
                  <a:gd name="T39" fmla="*/ 26194 h 144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40"/>
                  <a:gd name="T61" fmla="*/ 0 h 144"/>
                  <a:gd name="T62" fmla="*/ 140 w 140"/>
                  <a:gd name="T63" fmla="*/ 144 h 144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40" h="144">
                    <a:moveTo>
                      <a:pt x="140" y="129"/>
                    </a:moveTo>
                    <a:lnTo>
                      <a:pt x="140" y="129"/>
                    </a:lnTo>
                    <a:lnTo>
                      <a:pt x="123" y="81"/>
                    </a:lnTo>
                    <a:lnTo>
                      <a:pt x="123" y="64"/>
                    </a:lnTo>
                    <a:lnTo>
                      <a:pt x="105" y="81"/>
                    </a:lnTo>
                    <a:lnTo>
                      <a:pt x="88" y="81"/>
                    </a:lnTo>
                    <a:lnTo>
                      <a:pt x="88" y="64"/>
                    </a:lnTo>
                    <a:lnTo>
                      <a:pt x="123" y="33"/>
                    </a:lnTo>
                    <a:lnTo>
                      <a:pt x="52" y="33"/>
                    </a:lnTo>
                    <a:lnTo>
                      <a:pt x="52" y="0"/>
                    </a:lnTo>
                    <a:lnTo>
                      <a:pt x="34" y="0"/>
                    </a:lnTo>
                    <a:lnTo>
                      <a:pt x="17" y="0"/>
                    </a:lnTo>
                    <a:lnTo>
                      <a:pt x="17" y="16"/>
                    </a:lnTo>
                    <a:lnTo>
                      <a:pt x="0" y="48"/>
                    </a:lnTo>
                    <a:lnTo>
                      <a:pt x="17" y="48"/>
                    </a:lnTo>
                    <a:lnTo>
                      <a:pt x="34" y="129"/>
                    </a:lnTo>
                    <a:lnTo>
                      <a:pt x="69" y="129"/>
                    </a:lnTo>
                    <a:lnTo>
                      <a:pt x="105" y="96"/>
                    </a:lnTo>
                    <a:lnTo>
                      <a:pt x="123" y="144"/>
                    </a:lnTo>
                    <a:lnTo>
                      <a:pt x="140" y="12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3" name="Freeform 149">
                <a:extLst>
                  <a:ext uri="{FF2B5EF4-FFF2-40B4-BE49-F238E27FC236}">
                    <a16:creationId xmlns:a16="http://schemas.microsoft.com/office/drawing/2014/main" id="{9300D77D-F4F4-4B62-9EEB-18D786FD50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21062" y="3373672"/>
                <a:ext cx="196949" cy="422696"/>
              </a:xfrm>
              <a:custGeom>
                <a:avLst/>
                <a:gdLst>
                  <a:gd name="T0" fmla="*/ 34131 w 240"/>
                  <a:gd name="T1" fmla="*/ 98624 h 495"/>
                  <a:gd name="T2" fmla="*/ 34131 w 240"/>
                  <a:gd name="T3" fmla="*/ 98624 h 495"/>
                  <a:gd name="T4" fmla="*/ 41275 w 240"/>
                  <a:gd name="T5" fmla="*/ 85898 h 495"/>
                  <a:gd name="T6" fmla="*/ 38100 w 240"/>
                  <a:gd name="T7" fmla="*/ 76354 h 495"/>
                  <a:gd name="T8" fmla="*/ 34131 w 240"/>
                  <a:gd name="T9" fmla="*/ 69991 h 495"/>
                  <a:gd name="T10" fmla="*/ 34131 w 240"/>
                  <a:gd name="T11" fmla="*/ 64424 h 495"/>
                  <a:gd name="T12" fmla="*/ 30956 w 240"/>
                  <a:gd name="T13" fmla="*/ 54879 h 495"/>
                  <a:gd name="T14" fmla="*/ 30956 w 240"/>
                  <a:gd name="T15" fmla="*/ 47721 h 495"/>
                  <a:gd name="T16" fmla="*/ 44450 w 240"/>
                  <a:gd name="T17" fmla="*/ 41358 h 495"/>
                  <a:gd name="T18" fmla="*/ 47625 w 240"/>
                  <a:gd name="T19" fmla="*/ 35791 h 495"/>
                  <a:gd name="T20" fmla="*/ 44450 w 240"/>
                  <a:gd name="T21" fmla="*/ 35791 h 495"/>
                  <a:gd name="T22" fmla="*/ 38100 w 240"/>
                  <a:gd name="T23" fmla="*/ 31814 h 495"/>
                  <a:gd name="T24" fmla="*/ 38100 w 240"/>
                  <a:gd name="T25" fmla="*/ 28633 h 495"/>
                  <a:gd name="T26" fmla="*/ 38100 w 240"/>
                  <a:gd name="T27" fmla="*/ 26247 h 495"/>
                  <a:gd name="T28" fmla="*/ 34131 w 240"/>
                  <a:gd name="T29" fmla="*/ 22270 h 495"/>
                  <a:gd name="T30" fmla="*/ 30956 w 240"/>
                  <a:gd name="T31" fmla="*/ 22270 h 495"/>
                  <a:gd name="T32" fmla="*/ 34131 w 240"/>
                  <a:gd name="T33" fmla="*/ 7158 h 495"/>
                  <a:gd name="T34" fmla="*/ 30956 w 240"/>
                  <a:gd name="T35" fmla="*/ 0 h 495"/>
                  <a:gd name="T36" fmla="*/ 27781 w 240"/>
                  <a:gd name="T37" fmla="*/ 0 h 495"/>
                  <a:gd name="T38" fmla="*/ 27781 w 240"/>
                  <a:gd name="T39" fmla="*/ 7158 h 495"/>
                  <a:gd name="T40" fmla="*/ 20638 w 240"/>
                  <a:gd name="T41" fmla="*/ 7158 h 495"/>
                  <a:gd name="T42" fmla="*/ 17463 w 240"/>
                  <a:gd name="T43" fmla="*/ 9544 h 495"/>
                  <a:gd name="T44" fmla="*/ 10319 w 240"/>
                  <a:gd name="T45" fmla="*/ 22270 h 495"/>
                  <a:gd name="T46" fmla="*/ 7144 w 240"/>
                  <a:gd name="T47" fmla="*/ 26247 h 495"/>
                  <a:gd name="T48" fmla="*/ 3969 w 240"/>
                  <a:gd name="T49" fmla="*/ 31814 h 495"/>
                  <a:gd name="T50" fmla="*/ 3969 w 240"/>
                  <a:gd name="T51" fmla="*/ 35791 h 495"/>
                  <a:gd name="T52" fmla="*/ 0 w 240"/>
                  <a:gd name="T53" fmla="*/ 38177 h 495"/>
                  <a:gd name="T54" fmla="*/ 7144 w 240"/>
                  <a:gd name="T55" fmla="*/ 45335 h 495"/>
                  <a:gd name="T56" fmla="*/ 10319 w 240"/>
                  <a:gd name="T57" fmla="*/ 50903 h 495"/>
                  <a:gd name="T58" fmla="*/ 14288 w 240"/>
                  <a:gd name="T59" fmla="*/ 60447 h 495"/>
                  <a:gd name="T60" fmla="*/ 10319 w 240"/>
                  <a:gd name="T61" fmla="*/ 64424 h 495"/>
                  <a:gd name="T62" fmla="*/ 17463 w 240"/>
                  <a:gd name="T63" fmla="*/ 66810 h 495"/>
                  <a:gd name="T64" fmla="*/ 23813 w 240"/>
                  <a:gd name="T65" fmla="*/ 60447 h 495"/>
                  <a:gd name="T66" fmla="*/ 27781 w 240"/>
                  <a:gd name="T67" fmla="*/ 64424 h 495"/>
                  <a:gd name="T68" fmla="*/ 34131 w 240"/>
                  <a:gd name="T69" fmla="*/ 83512 h 495"/>
                  <a:gd name="T70" fmla="*/ 34131 w 240"/>
                  <a:gd name="T71" fmla="*/ 98624 h 49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240"/>
                  <a:gd name="T109" fmla="*/ 0 h 495"/>
                  <a:gd name="T110" fmla="*/ 240 w 240"/>
                  <a:gd name="T111" fmla="*/ 495 h 495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240" h="495">
                    <a:moveTo>
                      <a:pt x="172" y="495"/>
                    </a:moveTo>
                    <a:lnTo>
                      <a:pt x="172" y="495"/>
                    </a:lnTo>
                    <a:lnTo>
                      <a:pt x="205" y="432"/>
                    </a:lnTo>
                    <a:lnTo>
                      <a:pt x="190" y="384"/>
                    </a:lnTo>
                    <a:lnTo>
                      <a:pt x="172" y="351"/>
                    </a:lnTo>
                    <a:lnTo>
                      <a:pt x="172" y="321"/>
                    </a:lnTo>
                    <a:lnTo>
                      <a:pt x="155" y="273"/>
                    </a:lnTo>
                    <a:lnTo>
                      <a:pt x="155" y="240"/>
                    </a:lnTo>
                    <a:lnTo>
                      <a:pt x="222" y="208"/>
                    </a:lnTo>
                    <a:lnTo>
                      <a:pt x="240" y="177"/>
                    </a:lnTo>
                    <a:lnTo>
                      <a:pt x="222" y="177"/>
                    </a:lnTo>
                    <a:lnTo>
                      <a:pt x="190" y="160"/>
                    </a:lnTo>
                    <a:lnTo>
                      <a:pt x="190" y="144"/>
                    </a:lnTo>
                    <a:lnTo>
                      <a:pt x="190" y="129"/>
                    </a:lnTo>
                    <a:lnTo>
                      <a:pt x="172" y="112"/>
                    </a:lnTo>
                    <a:lnTo>
                      <a:pt x="155" y="112"/>
                    </a:lnTo>
                    <a:lnTo>
                      <a:pt x="172" y="33"/>
                    </a:lnTo>
                    <a:lnTo>
                      <a:pt x="155" y="0"/>
                    </a:lnTo>
                    <a:lnTo>
                      <a:pt x="138" y="0"/>
                    </a:lnTo>
                    <a:lnTo>
                      <a:pt x="138" y="33"/>
                    </a:lnTo>
                    <a:lnTo>
                      <a:pt x="103" y="33"/>
                    </a:lnTo>
                    <a:lnTo>
                      <a:pt x="86" y="48"/>
                    </a:lnTo>
                    <a:lnTo>
                      <a:pt x="51" y="112"/>
                    </a:lnTo>
                    <a:lnTo>
                      <a:pt x="34" y="129"/>
                    </a:lnTo>
                    <a:lnTo>
                      <a:pt x="17" y="160"/>
                    </a:lnTo>
                    <a:lnTo>
                      <a:pt x="17" y="177"/>
                    </a:lnTo>
                    <a:lnTo>
                      <a:pt x="0" y="192"/>
                    </a:lnTo>
                    <a:lnTo>
                      <a:pt x="34" y="225"/>
                    </a:lnTo>
                    <a:lnTo>
                      <a:pt x="51" y="256"/>
                    </a:lnTo>
                    <a:lnTo>
                      <a:pt x="69" y="304"/>
                    </a:lnTo>
                    <a:lnTo>
                      <a:pt x="51" y="321"/>
                    </a:lnTo>
                    <a:lnTo>
                      <a:pt x="86" y="336"/>
                    </a:lnTo>
                    <a:lnTo>
                      <a:pt x="121" y="304"/>
                    </a:lnTo>
                    <a:lnTo>
                      <a:pt x="138" y="321"/>
                    </a:lnTo>
                    <a:lnTo>
                      <a:pt x="172" y="417"/>
                    </a:lnTo>
                    <a:lnTo>
                      <a:pt x="172" y="49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4" name="Freeform 150">
                <a:extLst>
                  <a:ext uri="{FF2B5EF4-FFF2-40B4-BE49-F238E27FC236}">
                    <a16:creationId xmlns:a16="http://schemas.microsoft.com/office/drawing/2014/main" id="{E382F5DE-5B8E-46CF-8947-79572C0119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04881" y="3510026"/>
                <a:ext cx="155919" cy="190895"/>
              </a:xfrm>
              <a:custGeom>
                <a:avLst/>
                <a:gdLst>
                  <a:gd name="T0" fmla="*/ 38100 w 190"/>
                  <a:gd name="T1" fmla="*/ 42069 h 224"/>
                  <a:gd name="T2" fmla="*/ 38100 w 190"/>
                  <a:gd name="T3" fmla="*/ 42069 h 224"/>
                  <a:gd name="T4" fmla="*/ 38100 w 190"/>
                  <a:gd name="T5" fmla="*/ 34925 h 224"/>
                  <a:gd name="T6" fmla="*/ 30956 w 190"/>
                  <a:gd name="T7" fmla="*/ 28575 h 224"/>
                  <a:gd name="T8" fmla="*/ 30956 w 190"/>
                  <a:gd name="T9" fmla="*/ 25400 h 224"/>
                  <a:gd name="T10" fmla="*/ 17463 w 190"/>
                  <a:gd name="T11" fmla="*/ 15875 h 224"/>
                  <a:gd name="T12" fmla="*/ 23813 w 190"/>
                  <a:gd name="T13" fmla="*/ 13494 h 224"/>
                  <a:gd name="T14" fmla="*/ 20638 w 190"/>
                  <a:gd name="T15" fmla="*/ 9525 h 224"/>
                  <a:gd name="T16" fmla="*/ 14288 w 190"/>
                  <a:gd name="T17" fmla="*/ 6350 h 224"/>
                  <a:gd name="T18" fmla="*/ 10319 w 190"/>
                  <a:gd name="T19" fmla="*/ 0 h 224"/>
                  <a:gd name="T20" fmla="*/ 7144 w 190"/>
                  <a:gd name="T21" fmla="*/ 0 h 224"/>
                  <a:gd name="T22" fmla="*/ 7144 w 190"/>
                  <a:gd name="T23" fmla="*/ 6350 h 224"/>
                  <a:gd name="T24" fmla="*/ 3969 w 190"/>
                  <a:gd name="T25" fmla="*/ 6350 h 224"/>
                  <a:gd name="T26" fmla="*/ 3969 w 190"/>
                  <a:gd name="T27" fmla="*/ 3969 h 224"/>
                  <a:gd name="T28" fmla="*/ 0 w 190"/>
                  <a:gd name="T29" fmla="*/ 9525 h 224"/>
                  <a:gd name="T30" fmla="*/ 0 w 190"/>
                  <a:gd name="T31" fmla="*/ 13494 h 224"/>
                  <a:gd name="T32" fmla="*/ 3969 w 190"/>
                  <a:gd name="T33" fmla="*/ 15875 h 224"/>
                  <a:gd name="T34" fmla="*/ 3969 w 190"/>
                  <a:gd name="T35" fmla="*/ 25400 h 224"/>
                  <a:gd name="T36" fmla="*/ 10319 w 190"/>
                  <a:gd name="T37" fmla="*/ 22225 h 224"/>
                  <a:gd name="T38" fmla="*/ 17463 w 190"/>
                  <a:gd name="T39" fmla="*/ 19050 h 224"/>
                  <a:gd name="T40" fmla="*/ 20638 w 190"/>
                  <a:gd name="T41" fmla="*/ 25400 h 224"/>
                  <a:gd name="T42" fmla="*/ 23813 w 190"/>
                  <a:gd name="T43" fmla="*/ 32544 h 224"/>
                  <a:gd name="T44" fmla="*/ 27781 w 190"/>
                  <a:gd name="T45" fmla="*/ 34925 h 224"/>
                  <a:gd name="T46" fmla="*/ 27781 w 190"/>
                  <a:gd name="T47" fmla="*/ 42069 h 224"/>
                  <a:gd name="T48" fmla="*/ 30956 w 190"/>
                  <a:gd name="T49" fmla="*/ 44450 h 224"/>
                  <a:gd name="T50" fmla="*/ 30956 w 190"/>
                  <a:gd name="T51" fmla="*/ 42069 h 224"/>
                  <a:gd name="T52" fmla="*/ 38100 w 190"/>
                  <a:gd name="T53" fmla="*/ 42069 h 224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90"/>
                  <a:gd name="T82" fmla="*/ 0 h 224"/>
                  <a:gd name="T83" fmla="*/ 190 w 190"/>
                  <a:gd name="T84" fmla="*/ 224 h 224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90" h="224">
                    <a:moveTo>
                      <a:pt x="190" y="209"/>
                    </a:moveTo>
                    <a:lnTo>
                      <a:pt x="190" y="209"/>
                    </a:lnTo>
                    <a:lnTo>
                      <a:pt x="190" y="176"/>
                    </a:lnTo>
                    <a:lnTo>
                      <a:pt x="156" y="144"/>
                    </a:lnTo>
                    <a:lnTo>
                      <a:pt x="156" y="128"/>
                    </a:lnTo>
                    <a:lnTo>
                      <a:pt x="87" y="80"/>
                    </a:lnTo>
                    <a:lnTo>
                      <a:pt x="121" y="65"/>
                    </a:lnTo>
                    <a:lnTo>
                      <a:pt x="104" y="48"/>
                    </a:lnTo>
                    <a:lnTo>
                      <a:pt x="69" y="32"/>
                    </a:lnTo>
                    <a:lnTo>
                      <a:pt x="52" y="0"/>
                    </a:lnTo>
                    <a:lnTo>
                      <a:pt x="35" y="0"/>
                    </a:lnTo>
                    <a:lnTo>
                      <a:pt x="35" y="32"/>
                    </a:lnTo>
                    <a:lnTo>
                      <a:pt x="18" y="32"/>
                    </a:lnTo>
                    <a:lnTo>
                      <a:pt x="18" y="17"/>
                    </a:lnTo>
                    <a:lnTo>
                      <a:pt x="0" y="48"/>
                    </a:lnTo>
                    <a:lnTo>
                      <a:pt x="0" y="65"/>
                    </a:lnTo>
                    <a:lnTo>
                      <a:pt x="18" y="80"/>
                    </a:lnTo>
                    <a:lnTo>
                      <a:pt x="18" y="128"/>
                    </a:lnTo>
                    <a:lnTo>
                      <a:pt x="52" y="113"/>
                    </a:lnTo>
                    <a:lnTo>
                      <a:pt x="87" y="96"/>
                    </a:lnTo>
                    <a:lnTo>
                      <a:pt x="104" y="128"/>
                    </a:lnTo>
                    <a:lnTo>
                      <a:pt x="121" y="161"/>
                    </a:lnTo>
                    <a:lnTo>
                      <a:pt x="138" y="176"/>
                    </a:lnTo>
                    <a:lnTo>
                      <a:pt x="138" y="209"/>
                    </a:lnTo>
                    <a:lnTo>
                      <a:pt x="156" y="224"/>
                    </a:lnTo>
                    <a:lnTo>
                      <a:pt x="156" y="209"/>
                    </a:lnTo>
                    <a:lnTo>
                      <a:pt x="190" y="20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" name="Freeform 151">
                <a:extLst>
                  <a:ext uri="{FF2B5EF4-FFF2-40B4-BE49-F238E27FC236}">
                    <a16:creationId xmlns:a16="http://schemas.microsoft.com/office/drawing/2014/main" id="{28FBC930-908E-46FA-9BEE-4D198EB8EA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47552" y="3496390"/>
                <a:ext cx="155919" cy="313614"/>
              </a:xfrm>
              <a:custGeom>
                <a:avLst/>
                <a:gdLst>
                  <a:gd name="T0" fmla="*/ 0 w 190"/>
                  <a:gd name="T1" fmla="*/ 3166 h 369"/>
                  <a:gd name="T2" fmla="*/ 0 w 190"/>
                  <a:gd name="T3" fmla="*/ 3166 h 369"/>
                  <a:gd name="T4" fmla="*/ 0 w 190"/>
                  <a:gd name="T5" fmla="*/ 0 h 369"/>
                  <a:gd name="T6" fmla="*/ 3969 w 190"/>
                  <a:gd name="T7" fmla="*/ 3166 h 369"/>
                  <a:gd name="T8" fmla="*/ 17463 w 190"/>
                  <a:gd name="T9" fmla="*/ 0 h 369"/>
                  <a:gd name="T10" fmla="*/ 23813 w 190"/>
                  <a:gd name="T11" fmla="*/ 0 h 369"/>
                  <a:gd name="T12" fmla="*/ 23813 w 190"/>
                  <a:gd name="T13" fmla="*/ 6333 h 369"/>
                  <a:gd name="T14" fmla="*/ 30956 w 190"/>
                  <a:gd name="T15" fmla="*/ 6333 h 369"/>
                  <a:gd name="T16" fmla="*/ 23813 w 190"/>
                  <a:gd name="T17" fmla="*/ 9499 h 369"/>
                  <a:gd name="T18" fmla="*/ 20638 w 190"/>
                  <a:gd name="T19" fmla="*/ 15832 h 369"/>
                  <a:gd name="T20" fmla="*/ 17463 w 190"/>
                  <a:gd name="T21" fmla="*/ 18998 h 369"/>
                  <a:gd name="T22" fmla="*/ 34925 w 190"/>
                  <a:gd name="T23" fmla="*/ 40372 h 369"/>
                  <a:gd name="T24" fmla="*/ 38100 w 190"/>
                  <a:gd name="T25" fmla="*/ 47496 h 369"/>
                  <a:gd name="T26" fmla="*/ 34925 w 190"/>
                  <a:gd name="T27" fmla="*/ 59370 h 369"/>
                  <a:gd name="T28" fmla="*/ 27781 w 190"/>
                  <a:gd name="T29" fmla="*/ 63328 h 369"/>
                  <a:gd name="T30" fmla="*/ 23813 w 190"/>
                  <a:gd name="T31" fmla="*/ 63328 h 369"/>
                  <a:gd name="T32" fmla="*/ 20638 w 190"/>
                  <a:gd name="T33" fmla="*/ 68869 h 369"/>
                  <a:gd name="T34" fmla="*/ 14288 w 190"/>
                  <a:gd name="T35" fmla="*/ 72827 h 369"/>
                  <a:gd name="T36" fmla="*/ 14288 w 190"/>
                  <a:gd name="T37" fmla="*/ 66494 h 369"/>
                  <a:gd name="T38" fmla="*/ 10319 w 190"/>
                  <a:gd name="T39" fmla="*/ 63328 h 369"/>
                  <a:gd name="T40" fmla="*/ 17463 w 190"/>
                  <a:gd name="T41" fmla="*/ 59370 h 369"/>
                  <a:gd name="T42" fmla="*/ 20638 w 190"/>
                  <a:gd name="T43" fmla="*/ 56995 h 369"/>
                  <a:gd name="T44" fmla="*/ 27781 w 190"/>
                  <a:gd name="T45" fmla="*/ 53829 h 369"/>
                  <a:gd name="T46" fmla="*/ 27781 w 190"/>
                  <a:gd name="T47" fmla="*/ 44330 h 369"/>
                  <a:gd name="T48" fmla="*/ 27781 w 190"/>
                  <a:gd name="T49" fmla="*/ 37997 h 369"/>
                  <a:gd name="T50" fmla="*/ 20638 w 190"/>
                  <a:gd name="T51" fmla="*/ 31664 h 369"/>
                  <a:gd name="T52" fmla="*/ 20638 w 190"/>
                  <a:gd name="T53" fmla="*/ 28498 h 369"/>
                  <a:gd name="T54" fmla="*/ 7144 w 190"/>
                  <a:gd name="T55" fmla="*/ 18998 h 369"/>
                  <a:gd name="T56" fmla="*/ 14288 w 190"/>
                  <a:gd name="T57" fmla="*/ 15832 h 369"/>
                  <a:gd name="T58" fmla="*/ 10319 w 190"/>
                  <a:gd name="T59" fmla="*/ 12666 h 369"/>
                  <a:gd name="T60" fmla="*/ 3969 w 190"/>
                  <a:gd name="T61" fmla="*/ 9499 h 369"/>
                  <a:gd name="T62" fmla="*/ 0 w 190"/>
                  <a:gd name="T63" fmla="*/ 3166 h 369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90"/>
                  <a:gd name="T97" fmla="*/ 0 h 369"/>
                  <a:gd name="T98" fmla="*/ 190 w 190"/>
                  <a:gd name="T99" fmla="*/ 369 h 369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90" h="369">
                    <a:moveTo>
                      <a:pt x="0" y="16"/>
                    </a:moveTo>
                    <a:lnTo>
                      <a:pt x="0" y="16"/>
                    </a:lnTo>
                    <a:lnTo>
                      <a:pt x="0" y="0"/>
                    </a:lnTo>
                    <a:lnTo>
                      <a:pt x="17" y="16"/>
                    </a:lnTo>
                    <a:lnTo>
                      <a:pt x="86" y="0"/>
                    </a:lnTo>
                    <a:lnTo>
                      <a:pt x="121" y="0"/>
                    </a:lnTo>
                    <a:lnTo>
                      <a:pt x="121" y="33"/>
                    </a:lnTo>
                    <a:lnTo>
                      <a:pt x="156" y="33"/>
                    </a:lnTo>
                    <a:lnTo>
                      <a:pt x="121" y="48"/>
                    </a:lnTo>
                    <a:lnTo>
                      <a:pt x="104" y="81"/>
                    </a:lnTo>
                    <a:lnTo>
                      <a:pt x="86" y="96"/>
                    </a:lnTo>
                    <a:lnTo>
                      <a:pt x="173" y="207"/>
                    </a:lnTo>
                    <a:lnTo>
                      <a:pt x="190" y="240"/>
                    </a:lnTo>
                    <a:lnTo>
                      <a:pt x="173" y="303"/>
                    </a:lnTo>
                    <a:lnTo>
                      <a:pt x="138" y="321"/>
                    </a:lnTo>
                    <a:lnTo>
                      <a:pt x="121" y="321"/>
                    </a:lnTo>
                    <a:lnTo>
                      <a:pt x="104" y="351"/>
                    </a:lnTo>
                    <a:lnTo>
                      <a:pt x="69" y="369"/>
                    </a:lnTo>
                    <a:lnTo>
                      <a:pt x="69" y="336"/>
                    </a:lnTo>
                    <a:lnTo>
                      <a:pt x="52" y="321"/>
                    </a:lnTo>
                    <a:lnTo>
                      <a:pt x="86" y="303"/>
                    </a:lnTo>
                    <a:lnTo>
                      <a:pt x="104" y="288"/>
                    </a:lnTo>
                    <a:lnTo>
                      <a:pt x="138" y="273"/>
                    </a:lnTo>
                    <a:lnTo>
                      <a:pt x="138" y="225"/>
                    </a:lnTo>
                    <a:lnTo>
                      <a:pt x="138" y="192"/>
                    </a:lnTo>
                    <a:lnTo>
                      <a:pt x="104" y="160"/>
                    </a:lnTo>
                    <a:lnTo>
                      <a:pt x="104" y="144"/>
                    </a:lnTo>
                    <a:lnTo>
                      <a:pt x="35" y="96"/>
                    </a:lnTo>
                    <a:lnTo>
                      <a:pt x="69" y="81"/>
                    </a:lnTo>
                    <a:lnTo>
                      <a:pt x="52" y="64"/>
                    </a:lnTo>
                    <a:lnTo>
                      <a:pt x="17" y="48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6" name="Freeform 153">
                <a:extLst>
                  <a:ext uri="{FF2B5EF4-FFF2-40B4-BE49-F238E27FC236}">
                    <a16:creationId xmlns:a16="http://schemas.microsoft.com/office/drawing/2014/main" id="{C17E92A0-47FA-42DA-985F-7D72A54C65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49077" y="3550931"/>
                <a:ext cx="169049" cy="327249"/>
              </a:xfrm>
              <a:custGeom>
                <a:avLst/>
                <a:gdLst>
                  <a:gd name="T0" fmla="*/ 13429 w 207"/>
                  <a:gd name="T1" fmla="*/ 0 h 383"/>
                  <a:gd name="T2" fmla="*/ 13429 w 207"/>
                  <a:gd name="T3" fmla="*/ 0 h 383"/>
                  <a:gd name="T4" fmla="*/ 0 w 207"/>
                  <a:gd name="T5" fmla="*/ 6367 h 383"/>
                  <a:gd name="T6" fmla="*/ 0 w 207"/>
                  <a:gd name="T7" fmla="*/ 13529 h 383"/>
                  <a:gd name="T8" fmla="*/ 3160 w 207"/>
                  <a:gd name="T9" fmla="*/ 23079 h 383"/>
                  <a:gd name="T10" fmla="*/ 3160 w 207"/>
                  <a:gd name="T11" fmla="*/ 28650 h 383"/>
                  <a:gd name="T12" fmla="*/ 6319 w 207"/>
                  <a:gd name="T13" fmla="*/ 35016 h 383"/>
                  <a:gd name="T14" fmla="*/ 10269 w 207"/>
                  <a:gd name="T15" fmla="*/ 44566 h 383"/>
                  <a:gd name="T16" fmla="*/ 3160 w 207"/>
                  <a:gd name="T17" fmla="*/ 57299 h 383"/>
                  <a:gd name="T18" fmla="*/ 3160 w 207"/>
                  <a:gd name="T19" fmla="*/ 61278 h 383"/>
                  <a:gd name="T20" fmla="*/ 3160 w 207"/>
                  <a:gd name="T21" fmla="*/ 63666 h 383"/>
                  <a:gd name="T22" fmla="*/ 13429 w 207"/>
                  <a:gd name="T23" fmla="*/ 73216 h 383"/>
                  <a:gd name="T24" fmla="*/ 13429 w 207"/>
                  <a:gd name="T25" fmla="*/ 70828 h 383"/>
                  <a:gd name="T26" fmla="*/ 16588 w 207"/>
                  <a:gd name="T27" fmla="*/ 73216 h 383"/>
                  <a:gd name="T28" fmla="*/ 20538 w 207"/>
                  <a:gd name="T29" fmla="*/ 76399 h 383"/>
                  <a:gd name="T30" fmla="*/ 23698 w 207"/>
                  <a:gd name="T31" fmla="*/ 73216 h 383"/>
                  <a:gd name="T32" fmla="*/ 20538 w 207"/>
                  <a:gd name="T33" fmla="*/ 70828 h 383"/>
                  <a:gd name="T34" fmla="*/ 13429 w 207"/>
                  <a:gd name="T35" fmla="*/ 70828 h 383"/>
                  <a:gd name="T36" fmla="*/ 10269 w 207"/>
                  <a:gd name="T37" fmla="*/ 57299 h 383"/>
                  <a:gd name="T38" fmla="*/ 6319 w 207"/>
                  <a:gd name="T39" fmla="*/ 57299 h 383"/>
                  <a:gd name="T40" fmla="*/ 6319 w 207"/>
                  <a:gd name="T41" fmla="*/ 54116 h 383"/>
                  <a:gd name="T42" fmla="*/ 10269 w 207"/>
                  <a:gd name="T43" fmla="*/ 44566 h 383"/>
                  <a:gd name="T44" fmla="*/ 10269 w 207"/>
                  <a:gd name="T45" fmla="*/ 38199 h 383"/>
                  <a:gd name="T46" fmla="*/ 16588 w 207"/>
                  <a:gd name="T47" fmla="*/ 38199 h 383"/>
                  <a:gd name="T48" fmla="*/ 16588 w 207"/>
                  <a:gd name="T49" fmla="*/ 42179 h 383"/>
                  <a:gd name="T50" fmla="*/ 20538 w 207"/>
                  <a:gd name="T51" fmla="*/ 42179 h 383"/>
                  <a:gd name="T52" fmla="*/ 26857 w 207"/>
                  <a:gd name="T53" fmla="*/ 47749 h 383"/>
                  <a:gd name="T54" fmla="*/ 26857 w 207"/>
                  <a:gd name="T55" fmla="*/ 44566 h 383"/>
                  <a:gd name="T56" fmla="*/ 23698 w 207"/>
                  <a:gd name="T57" fmla="*/ 38199 h 383"/>
                  <a:gd name="T58" fmla="*/ 26857 w 207"/>
                  <a:gd name="T59" fmla="*/ 32629 h 383"/>
                  <a:gd name="T60" fmla="*/ 40286 w 207"/>
                  <a:gd name="T61" fmla="*/ 32629 h 383"/>
                  <a:gd name="T62" fmla="*/ 40286 w 207"/>
                  <a:gd name="T63" fmla="*/ 25466 h 383"/>
                  <a:gd name="T64" fmla="*/ 37126 w 207"/>
                  <a:gd name="T65" fmla="*/ 23079 h 383"/>
                  <a:gd name="T66" fmla="*/ 33966 w 207"/>
                  <a:gd name="T67" fmla="*/ 15916 h 383"/>
                  <a:gd name="T68" fmla="*/ 30807 w 207"/>
                  <a:gd name="T69" fmla="*/ 9550 h 383"/>
                  <a:gd name="T70" fmla="*/ 23698 w 207"/>
                  <a:gd name="T71" fmla="*/ 13529 h 383"/>
                  <a:gd name="T72" fmla="*/ 16588 w 207"/>
                  <a:gd name="T73" fmla="*/ 15916 h 383"/>
                  <a:gd name="T74" fmla="*/ 16588 w 207"/>
                  <a:gd name="T75" fmla="*/ 6367 h 383"/>
                  <a:gd name="T76" fmla="*/ 13429 w 207"/>
                  <a:gd name="T77" fmla="*/ 3979 h 383"/>
                  <a:gd name="T78" fmla="*/ 13429 w 207"/>
                  <a:gd name="T79" fmla="*/ 0 h 383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207"/>
                  <a:gd name="T121" fmla="*/ 0 h 383"/>
                  <a:gd name="T122" fmla="*/ 207 w 207"/>
                  <a:gd name="T123" fmla="*/ 383 h 383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207" h="383">
                    <a:moveTo>
                      <a:pt x="69" y="0"/>
                    </a:moveTo>
                    <a:lnTo>
                      <a:pt x="69" y="0"/>
                    </a:lnTo>
                    <a:lnTo>
                      <a:pt x="0" y="32"/>
                    </a:lnTo>
                    <a:lnTo>
                      <a:pt x="0" y="65"/>
                    </a:lnTo>
                    <a:lnTo>
                      <a:pt x="17" y="113"/>
                    </a:lnTo>
                    <a:lnTo>
                      <a:pt x="17" y="143"/>
                    </a:lnTo>
                    <a:lnTo>
                      <a:pt x="35" y="176"/>
                    </a:lnTo>
                    <a:lnTo>
                      <a:pt x="52" y="224"/>
                    </a:lnTo>
                    <a:lnTo>
                      <a:pt x="17" y="287"/>
                    </a:lnTo>
                    <a:lnTo>
                      <a:pt x="17" y="305"/>
                    </a:lnTo>
                    <a:lnTo>
                      <a:pt x="17" y="320"/>
                    </a:lnTo>
                    <a:lnTo>
                      <a:pt x="69" y="368"/>
                    </a:lnTo>
                    <a:lnTo>
                      <a:pt x="69" y="353"/>
                    </a:lnTo>
                    <a:lnTo>
                      <a:pt x="87" y="368"/>
                    </a:lnTo>
                    <a:lnTo>
                      <a:pt x="104" y="383"/>
                    </a:lnTo>
                    <a:lnTo>
                      <a:pt x="121" y="368"/>
                    </a:lnTo>
                    <a:lnTo>
                      <a:pt x="104" y="353"/>
                    </a:lnTo>
                    <a:lnTo>
                      <a:pt x="69" y="353"/>
                    </a:lnTo>
                    <a:lnTo>
                      <a:pt x="52" y="287"/>
                    </a:lnTo>
                    <a:lnTo>
                      <a:pt x="35" y="287"/>
                    </a:lnTo>
                    <a:lnTo>
                      <a:pt x="35" y="272"/>
                    </a:lnTo>
                    <a:lnTo>
                      <a:pt x="52" y="224"/>
                    </a:lnTo>
                    <a:lnTo>
                      <a:pt x="52" y="191"/>
                    </a:lnTo>
                    <a:lnTo>
                      <a:pt x="87" y="191"/>
                    </a:lnTo>
                    <a:lnTo>
                      <a:pt x="87" y="209"/>
                    </a:lnTo>
                    <a:lnTo>
                      <a:pt x="104" y="209"/>
                    </a:lnTo>
                    <a:lnTo>
                      <a:pt x="138" y="239"/>
                    </a:lnTo>
                    <a:lnTo>
                      <a:pt x="138" y="224"/>
                    </a:lnTo>
                    <a:lnTo>
                      <a:pt x="121" y="191"/>
                    </a:lnTo>
                    <a:lnTo>
                      <a:pt x="138" y="161"/>
                    </a:lnTo>
                    <a:lnTo>
                      <a:pt x="207" y="161"/>
                    </a:lnTo>
                    <a:lnTo>
                      <a:pt x="207" y="128"/>
                    </a:lnTo>
                    <a:lnTo>
                      <a:pt x="190" y="113"/>
                    </a:lnTo>
                    <a:lnTo>
                      <a:pt x="173" y="80"/>
                    </a:lnTo>
                    <a:lnTo>
                      <a:pt x="156" y="48"/>
                    </a:lnTo>
                    <a:lnTo>
                      <a:pt x="121" y="65"/>
                    </a:lnTo>
                    <a:lnTo>
                      <a:pt x="87" y="80"/>
                    </a:lnTo>
                    <a:lnTo>
                      <a:pt x="87" y="32"/>
                    </a:lnTo>
                    <a:lnTo>
                      <a:pt x="69" y="17"/>
                    </a:lnTo>
                    <a:lnTo>
                      <a:pt x="69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7" name="Freeform 154">
                <a:extLst>
                  <a:ext uri="{FF2B5EF4-FFF2-40B4-BE49-F238E27FC236}">
                    <a16:creationId xmlns:a16="http://schemas.microsoft.com/office/drawing/2014/main" id="{442D4CB4-3402-4695-9FAE-E33E153341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50488" y="3373672"/>
                <a:ext cx="68931" cy="27271"/>
              </a:xfrm>
              <a:custGeom>
                <a:avLst/>
                <a:gdLst>
                  <a:gd name="T0" fmla="*/ 13335 w 85"/>
                  <a:gd name="T1" fmla="*/ 0 h 33"/>
                  <a:gd name="T2" fmla="*/ 13335 w 85"/>
                  <a:gd name="T3" fmla="*/ 0 h 33"/>
                  <a:gd name="T4" fmla="*/ 3138 w 85"/>
                  <a:gd name="T5" fmla="*/ 0 h 33"/>
                  <a:gd name="T6" fmla="*/ 0 w 85"/>
                  <a:gd name="T7" fmla="*/ 3079 h 33"/>
                  <a:gd name="T8" fmla="*/ 0 w 85"/>
                  <a:gd name="T9" fmla="*/ 6158 h 33"/>
                  <a:gd name="T10" fmla="*/ 13335 w 85"/>
                  <a:gd name="T11" fmla="*/ 6158 h 33"/>
                  <a:gd name="T12" fmla="*/ 16473 w 85"/>
                  <a:gd name="T13" fmla="*/ 6158 h 33"/>
                  <a:gd name="T14" fmla="*/ 13335 w 85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5"/>
                  <a:gd name="T25" fmla="*/ 0 h 33"/>
                  <a:gd name="T26" fmla="*/ 85 w 85"/>
                  <a:gd name="T27" fmla="*/ 33 h 3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5" h="33">
                    <a:moveTo>
                      <a:pt x="69" y="0"/>
                    </a:moveTo>
                    <a:lnTo>
                      <a:pt x="69" y="0"/>
                    </a:lnTo>
                    <a:lnTo>
                      <a:pt x="18" y="0"/>
                    </a:lnTo>
                    <a:lnTo>
                      <a:pt x="0" y="16"/>
                    </a:lnTo>
                    <a:lnTo>
                      <a:pt x="0" y="33"/>
                    </a:lnTo>
                    <a:lnTo>
                      <a:pt x="69" y="33"/>
                    </a:lnTo>
                    <a:lnTo>
                      <a:pt x="85" y="33"/>
                    </a:lnTo>
                    <a:lnTo>
                      <a:pt x="69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8" name="Freeform 155">
                <a:extLst>
                  <a:ext uri="{FF2B5EF4-FFF2-40B4-BE49-F238E27FC236}">
                    <a16:creationId xmlns:a16="http://schemas.microsoft.com/office/drawing/2014/main" id="{EC58DFD6-F5C8-4DAF-92A7-406641C92A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50257" y="3320835"/>
                <a:ext cx="170689" cy="93744"/>
              </a:xfrm>
              <a:custGeom>
                <a:avLst/>
                <a:gdLst>
                  <a:gd name="T0" fmla="*/ 3145 w 210"/>
                  <a:gd name="T1" fmla="*/ 0 h 111"/>
                  <a:gd name="T2" fmla="*/ 3145 w 210"/>
                  <a:gd name="T3" fmla="*/ 0 h 111"/>
                  <a:gd name="T4" fmla="*/ 0 w 210"/>
                  <a:gd name="T5" fmla="*/ 9439 h 111"/>
                  <a:gd name="T6" fmla="*/ 6290 w 210"/>
                  <a:gd name="T7" fmla="*/ 11799 h 111"/>
                  <a:gd name="T8" fmla="*/ 36951 w 210"/>
                  <a:gd name="T9" fmla="*/ 21238 h 111"/>
                  <a:gd name="T10" fmla="*/ 40882 w 210"/>
                  <a:gd name="T11" fmla="*/ 21238 h 111"/>
                  <a:gd name="T12" fmla="*/ 40882 w 210"/>
                  <a:gd name="T13" fmla="*/ 18878 h 111"/>
                  <a:gd name="T14" fmla="*/ 40882 w 210"/>
                  <a:gd name="T15" fmla="*/ 11799 h 111"/>
                  <a:gd name="T16" fmla="*/ 30661 w 210"/>
                  <a:gd name="T17" fmla="*/ 11799 h 111"/>
                  <a:gd name="T18" fmla="*/ 23586 w 210"/>
                  <a:gd name="T19" fmla="*/ 9439 h 111"/>
                  <a:gd name="T20" fmla="*/ 20441 w 210"/>
                  <a:gd name="T21" fmla="*/ 5506 h 111"/>
                  <a:gd name="T22" fmla="*/ 16510 w 210"/>
                  <a:gd name="T23" fmla="*/ 5506 h 111"/>
                  <a:gd name="T24" fmla="*/ 10220 w 210"/>
                  <a:gd name="T25" fmla="*/ 0 h 111"/>
                  <a:gd name="T26" fmla="*/ 3145 w 210"/>
                  <a:gd name="T27" fmla="*/ 0 h 11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10"/>
                  <a:gd name="T43" fmla="*/ 0 h 111"/>
                  <a:gd name="T44" fmla="*/ 210 w 210"/>
                  <a:gd name="T45" fmla="*/ 111 h 111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10" h="111">
                    <a:moveTo>
                      <a:pt x="18" y="0"/>
                    </a:moveTo>
                    <a:lnTo>
                      <a:pt x="18" y="0"/>
                    </a:lnTo>
                    <a:lnTo>
                      <a:pt x="0" y="48"/>
                    </a:lnTo>
                    <a:lnTo>
                      <a:pt x="35" y="63"/>
                    </a:lnTo>
                    <a:lnTo>
                      <a:pt x="192" y="111"/>
                    </a:lnTo>
                    <a:lnTo>
                      <a:pt x="210" y="111"/>
                    </a:lnTo>
                    <a:lnTo>
                      <a:pt x="210" y="96"/>
                    </a:lnTo>
                    <a:lnTo>
                      <a:pt x="210" y="63"/>
                    </a:lnTo>
                    <a:lnTo>
                      <a:pt x="158" y="63"/>
                    </a:lnTo>
                    <a:lnTo>
                      <a:pt x="121" y="48"/>
                    </a:lnTo>
                    <a:lnTo>
                      <a:pt x="104" y="31"/>
                    </a:lnTo>
                    <a:lnTo>
                      <a:pt x="87" y="31"/>
                    </a:lnTo>
                    <a:lnTo>
                      <a:pt x="52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9" name="Freeform 156">
                <a:extLst>
                  <a:ext uri="{FF2B5EF4-FFF2-40B4-BE49-F238E27FC236}">
                    <a16:creationId xmlns:a16="http://schemas.microsoft.com/office/drawing/2014/main" id="{47E9B0D1-6EB0-4308-AABA-C45A89F066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87522" y="3100964"/>
                <a:ext cx="70574" cy="109084"/>
              </a:xfrm>
              <a:custGeom>
                <a:avLst/>
                <a:gdLst>
                  <a:gd name="T0" fmla="*/ 0 w 86"/>
                  <a:gd name="T1" fmla="*/ 6350 h 128"/>
                  <a:gd name="T2" fmla="*/ 0 w 86"/>
                  <a:gd name="T3" fmla="*/ 6350 h 128"/>
                  <a:gd name="T4" fmla="*/ 9525 w 86"/>
                  <a:gd name="T5" fmla="*/ 0 h 128"/>
                  <a:gd name="T6" fmla="*/ 14288 w 86"/>
                  <a:gd name="T7" fmla="*/ 6350 h 128"/>
                  <a:gd name="T8" fmla="*/ 17463 w 86"/>
                  <a:gd name="T9" fmla="*/ 15875 h 128"/>
                  <a:gd name="T10" fmla="*/ 14288 w 86"/>
                  <a:gd name="T11" fmla="*/ 22225 h 128"/>
                  <a:gd name="T12" fmla="*/ 0 w 86"/>
                  <a:gd name="T13" fmla="*/ 25400 h 128"/>
                  <a:gd name="T14" fmla="*/ 0 w 86"/>
                  <a:gd name="T15" fmla="*/ 22225 h 128"/>
                  <a:gd name="T16" fmla="*/ 0 w 86"/>
                  <a:gd name="T17" fmla="*/ 19050 h 128"/>
                  <a:gd name="T18" fmla="*/ 0 w 86"/>
                  <a:gd name="T19" fmla="*/ 9525 h 128"/>
                  <a:gd name="T20" fmla="*/ 0 w 86"/>
                  <a:gd name="T21" fmla="*/ 6350 h 12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86"/>
                  <a:gd name="T34" fmla="*/ 0 h 128"/>
                  <a:gd name="T35" fmla="*/ 86 w 86"/>
                  <a:gd name="T36" fmla="*/ 128 h 12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86" h="128">
                    <a:moveTo>
                      <a:pt x="0" y="32"/>
                    </a:moveTo>
                    <a:lnTo>
                      <a:pt x="0" y="32"/>
                    </a:lnTo>
                    <a:lnTo>
                      <a:pt x="51" y="0"/>
                    </a:lnTo>
                    <a:lnTo>
                      <a:pt x="69" y="32"/>
                    </a:lnTo>
                    <a:lnTo>
                      <a:pt x="86" y="80"/>
                    </a:lnTo>
                    <a:lnTo>
                      <a:pt x="69" y="113"/>
                    </a:lnTo>
                    <a:lnTo>
                      <a:pt x="0" y="128"/>
                    </a:lnTo>
                    <a:lnTo>
                      <a:pt x="0" y="113"/>
                    </a:lnTo>
                    <a:lnTo>
                      <a:pt x="0" y="96"/>
                    </a:lnTo>
                    <a:lnTo>
                      <a:pt x="0" y="48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0" name="Freeform 157">
                <a:extLst>
                  <a:ext uri="{FF2B5EF4-FFF2-40B4-BE49-F238E27FC236}">
                    <a16:creationId xmlns:a16="http://schemas.microsoft.com/office/drawing/2014/main" id="{82EE5A91-1EDE-4133-B21A-399F54E2F6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44850" y="2993587"/>
                <a:ext cx="142788" cy="134650"/>
              </a:xfrm>
              <a:custGeom>
                <a:avLst/>
                <a:gdLst>
                  <a:gd name="T0" fmla="*/ 35331 w 172"/>
                  <a:gd name="T1" fmla="*/ 0 h 159"/>
                  <a:gd name="T2" fmla="*/ 35331 w 172"/>
                  <a:gd name="T3" fmla="*/ 0 h 159"/>
                  <a:gd name="T4" fmla="*/ 31316 w 172"/>
                  <a:gd name="T5" fmla="*/ 0 h 159"/>
                  <a:gd name="T6" fmla="*/ 24892 w 172"/>
                  <a:gd name="T7" fmla="*/ 3155 h 159"/>
                  <a:gd name="T8" fmla="*/ 20878 w 172"/>
                  <a:gd name="T9" fmla="*/ 3155 h 159"/>
                  <a:gd name="T10" fmla="*/ 17666 w 172"/>
                  <a:gd name="T11" fmla="*/ 5521 h 159"/>
                  <a:gd name="T12" fmla="*/ 14454 w 172"/>
                  <a:gd name="T13" fmla="*/ 5521 h 159"/>
                  <a:gd name="T14" fmla="*/ 0 w 172"/>
                  <a:gd name="T15" fmla="*/ 14986 h 159"/>
                  <a:gd name="T16" fmla="*/ 0 w 172"/>
                  <a:gd name="T17" fmla="*/ 18930 h 159"/>
                  <a:gd name="T18" fmla="*/ 4015 w 172"/>
                  <a:gd name="T19" fmla="*/ 18930 h 159"/>
                  <a:gd name="T20" fmla="*/ 0 w 172"/>
                  <a:gd name="T21" fmla="*/ 28395 h 159"/>
                  <a:gd name="T22" fmla="*/ 4015 w 172"/>
                  <a:gd name="T23" fmla="*/ 30762 h 159"/>
                  <a:gd name="T24" fmla="*/ 7227 w 172"/>
                  <a:gd name="T25" fmla="*/ 30762 h 159"/>
                  <a:gd name="T26" fmla="*/ 10439 w 172"/>
                  <a:gd name="T27" fmla="*/ 30762 h 159"/>
                  <a:gd name="T28" fmla="*/ 20878 w 172"/>
                  <a:gd name="T29" fmla="*/ 24452 h 159"/>
                  <a:gd name="T30" fmla="*/ 14454 w 172"/>
                  <a:gd name="T31" fmla="*/ 22085 h 159"/>
                  <a:gd name="T32" fmla="*/ 14454 w 172"/>
                  <a:gd name="T33" fmla="*/ 18930 h 159"/>
                  <a:gd name="T34" fmla="*/ 28104 w 172"/>
                  <a:gd name="T35" fmla="*/ 12620 h 159"/>
                  <a:gd name="T36" fmla="*/ 28104 w 172"/>
                  <a:gd name="T37" fmla="*/ 5521 h 159"/>
                  <a:gd name="T38" fmla="*/ 35331 w 172"/>
                  <a:gd name="T39" fmla="*/ 0 h 159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72"/>
                  <a:gd name="T61" fmla="*/ 0 h 159"/>
                  <a:gd name="T62" fmla="*/ 172 w 172"/>
                  <a:gd name="T63" fmla="*/ 159 h 159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72" h="159">
                    <a:moveTo>
                      <a:pt x="172" y="0"/>
                    </a:moveTo>
                    <a:lnTo>
                      <a:pt x="172" y="0"/>
                    </a:lnTo>
                    <a:lnTo>
                      <a:pt x="155" y="0"/>
                    </a:lnTo>
                    <a:lnTo>
                      <a:pt x="121" y="16"/>
                    </a:lnTo>
                    <a:lnTo>
                      <a:pt x="103" y="16"/>
                    </a:lnTo>
                    <a:lnTo>
                      <a:pt x="86" y="31"/>
                    </a:lnTo>
                    <a:lnTo>
                      <a:pt x="69" y="31"/>
                    </a:lnTo>
                    <a:lnTo>
                      <a:pt x="0" y="79"/>
                    </a:lnTo>
                    <a:lnTo>
                      <a:pt x="0" y="96"/>
                    </a:lnTo>
                    <a:lnTo>
                      <a:pt x="17" y="96"/>
                    </a:lnTo>
                    <a:lnTo>
                      <a:pt x="0" y="144"/>
                    </a:lnTo>
                    <a:lnTo>
                      <a:pt x="17" y="159"/>
                    </a:lnTo>
                    <a:lnTo>
                      <a:pt x="34" y="159"/>
                    </a:lnTo>
                    <a:lnTo>
                      <a:pt x="52" y="159"/>
                    </a:lnTo>
                    <a:lnTo>
                      <a:pt x="103" y="127"/>
                    </a:lnTo>
                    <a:lnTo>
                      <a:pt x="69" y="112"/>
                    </a:lnTo>
                    <a:lnTo>
                      <a:pt x="69" y="96"/>
                    </a:lnTo>
                    <a:lnTo>
                      <a:pt x="138" y="64"/>
                    </a:lnTo>
                    <a:lnTo>
                      <a:pt x="138" y="31"/>
                    </a:lnTo>
                    <a:lnTo>
                      <a:pt x="172" y="0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1" name="Freeform 158">
                <a:extLst>
                  <a:ext uri="{FF2B5EF4-FFF2-40B4-BE49-F238E27FC236}">
                    <a16:creationId xmlns:a16="http://schemas.microsoft.com/office/drawing/2014/main" id="{4BB64CAF-14D1-4D28-8528-C8BE1DB81C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58096" y="3223682"/>
                <a:ext cx="57444" cy="81812"/>
              </a:xfrm>
              <a:custGeom>
                <a:avLst/>
                <a:gdLst>
                  <a:gd name="T0" fmla="*/ 0 w 69"/>
                  <a:gd name="T1" fmla="*/ 3969 h 96"/>
                  <a:gd name="T2" fmla="*/ 0 w 69"/>
                  <a:gd name="T3" fmla="*/ 3969 h 96"/>
                  <a:gd name="T4" fmla="*/ 0 w 69"/>
                  <a:gd name="T5" fmla="*/ 6350 h 96"/>
                  <a:gd name="T6" fmla="*/ 4026 w 69"/>
                  <a:gd name="T7" fmla="*/ 6350 h 96"/>
                  <a:gd name="T8" fmla="*/ 4026 w 69"/>
                  <a:gd name="T9" fmla="*/ 15875 h 96"/>
                  <a:gd name="T10" fmla="*/ 7247 w 69"/>
                  <a:gd name="T11" fmla="*/ 19050 h 96"/>
                  <a:gd name="T12" fmla="*/ 10468 w 69"/>
                  <a:gd name="T13" fmla="*/ 15875 h 96"/>
                  <a:gd name="T14" fmla="*/ 14495 w 69"/>
                  <a:gd name="T15" fmla="*/ 6350 h 96"/>
                  <a:gd name="T16" fmla="*/ 10468 w 69"/>
                  <a:gd name="T17" fmla="*/ 3969 h 96"/>
                  <a:gd name="T18" fmla="*/ 4026 w 69"/>
                  <a:gd name="T19" fmla="*/ 0 h 96"/>
                  <a:gd name="T20" fmla="*/ 0 w 69"/>
                  <a:gd name="T21" fmla="*/ 3969 h 9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69"/>
                  <a:gd name="T34" fmla="*/ 0 h 96"/>
                  <a:gd name="T35" fmla="*/ 69 w 69"/>
                  <a:gd name="T36" fmla="*/ 96 h 9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69" h="96">
                    <a:moveTo>
                      <a:pt x="0" y="17"/>
                    </a:moveTo>
                    <a:lnTo>
                      <a:pt x="0" y="17"/>
                    </a:lnTo>
                    <a:lnTo>
                      <a:pt x="0" y="32"/>
                    </a:lnTo>
                    <a:lnTo>
                      <a:pt x="17" y="32"/>
                    </a:lnTo>
                    <a:lnTo>
                      <a:pt x="17" y="80"/>
                    </a:lnTo>
                    <a:lnTo>
                      <a:pt x="34" y="96"/>
                    </a:lnTo>
                    <a:lnTo>
                      <a:pt x="52" y="80"/>
                    </a:lnTo>
                    <a:lnTo>
                      <a:pt x="69" y="32"/>
                    </a:lnTo>
                    <a:lnTo>
                      <a:pt x="52" y="17"/>
                    </a:lnTo>
                    <a:lnTo>
                      <a:pt x="17" y="0"/>
                    </a:lnTo>
                    <a:lnTo>
                      <a:pt x="0" y="17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2" name="Freeform 159">
                <a:extLst>
                  <a:ext uri="{FF2B5EF4-FFF2-40B4-BE49-F238E27FC236}">
                    <a16:creationId xmlns:a16="http://schemas.microsoft.com/office/drawing/2014/main" id="{C48B66AB-6836-4240-A0FB-A563656306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15539" y="3223682"/>
                <a:ext cx="59084" cy="27271"/>
              </a:xfrm>
              <a:custGeom>
                <a:avLst/>
                <a:gdLst>
                  <a:gd name="T0" fmla="*/ 0 w 71"/>
                  <a:gd name="T1" fmla="*/ 3175 h 32"/>
                  <a:gd name="T2" fmla="*/ 0 w 71"/>
                  <a:gd name="T3" fmla="*/ 3175 h 32"/>
                  <a:gd name="T4" fmla="*/ 0 w 71"/>
                  <a:gd name="T5" fmla="*/ 6350 h 32"/>
                  <a:gd name="T6" fmla="*/ 4025 w 71"/>
                  <a:gd name="T7" fmla="*/ 6350 h 32"/>
                  <a:gd name="T8" fmla="*/ 7244 w 71"/>
                  <a:gd name="T9" fmla="*/ 3175 h 32"/>
                  <a:gd name="T10" fmla="*/ 11269 w 71"/>
                  <a:gd name="T11" fmla="*/ 3175 h 32"/>
                  <a:gd name="T12" fmla="*/ 14489 w 71"/>
                  <a:gd name="T13" fmla="*/ 0 h 32"/>
                  <a:gd name="T14" fmla="*/ 7244 w 71"/>
                  <a:gd name="T15" fmla="*/ 0 h 32"/>
                  <a:gd name="T16" fmla="*/ 0 w 71"/>
                  <a:gd name="T17" fmla="*/ 3175 h 3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71"/>
                  <a:gd name="T28" fmla="*/ 0 h 32"/>
                  <a:gd name="T29" fmla="*/ 71 w 71"/>
                  <a:gd name="T30" fmla="*/ 32 h 3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71" h="32">
                    <a:moveTo>
                      <a:pt x="0" y="17"/>
                    </a:moveTo>
                    <a:lnTo>
                      <a:pt x="0" y="17"/>
                    </a:lnTo>
                    <a:lnTo>
                      <a:pt x="0" y="32"/>
                    </a:lnTo>
                    <a:lnTo>
                      <a:pt x="17" y="32"/>
                    </a:lnTo>
                    <a:lnTo>
                      <a:pt x="35" y="17"/>
                    </a:lnTo>
                    <a:lnTo>
                      <a:pt x="54" y="17"/>
                    </a:lnTo>
                    <a:lnTo>
                      <a:pt x="71" y="0"/>
                    </a:lnTo>
                    <a:lnTo>
                      <a:pt x="35" y="0"/>
                    </a:lnTo>
                    <a:lnTo>
                      <a:pt x="0" y="17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3" name="Freeform 160">
                <a:extLst>
                  <a:ext uri="{FF2B5EF4-FFF2-40B4-BE49-F238E27FC236}">
                    <a16:creationId xmlns:a16="http://schemas.microsoft.com/office/drawing/2014/main" id="{D01E4FA2-072B-4B00-B403-DF538AAB82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89279" y="3019152"/>
                <a:ext cx="241263" cy="219871"/>
              </a:xfrm>
              <a:custGeom>
                <a:avLst/>
                <a:gdLst>
                  <a:gd name="T0" fmla="*/ 0 w 294"/>
                  <a:gd name="T1" fmla="*/ 44623 h 257"/>
                  <a:gd name="T2" fmla="*/ 0 w 294"/>
                  <a:gd name="T3" fmla="*/ 44623 h 257"/>
                  <a:gd name="T4" fmla="*/ 0 w 294"/>
                  <a:gd name="T5" fmla="*/ 47810 h 257"/>
                  <a:gd name="T6" fmla="*/ 7144 w 294"/>
                  <a:gd name="T7" fmla="*/ 47810 h 257"/>
                  <a:gd name="T8" fmla="*/ 20638 w 294"/>
                  <a:gd name="T9" fmla="*/ 42233 h 257"/>
                  <a:gd name="T10" fmla="*/ 23813 w 294"/>
                  <a:gd name="T11" fmla="*/ 44623 h 257"/>
                  <a:gd name="T12" fmla="*/ 23813 w 294"/>
                  <a:gd name="T13" fmla="*/ 47810 h 257"/>
                  <a:gd name="T14" fmla="*/ 27781 w 294"/>
                  <a:gd name="T15" fmla="*/ 51795 h 257"/>
                  <a:gd name="T16" fmla="*/ 30956 w 294"/>
                  <a:gd name="T17" fmla="*/ 44623 h 257"/>
                  <a:gd name="T18" fmla="*/ 30956 w 294"/>
                  <a:gd name="T19" fmla="*/ 42233 h 257"/>
                  <a:gd name="T20" fmla="*/ 34131 w 294"/>
                  <a:gd name="T21" fmla="*/ 44623 h 257"/>
                  <a:gd name="T22" fmla="*/ 37306 w 294"/>
                  <a:gd name="T23" fmla="*/ 44623 h 257"/>
                  <a:gd name="T24" fmla="*/ 41275 w 294"/>
                  <a:gd name="T25" fmla="*/ 42233 h 257"/>
                  <a:gd name="T26" fmla="*/ 44450 w 294"/>
                  <a:gd name="T27" fmla="*/ 44623 h 257"/>
                  <a:gd name="T28" fmla="*/ 44450 w 294"/>
                  <a:gd name="T29" fmla="*/ 42233 h 257"/>
                  <a:gd name="T30" fmla="*/ 47625 w 294"/>
                  <a:gd name="T31" fmla="*/ 38248 h 257"/>
                  <a:gd name="T32" fmla="*/ 47625 w 294"/>
                  <a:gd name="T33" fmla="*/ 42233 h 257"/>
                  <a:gd name="T34" fmla="*/ 51594 w 294"/>
                  <a:gd name="T35" fmla="*/ 42233 h 257"/>
                  <a:gd name="T36" fmla="*/ 55563 w 294"/>
                  <a:gd name="T37" fmla="*/ 38248 h 257"/>
                  <a:gd name="T38" fmla="*/ 55563 w 294"/>
                  <a:gd name="T39" fmla="*/ 23108 h 257"/>
                  <a:gd name="T40" fmla="*/ 58738 w 294"/>
                  <a:gd name="T41" fmla="*/ 23108 h 257"/>
                  <a:gd name="T42" fmla="*/ 58738 w 294"/>
                  <a:gd name="T43" fmla="*/ 16734 h 257"/>
                  <a:gd name="T44" fmla="*/ 58738 w 294"/>
                  <a:gd name="T45" fmla="*/ 3984 h 257"/>
                  <a:gd name="T46" fmla="*/ 55563 w 294"/>
                  <a:gd name="T47" fmla="*/ 0 h 257"/>
                  <a:gd name="T48" fmla="*/ 55563 w 294"/>
                  <a:gd name="T49" fmla="*/ 3984 h 257"/>
                  <a:gd name="T50" fmla="*/ 51594 w 294"/>
                  <a:gd name="T51" fmla="*/ 3984 h 257"/>
                  <a:gd name="T52" fmla="*/ 47625 w 294"/>
                  <a:gd name="T53" fmla="*/ 16734 h 257"/>
                  <a:gd name="T54" fmla="*/ 41275 w 294"/>
                  <a:gd name="T55" fmla="*/ 25499 h 257"/>
                  <a:gd name="T56" fmla="*/ 34131 w 294"/>
                  <a:gd name="T57" fmla="*/ 32670 h 257"/>
                  <a:gd name="T58" fmla="*/ 34131 w 294"/>
                  <a:gd name="T59" fmla="*/ 25499 h 257"/>
                  <a:gd name="T60" fmla="*/ 30956 w 294"/>
                  <a:gd name="T61" fmla="*/ 28686 h 257"/>
                  <a:gd name="T62" fmla="*/ 27781 w 294"/>
                  <a:gd name="T63" fmla="*/ 38248 h 257"/>
                  <a:gd name="T64" fmla="*/ 23813 w 294"/>
                  <a:gd name="T65" fmla="*/ 38248 h 257"/>
                  <a:gd name="T66" fmla="*/ 10319 w 294"/>
                  <a:gd name="T67" fmla="*/ 38248 h 257"/>
                  <a:gd name="T68" fmla="*/ 0 w 294"/>
                  <a:gd name="T69" fmla="*/ 44623 h 257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294"/>
                  <a:gd name="T106" fmla="*/ 0 h 257"/>
                  <a:gd name="T107" fmla="*/ 294 w 294"/>
                  <a:gd name="T108" fmla="*/ 257 h 257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294" h="257">
                    <a:moveTo>
                      <a:pt x="0" y="224"/>
                    </a:moveTo>
                    <a:lnTo>
                      <a:pt x="0" y="224"/>
                    </a:lnTo>
                    <a:lnTo>
                      <a:pt x="0" y="240"/>
                    </a:lnTo>
                    <a:lnTo>
                      <a:pt x="35" y="240"/>
                    </a:lnTo>
                    <a:lnTo>
                      <a:pt x="104" y="209"/>
                    </a:lnTo>
                    <a:lnTo>
                      <a:pt x="121" y="224"/>
                    </a:lnTo>
                    <a:lnTo>
                      <a:pt x="121" y="240"/>
                    </a:lnTo>
                    <a:lnTo>
                      <a:pt x="139" y="257"/>
                    </a:lnTo>
                    <a:lnTo>
                      <a:pt x="156" y="224"/>
                    </a:lnTo>
                    <a:lnTo>
                      <a:pt x="156" y="209"/>
                    </a:lnTo>
                    <a:lnTo>
                      <a:pt x="173" y="224"/>
                    </a:lnTo>
                    <a:lnTo>
                      <a:pt x="190" y="224"/>
                    </a:lnTo>
                    <a:lnTo>
                      <a:pt x="208" y="209"/>
                    </a:lnTo>
                    <a:lnTo>
                      <a:pt x="225" y="224"/>
                    </a:lnTo>
                    <a:lnTo>
                      <a:pt x="225" y="209"/>
                    </a:lnTo>
                    <a:lnTo>
                      <a:pt x="242" y="192"/>
                    </a:lnTo>
                    <a:lnTo>
                      <a:pt x="242" y="209"/>
                    </a:lnTo>
                    <a:lnTo>
                      <a:pt x="260" y="209"/>
                    </a:lnTo>
                    <a:lnTo>
                      <a:pt x="277" y="192"/>
                    </a:lnTo>
                    <a:lnTo>
                      <a:pt x="277" y="113"/>
                    </a:lnTo>
                    <a:lnTo>
                      <a:pt x="294" y="113"/>
                    </a:lnTo>
                    <a:lnTo>
                      <a:pt x="294" y="81"/>
                    </a:lnTo>
                    <a:lnTo>
                      <a:pt x="294" y="17"/>
                    </a:lnTo>
                    <a:lnTo>
                      <a:pt x="277" y="0"/>
                    </a:lnTo>
                    <a:lnTo>
                      <a:pt x="277" y="17"/>
                    </a:lnTo>
                    <a:lnTo>
                      <a:pt x="260" y="17"/>
                    </a:lnTo>
                    <a:lnTo>
                      <a:pt x="242" y="81"/>
                    </a:lnTo>
                    <a:lnTo>
                      <a:pt x="208" y="128"/>
                    </a:lnTo>
                    <a:lnTo>
                      <a:pt x="173" y="161"/>
                    </a:lnTo>
                    <a:lnTo>
                      <a:pt x="173" y="128"/>
                    </a:lnTo>
                    <a:lnTo>
                      <a:pt x="156" y="144"/>
                    </a:lnTo>
                    <a:lnTo>
                      <a:pt x="139" y="192"/>
                    </a:lnTo>
                    <a:lnTo>
                      <a:pt x="121" y="192"/>
                    </a:lnTo>
                    <a:lnTo>
                      <a:pt x="52" y="192"/>
                    </a:lnTo>
                    <a:lnTo>
                      <a:pt x="0" y="224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4" name="Freeform 161">
                <a:extLst>
                  <a:ext uri="{FF2B5EF4-FFF2-40B4-BE49-F238E27FC236}">
                    <a16:creationId xmlns:a16="http://schemas.microsoft.com/office/drawing/2014/main" id="{547E1DDB-1759-4CC8-870F-81A33D015D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87869" y="2896434"/>
                <a:ext cx="141147" cy="122719"/>
              </a:xfrm>
              <a:custGeom>
                <a:avLst/>
                <a:gdLst>
                  <a:gd name="T0" fmla="*/ 0 w 173"/>
                  <a:gd name="T1" fmla="*/ 22225 h 144"/>
                  <a:gd name="T2" fmla="*/ 0 w 173"/>
                  <a:gd name="T3" fmla="*/ 22225 h 144"/>
                  <a:gd name="T4" fmla="*/ 0 w 173"/>
                  <a:gd name="T5" fmla="*/ 28575 h 144"/>
                  <a:gd name="T6" fmla="*/ 6313 w 173"/>
                  <a:gd name="T7" fmla="*/ 26194 h 144"/>
                  <a:gd name="T8" fmla="*/ 3157 w 173"/>
                  <a:gd name="T9" fmla="*/ 26194 h 144"/>
                  <a:gd name="T10" fmla="*/ 3157 w 173"/>
                  <a:gd name="T11" fmla="*/ 22225 h 144"/>
                  <a:gd name="T12" fmla="*/ 6313 w 173"/>
                  <a:gd name="T13" fmla="*/ 22225 h 144"/>
                  <a:gd name="T14" fmla="*/ 10259 w 173"/>
                  <a:gd name="T15" fmla="*/ 22225 h 144"/>
                  <a:gd name="T16" fmla="*/ 20518 w 173"/>
                  <a:gd name="T17" fmla="*/ 26194 h 144"/>
                  <a:gd name="T18" fmla="*/ 23675 w 173"/>
                  <a:gd name="T19" fmla="*/ 19050 h 144"/>
                  <a:gd name="T20" fmla="*/ 26832 w 173"/>
                  <a:gd name="T21" fmla="*/ 19050 h 144"/>
                  <a:gd name="T22" fmla="*/ 33934 w 173"/>
                  <a:gd name="T23" fmla="*/ 15875 h 144"/>
                  <a:gd name="T24" fmla="*/ 30777 w 173"/>
                  <a:gd name="T25" fmla="*/ 15875 h 144"/>
                  <a:gd name="T26" fmla="*/ 26832 w 173"/>
                  <a:gd name="T27" fmla="*/ 13494 h 144"/>
                  <a:gd name="T28" fmla="*/ 30777 w 173"/>
                  <a:gd name="T29" fmla="*/ 9525 h 144"/>
                  <a:gd name="T30" fmla="*/ 26832 w 173"/>
                  <a:gd name="T31" fmla="*/ 13494 h 144"/>
                  <a:gd name="T32" fmla="*/ 20518 w 173"/>
                  <a:gd name="T33" fmla="*/ 9525 h 144"/>
                  <a:gd name="T34" fmla="*/ 10259 w 173"/>
                  <a:gd name="T35" fmla="*/ 0 h 144"/>
                  <a:gd name="T36" fmla="*/ 10259 w 173"/>
                  <a:gd name="T37" fmla="*/ 3969 h 144"/>
                  <a:gd name="T38" fmla="*/ 10259 w 173"/>
                  <a:gd name="T39" fmla="*/ 7144 h 144"/>
                  <a:gd name="T40" fmla="*/ 6313 w 173"/>
                  <a:gd name="T41" fmla="*/ 19050 h 144"/>
                  <a:gd name="T42" fmla="*/ 3157 w 173"/>
                  <a:gd name="T43" fmla="*/ 15875 h 144"/>
                  <a:gd name="T44" fmla="*/ 3157 w 173"/>
                  <a:gd name="T45" fmla="*/ 19050 h 144"/>
                  <a:gd name="T46" fmla="*/ 0 w 173"/>
                  <a:gd name="T47" fmla="*/ 22225 h 14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73"/>
                  <a:gd name="T73" fmla="*/ 0 h 144"/>
                  <a:gd name="T74" fmla="*/ 173 w 173"/>
                  <a:gd name="T75" fmla="*/ 144 h 144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73" h="144">
                    <a:moveTo>
                      <a:pt x="0" y="113"/>
                    </a:moveTo>
                    <a:lnTo>
                      <a:pt x="0" y="113"/>
                    </a:lnTo>
                    <a:lnTo>
                      <a:pt x="0" y="144"/>
                    </a:lnTo>
                    <a:lnTo>
                      <a:pt x="35" y="129"/>
                    </a:lnTo>
                    <a:lnTo>
                      <a:pt x="18" y="129"/>
                    </a:lnTo>
                    <a:lnTo>
                      <a:pt x="18" y="113"/>
                    </a:lnTo>
                    <a:lnTo>
                      <a:pt x="35" y="113"/>
                    </a:lnTo>
                    <a:lnTo>
                      <a:pt x="52" y="113"/>
                    </a:lnTo>
                    <a:lnTo>
                      <a:pt x="104" y="129"/>
                    </a:lnTo>
                    <a:lnTo>
                      <a:pt x="121" y="96"/>
                    </a:lnTo>
                    <a:lnTo>
                      <a:pt x="139" y="96"/>
                    </a:lnTo>
                    <a:lnTo>
                      <a:pt x="173" y="81"/>
                    </a:lnTo>
                    <a:lnTo>
                      <a:pt x="156" y="81"/>
                    </a:lnTo>
                    <a:lnTo>
                      <a:pt x="139" y="65"/>
                    </a:lnTo>
                    <a:lnTo>
                      <a:pt x="156" y="48"/>
                    </a:lnTo>
                    <a:lnTo>
                      <a:pt x="139" y="65"/>
                    </a:lnTo>
                    <a:lnTo>
                      <a:pt x="104" y="48"/>
                    </a:lnTo>
                    <a:lnTo>
                      <a:pt x="52" y="0"/>
                    </a:lnTo>
                    <a:lnTo>
                      <a:pt x="52" y="17"/>
                    </a:lnTo>
                    <a:lnTo>
                      <a:pt x="52" y="33"/>
                    </a:lnTo>
                    <a:lnTo>
                      <a:pt x="35" y="96"/>
                    </a:lnTo>
                    <a:lnTo>
                      <a:pt x="18" y="81"/>
                    </a:lnTo>
                    <a:lnTo>
                      <a:pt x="18" y="96"/>
                    </a:lnTo>
                    <a:lnTo>
                      <a:pt x="0" y="11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5" name="Freeform 162">
                <a:extLst>
                  <a:ext uri="{FF2B5EF4-FFF2-40B4-BE49-F238E27FC236}">
                    <a16:creationId xmlns:a16="http://schemas.microsoft.com/office/drawing/2014/main" id="{9073E015-92A5-4C6F-92DF-26D0D35263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27606" y="2732808"/>
                <a:ext cx="27901" cy="27271"/>
              </a:xfrm>
              <a:custGeom>
                <a:avLst/>
                <a:gdLst>
                  <a:gd name="T0" fmla="*/ 0 w 35"/>
                  <a:gd name="T1" fmla="*/ 3079 h 33"/>
                  <a:gd name="T2" fmla="*/ 0 w 35"/>
                  <a:gd name="T3" fmla="*/ 3079 h 33"/>
                  <a:gd name="T4" fmla="*/ 0 w 35"/>
                  <a:gd name="T5" fmla="*/ 6158 h 33"/>
                  <a:gd name="T6" fmla="*/ 3084 w 35"/>
                  <a:gd name="T7" fmla="*/ 3079 h 33"/>
                  <a:gd name="T8" fmla="*/ 6169 w 35"/>
                  <a:gd name="T9" fmla="*/ 0 h 33"/>
                  <a:gd name="T10" fmla="*/ 0 w 35"/>
                  <a:gd name="T11" fmla="*/ 3079 h 3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5"/>
                  <a:gd name="T19" fmla="*/ 0 h 33"/>
                  <a:gd name="T20" fmla="*/ 35 w 35"/>
                  <a:gd name="T21" fmla="*/ 33 h 3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5" h="33">
                    <a:moveTo>
                      <a:pt x="0" y="17"/>
                    </a:moveTo>
                    <a:lnTo>
                      <a:pt x="0" y="17"/>
                    </a:lnTo>
                    <a:lnTo>
                      <a:pt x="0" y="33"/>
                    </a:lnTo>
                    <a:lnTo>
                      <a:pt x="17" y="17"/>
                    </a:lnTo>
                    <a:lnTo>
                      <a:pt x="35" y="0"/>
                    </a:lnTo>
                    <a:lnTo>
                      <a:pt x="0" y="17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6" name="Freeform 163">
                <a:extLst>
                  <a:ext uri="{FF2B5EF4-FFF2-40B4-BE49-F238E27FC236}">
                    <a16:creationId xmlns:a16="http://schemas.microsoft.com/office/drawing/2014/main" id="{41D807C7-4B3A-49D0-B77C-789037355D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0542" y="2610090"/>
                <a:ext cx="55803" cy="286344"/>
              </a:xfrm>
              <a:custGeom>
                <a:avLst/>
                <a:gdLst>
                  <a:gd name="T0" fmla="*/ 0 w 69"/>
                  <a:gd name="T1" fmla="*/ 7144 h 336"/>
                  <a:gd name="T2" fmla="*/ 0 w 69"/>
                  <a:gd name="T3" fmla="*/ 7144 h 336"/>
                  <a:gd name="T4" fmla="*/ 0 w 69"/>
                  <a:gd name="T5" fmla="*/ 22225 h 336"/>
                  <a:gd name="T6" fmla="*/ 3129 w 69"/>
                  <a:gd name="T7" fmla="*/ 26194 h 336"/>
                  <a:gd name="T8" fmla="*/ 0 w 69"/>
                  <a:gd name="T9" fmla="*/ 44450 h 336"/>
                  <a:gd name="T10" fmla="*/ 3129 w 69"/>
                  <a:gd name="T11" fmla="*/ 51594 h 336"/>
                  <a:gd name="T12" fmla="*/ 0 w 69"/>
                  <a:gd name="T13" fmla="*/ 61119 h 336"/>
                  <a:gd name="T14" fmla="*/ 3129 w 69"/>
                  <a:gd name="T15" fmla="*/ 66675 h 336"/>
                  <a:gd name="T16" fmla="*/ 3129 w 69"/>
                  <a:gd name="T17" fmla="*/ 61119 h 336"/>
                  <a:gd name="T18" fmla="*/ 10169 w 69"/>
                  <a:gd name="T19" fmla="*/ 64294 h 336"/>
                  <a:gd name="T20" fmla="*/ 10169 w 69"/>
                  <a:gd name="T21" fmla="*/ 61119 h 336"/>
                  <a:gd name="T22" fmla="*/ 3129 w 69"/>
                  <a:gd name="T23" fmla="*/ 51594 h 336"/>
                  <a:gd name="T24" fmla="*/ 6258 w 69"/>
                  <a:gd name="T25" fmla="*/ 41275 h 336"/>
                  <a:gd name="T26" fmla="*/ 10169 w 69"/>
                  <a:gd name="T27" fmla="*/ 41275 h 336"/>
                  <a:gd name="T28" fmla="*/ 13298 w 69"/>
                  <a:gd name="T29" fmla="*/ 41275 h 336"/>
                  <a:gd name="T30" fmla="*/ 6258 w 69"/>
                  <a:gd name="T31" fmla="*/ 19050 h 336"/>
                  <a:gd name="T32" fmla="*/ 6258 w 69"/>
                  <a:gd name="T33" fmla="*/ 3969 h 336"/>
                  <a:gd name="T34" fmla="*/ 6258 w 69"/>
                  <a:gd name="T35" fmla="*/ 0 h 336"/>
                  <a:gd name="T36" fmla="*/ 3129 w 69"/>
                  <a:gd name="T37" fmla="*/ 0 h 336"/>
                  <a:gd name="T38" fmla="*/ 3129 w 69"/>
                  <a:gd name="T39" fmla="*/ 3969 h 336"/>
                  <a:gd name="T40" fmla="*/ 0 w 69"/>
                  <a:gd name="T41" fmla="*/ 7144 h 3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69"/>
                  <a:gd name="T64" fmla="*/ 0 h 336"/>
                  <a:gd name="T65" fmla="*/ 69 w 69"/>
                  <a:gd name="T66" fmla="*/ 336 h 3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69" h="336">
                    <a:moveTo>
                      <a:pt x="0" y="33"/>
                    </a:moveTo>
                    <a:lnTo>
                      <a:pt x="0" y="33"/>
                    </a:lnTo>
                    <a:lnTo>
                      <a:pt x="0" y="113"/>
                    </a:lnTo>
                    <a:lnTo>
                      <a:pt x="17" y="129"/>
                    </a:lnTo>
                    <a:lnTo>
                      <a:pt x="0" y="225"/>
                    </a:lnTo>
                    <a:lnTo>
                      <a:pt x="17" y="257"/>
                    </a:lnTo>
                    <a:lnTo>
                      <a:pt x="0" y="305"/>
                    </a:lnTo>
                    <a:lnTo>
                      <a:pt x="17" y="336"/>
                    </a:lnTo>
                    <a:lnTo>
                      <a:pt x="17" y="305"/>
                    </a:lnTo>
                    <a:lnTo>
                      <a:pt x="52" y="321"/>
                    </a:lnTo>
                    <a:lnTo>
                      <a:pt x="52" y="305"/>
                    </a:lnTo>
                    <a:lnTo>
                      <a:pt x="17" y="257"/>
                    </a:lnTo>
                    <a:lnTo>
                      <a:pt x="35" y="209"/>
                    </a:lnTo>
                    <a:lnTo>
                      <a:pt x="52" y="209"/>
                    </a:lnTo>
                    <a:lnTo>
                      <a:pt x="69" y="209"/>
                    </a:lnTo>
                    <a:lnTo>
                      <a:pt x="35" y="96"/>
                    </a:lnTo>
                    <a:lnTo>
                      <a:pt x="35" y="17"/>
                    </a:lnTo>
                    <a:lnTo>
                      <a:pt x="35" y="0"/>
                    </a:lnTo>
                    <a:lnTo>
                      <a:pt x="17" y="0"/>
                    </a:lnTo>
                    <a:lnTo>
                      <a:pt x="17" y="17"/>
                    </a:lnTo>
                    <a:lnTo>
                      <a:pt x="0" y="33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7" name="Line 164">
                <a:extLst>
                  <a:ext uri="{FF2B5EF4-FFF2-40B4-BE49-F238E27FC236}">
                    <a16:creationId xmlns:a16="http://schemas.microsoft.com/office/drawing/2014/main" id="{BE9113B4-7006-4434-90AC-B7CA1F8F306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206155" y="2889616"/>
                <a:ext cx="27901" cy="40907"/>
              </a:xfrm>
              <a:prstGeom prst="line">
                <a:avLst/>
              </a:pr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8" name="Freeform 165">
                <a:extLst>
                  <a:ext uri="{FF2B5EF4-FFF2-40B4-BE49-F238E27FC236}">
                    <a16:creationId xmlns:a16="http://schemas.microsoft.com/office/drawing/2014/main" id="{65B31EE6-94DA-4A79-9C96-6E2F45C631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07468" y="2637361"/>
                <a:ext cx="1367156" cy="913572"/>
              </a:xfrm>
              <a:custGeom>
                <a:avLst/>
                <a:gdLst>
                  <a:gd name="T0" fmla="*/ 76292 w 1664"/>
                  <a:gd name="T1" fmla="*/ 34958 h 1071"/>
                  <a:gd name="T2" fmla="*/ 92980 w 1664"/>
                  <a:gd name="T3" fmla="*/ 50847 h 1071"/>
                  <a:gd name="T4" fmla="*/ 123974 w 1664"/>
                  <a:gd name="T5" fmla="*/ 79449 h 1071"/>
                  <a:gd name="T6" fmla="*/ 169272 w 1664"/>
                  <a:gd name="T7" fmla="*/ 88983 h 1071"/>
                  <a:gd name="T8" fmla="*/ 207418 w 1664"/>
                  <a:gd name="T9" fmla="*/ 73093 h 1071"/>
                  <a:gd name="T10" fmla="*/ 217749 w 1664"/>
                  <a:gd name="T11" fmla="*/ 66737 h 1071"/>
                  <a:gd name="T12" fmla="*/ 247948 w 1664"/>
                  <a:gd name="T13" fmla="*/ 54025 h 1071"/>
                  <a:gd name="T14" fmla="*/ 234438 w 1664"/>
                  <a:gd name="T15" fmla="*/ 47669 h 1071"/>
                  <a:gd name="T16" fmla="*/ 231259 w 1664"/>
                  <a:gd name="T17" fmla="*/ 28602 h 1071"/>
                  <a:gd name="T18" fmla="*/ 251921 w 1664"/>
                  <a:gd name="T19" fmla="*/ 15890 h 1071"/>
                  <a:gd name="T20" fmla="*/ 251921 w 1664"/>
                  <a:gd name="T21" fmla="*/ 9534 h 1071"/>
                  <a:gd name="T22" fmla="*/ 278941 w 1664"/>
                  <a:gd name="T23" fmla="*/ 3178 h 1071"/>
                  <a:gd name="T24" fmla="*/ 299604 w 1664"/>
                  <a:gd name="T25" fmla="*/ 31780 h 1071"/>
                  <a:gd name="T26" fmla="*/ 317087 w 1664"/>
                  <a:gd name="T27" fmla="*/ 44491 h 1071"/>
                  <a:gd name="T28" fmla="*/ 321061 w 1664"/>
                  <a:gd name="T29" fmla="*/ 66737 h 1071"/>
                  <a:gd name="T30" fmla="*/ 313908 w 1664"/>
                  <a:gd name="T31" fmla="*/ 76271 h 1071"/>
                  <a:gd name="T32" fmla="*/ 299604 w 1664"/>
                  <a:gd name="T33" fmla="*/ 85805 h 1071"/>
                  <a:gd name="T34" fmla="*/ 289272 w 1664"/>
                  <a:gd name="T35" fmla="*/ 88983 h 1071"/>
                  <a:gd name="T36" fmla="*/ 268610 w 1664"/>
                  <a:gd name="T37" fmla="*/ 101695 h 1071"/>
                  <a:gd name="T38" fmla="*/ 258279 w 1664"/>
                  <a:gd name="T39" fmla="*/ 101695 h 1071"/>
                  <a:gd name="T40" fmla="*/ 247948 w 1664"/>
                  <a:gd name="T41" fmla="*/ 101695 h 1071"/>
                  <a:gd name="T42" fmla="*/ 238411 w 1664"/>
                  <a:gd name="T43" fmla="*/ 108051 h 1071"/>
                  <a:gd name="T44" fmla="*/ 265431 w 1664"/>
                  <a:gd name="T45" fmla="*/ 117585 h 1071"/>
                  <a:gd name="T46" fmla="*/ 255100 w 1664"/>
                  <a:gd name="T47" fmla="*/ 120763 h 1071"/>
                  <a:gd name="T48" fmla="*/ 255100 w 1664"/>
                  <a:gd name="T49" fmla="*/ 146186 h 1071"/>
                  <a:gd name="T50" fmla="*/ 262252 w 1664"/>
                  <a:gd name="T51" fmla="*/ 155720 h 1071"/>
                  <a:gd name="T52" fmla="*/ 258279 w 1664"/>
                  <a:gd name="T53" fmla="*/ 171610 h 1071"/>
                  <a:gd name="T54" fmla="*/ 247948 w 1664"/>
                  <a:gd name="T55" fmla="*/ 184322 h 1071"/>
                  <a:gd name="T56" fmla="*/ 241590 w 1664"/>
                  <a:gd name="T57" fmla="*/ 193856 h 1071"/>
                  <a:gd name="T58" fmla="*/ 220928 w 1664"/>
                  <a:gd name="T59" fmla="*/ 203390 h 1071"/>
                  <a:gd name="T60" fmla="*/ 213775 w 1664"/>
                  <a:gd name="T61" fmla="*/ 203390 h 1071"/>
                  <a:gd name="T62" fmla="*/ 197087 w 1664"/>
                  <a:gd name="T63" fmla="*/ 206568 h 1071"/>
                  <a:gd name="T64" fmla="*/ 179603 w 1664"/>
                  <a:gd name="T65" fmla="*/ 206568 h 1071"/>
                  <a:gd name="T66" fmla="*/ 158146 w 1664"/>
                  <a:gd name="T67" fmla="*/ 203390 h 1071"/>
                  <a:gd name="T68" fmla="*/ 151789 w 1664"/>
                  <a:gd name="T69" fmla="*/ 203390 h 1071"/>
                  <a:gd name="T70" fmla="*/ 148610 w 1664"/>
                  <a:gd name="T71" fmla="*/ 206568 h 1071"/>
                  <a:gd name="T72" fmla="*/ 138279 w 1664"/>
                  <a:gd name="T73" fmla="*/ 200212 h 1071"/>
                  <a:gd name="T74" fmla="*/ 131126 w 1664"/>
                  <a:gd name="T75" fmla="*/ 193856 h 1071"/>
                  <a:gd name="T76" fmla="*/ 127947 w 1664"/>
                  <a:gd name="T77" fmla="*/ 171610 h 1071"/>
                  <a:gd name="T78" fmla="*/ 96954 w 1664"/>
                  <a:gd name="T79" fmla="*/ 171610 h 1071"/>
                  <a:gd name="T80" fmla="*/ 79470 w 1664"/>
                  <a:gd name="T81" fmla="*/ 171610 h 1071"/>
                  <a:gd name="T82" fmla="*/ 58808 w 1664"/>
                  <a:gd name="T83" fmla="*/ 168432 h 1071"/>
                  <a:gd name="T84" fmla="*/ 44503 w 1664"/>
                  <a:gd name="T85" fmla="*/ 158898 h 1071"/>
                  <a:gd name="T86" fmla="*/ 24636 w 1664"/>
                  <a:gd name="T87" fmla="*/ 146186 h 1071"/>
                  <a:gd name="T88" fmla="*/ 34172 w 1664"/>
                  <a:gd name="T89" fmla="*/ 133474 h 1071"/>
                  <a:gd name="T90" fmla="*/ 20662 w 1664"/>
                  <a:gd name="T91" fmla="*/ 127119 h 1071"/>
                  <a:gd name="T92" fmla="*/ 3974 w 1664"/>
                  <a:gd name="T93" fmla="*/ 117585 h 1071"/>
                  <a:gd name="T94" fmla="*/ 0 w 1664"/>
                  <a:gd name="T95" fmla="*/ 108051 h 1071"/>
                  <a:gd name="T96" fmla="*/ 14305 w 1664"/>
                  <a:gd name="T97" fmla="*/ 95339 h 1071"/>
                  <a:gd name="T98" fmla="*/ 34172 w 1664"/>
                  <a:gd name="T99" fmla="*/ 85805 h 1071"/>
                  <a:gd name="T100" fmla="*/ 34172 w 1664"/>
                  <a:gd name="T101" fmla="*/ 63559 h 1071"/>
                  <a:gd name="T102" fmla="*/ 58808 w 1664"/>
                  <a:gd name="T103" fmla="*/ 50847 h 1071"/>
                  <a:gd name="T104" fmla="*/ 69139 w 1664"/>
                  <a:gd name="T105" fmla="*/ 38136 h 1071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664"/>
                  <a:gd name="T160" fmla="*/ 0 h 1071"/>
                  <a:gd name="T161" fmla="*/ 1664 w 1664"/>
                  <a:gd name="T162" fmla="*/ 1071 h 1071"/>
                  <a:gd name="connsiteX0" fmla="*/ 2085 w 10000"/>
                  <a:gd name="connsiteY0" fmla="*/ 1793 h 10000"/>
                  <a:gd name="connsiteX1" fmla="*/ 2085 w 10000"/>
                  <a:gd name="connsiteY1" fmla="*/ 1793 h 10000"/>
                  <a:gd name="connsiteX2" fmla="*/ 2296 w 10000"/>
                  <a:gd name="connsiteY2" fmla="*/ 1643 h 10000"/>
                  <a:gd name="connsiteX3" fmla="*/ 2500 w 10000"/>
                  <a:gd name="connsiteY3" fmla="*/ 2092 h 10000"/>
                  <a:gd name="connsiteX4" fmla="*/ 2710 w 10000"/>
                  <a:gd name="connsiteY4" fmla="*/ 2092 h 10000"/>
                  <a:gd name="connsiteX5" fmla="*/ 2813 w 10000"/>
                  <a:gd name="connsiteY5" fmla="*/ 2381 h 10000"/>
                  <a:gd name="connsiteX6" fmla="*/ 2813 w 10000"/>
                  <a:gd name="connsiteY6" fmla="*/ 2988 h 10000"/>
                  <a:gd name="connsiteX7" fmla="*/ 3438 w 10000"/>
                  <a:gd name="connsiteY7" fmla="*/ 3277 h 10000"/>
                  <a:gd name="connsiteX8" fmla="*/ 3750 w 10000"/>
                  <a:gd name="connsiteY8" fmla="*/ 3725 h 10000"/>
                  <a:gd name="connsiteX9" fmla="*/ 4369 w 10000"/>
                  <a:gd name="connsiteY9" fmla="*/ 3725 h 10000"/>
                  <a:gd name="connsiteX10" fmla="*/ 4681 w 10000"/>
                  <a:gd name="connsiteY10" fmla="*/ 4034 h 10000"/>
                  <a:gd name="connsiteX11" fmla="*/ 5096 w 10000"/>
                  <a:gd name="connsiteY11" fmla="*/ 4174 h 10000"/>
                  <a:gd name="connsiteX12" fmla="*/ 5523 w 10000"/>
                  <a:gd name="connsiteY12" fmla="*/ 3884 h 10000"/>
                  <a:gd name="connsiteX13" fmla="*/ 5938 w 10000"/>
                  <a:gd name="connsiteY13" fmla="*/ 3884 h 10000"/>
                  <a:gd name="connsiteX14" fmla="*/ 6250 w 10000"/>
                  <a:gd name="connsiteY14" fmla="*/ 3436 h 10000"/>
                  <a:gd name="connsiteX15" fmla="*/ 6148 w 10000"/>
                  <a:gd name="connsiteY15" fmla="*/ 3277 h 10000"/>
                  <a:gd name="connsiteX16" fmla="*/ 6352 w 10000"/>
                  <a:gd name="connsiteY16" fmla="*/ 2988 h 10000"/>
                  <a:gd name="connsiteX17" fmla="*/ 6563 w 10000"/>
                  <a:gd name="connsiteY17" fmla="*/ 3137 h 10000"/>
                  <a:gd name="connsiteX18" fmla="*/ 6875 w 10000"/>
                  <a:gd name="connsiteY18" fmla="*/ 2829 h 10000"/>
                  <a:gd name="connsiteX19" fmla="*/ 7079 w 10000"/>
                  <a:gd name="connsiteY19" fmla="*/ 2540 h 10000"/>
                  <a:gd name="connsiteX20" fmla="*/ 7494 w 10000"/>
                  <a:gd name="connsiteY20" fmla="*/ 2540 h 10000"/>
                  <a:gd name="connsiteX21" fmla="*/ 7392 w 10000"/>
                  <a:gd name="connsiteY21" fmla="*/ 2241 h 10000"/>
                  <a:gd name="connsiteX22" fmla="*/ 7290 w 10000"/>
                  <a:gd name="connsiteY22" fmla="*/ 2092 h 10000"/>
                  <a:gd name="connsiteX23" fmla="*/ 7079 w 10000"/>
                  <a:gd name="connsiteY23" fmla="*/ 2241 h 10000"/>
                  <a:gd name="connsiteX24" fmla="*/ 6875 w 10000"/>
                  <a:gd name="connsiteY24" fmla="*/ 2241 h 10000"/>
                  <a:gd name="connsiteX25" fmla="*/ 6875 w 10000"/>
                  <a:gd name="connsiteY25" fmla="*/ 1643 h 10000"/>
                  <a:gd name="connsiteX26" fmla="*/ 6977 w 10000"/>
                  <a:gd name="connsiteY26" fmla="*/ 1345 h 10000"/>
                  <a:gd name="connsiteX27" fmla="*/ 7188 w 10000"/>
                  <a:gd name="connsiteY27" fmla="*/ 1485 h 10000"/>
                  <a:gd name="connsiteX28" fmla="*/ 7494 w 10000"/>
                  <a:gd name="connsiteY28" fmla="*/ 1345 h 10000"/>
                  <a:gd name="connsiteX29" fmla="*/ 7602 w 10000"/>
                  <a:gd name="connsiteY29" fmla="*/ 747 h 10000"/>
                  <a:gd name="connsiteX30" fmla="*/ 7704 w 10000"/>
                  <a:gd name="connsiteY30" fmla="*/ 588 h 10000"/>
                  <a:gd name="connsiteX31" fmla="*/ 7704 w 10000"/>
                  <a:gd name="connsiteY31" fmla="*/ 448 h 10000"/>
                  <a:gd name="connsiteX32" fmla="*/ 7602 w 10000"/>
                  <a:gd name="connsiteY32" fmla="*/ 448 h 10000"/>
                  <a:gd name="connsiteX33" fmla="*/ 7704 w 10000"/>
                  <a:gd name="connsiteY33" fmla="*/ 140 h 10000"/>
                  <a:gd name="connsiteX34" fmla="*/ 8119 w 10000"/>
                  <a:gd name="connsiteY34" fmla="*/ 0 h 10000"/>
                  <a:gd name="connsiteX35" fmla="*/ 8431 w 10000"/>
                  <a:gd name="connsiteY35" fmla="*/ 140 h 10000"/>
                  <a:gd name="connsiteX36" fmla="*/ 8642 w 10000"/>
                  <a:gd name="connsiteY36" fmla="*/ 448 h 10000"/>
                  <a:gd name="connsiteX37" fmla="*/ 8846 w 10000"/>
                  <a:gd name="connsiteY37" fmla="*/ 1485 h 10000"/>
                  <a:gd name="connsiteX38" fmla="*/ 9056 w 10000"/>
                  <a:gd name="connsiteY38" fmla="*/ 1485 h 10000"/>
                  <a:gd name="connsiteX39" fmla="*/ 9363 w 10000"/>
                  <a:gd name="connsiteY39" fmla="*/ 1793 h 10000"/>
                  <a:gd name="connsiteX40" fmla="*/ 9363 w 10000"/>
                  <a:gd name="connsiteY40" fmla="*/ 2092 h 10000"/>
                  <a:gd name="connsiteX41" fmla="*/ 9585 w 10000"/>
                  <a:gd name="connsiteY41" fmla="*/ 2092 h 10000"/>
                  <a:gd name="connsiteX42" fmla="*/ 10000 w 10000"/>
                  <a:gd name="connsiteY42" fmla="*/ 1933 h 10000"/>
                  <a:gd name="connsiteX43" fmla="*/ 10000 w 10000"/>
                  <a:gd name="connsiteY43" fmla="*/ 2241 h 10000"/>
                  <a:gd name="connsiteX44" fmla="*/ 9688 w 10000"/>
                  <a:gd name="connsiteY44" fmla="*/ 3137 h 10000"/>
                  <a:gd name="connsiteX45" fmla="*/ 9585 w 10000"/>
                  <a:gd name="connsiteY45" fmla="*/ 2988 h 10000"/>
                  <a:gd name="connsiteX46" fmla="*/ 9363 w 10000"/>
                  <a:gd name="connsiteY46" fmla="*/ 3137 h 10000"/>
                  <a:gd name="connsiteX47" fmla="*/ 9483 w 10000"/>
                  <a:gd name="connsiteY47" fmla="*/ 3585 h 10000"/>
                  <a:gd name="connsiteX48" fmla="*/ 9363 w 10000"/>
                  <a:gd name="connsiteY48" fmla="*/ 3884 h 10000"/>
                  <a:gd name="connsiteX49" fmla="*/ 9261 w 10000"/>
                  <a:gd name="connsiteY49" fmla="*/ 3884 h 10000"/>
                  <a:gd name="connsiteX50" fmla="*/ 9056 w 10000"/>
                  <a:gd name="connsiteY50" fmla="*/ 4034 h 10000"/>
                  <a:gd name="connsiteX51" fmla="*/ 8948 w 10000"/>
                  <a:gd name="connsiteY51" fmla="*/ 4034 h 10000"/>
                  <a:gd name="connsiteX52" fmla="*/ 8846 w 10000"/>
                  <a:gd name="connsiteY52" fmla="*/ 4174 h 10000"/>
                  <a:gd name="connsiteX53" fmla="*/ 8744 w 10000"/>
                  <a:gd name="connsiteY53" fmla="*/ 4174 h 10000"/>
                  <a:gd name="connsiteX54" fmla="*/ 8329 w 10000"/>
                  <a:gd name="connsiteY54" fmla="*/ 4622 h 10000"/>
                  <a:gd name="connsiteX55" fmla="*/ 8329 w 10000"/>
                  <a:gd name="connsiteY55" fmla="*/ 4781 h 10000"/>
                  <a:gd name="connsiteX56" fmla="*/ 8119 w 10000"/>
                  <a:gd name="connsiteY56" fmla="*/ 4781 h 10000"/>
                  <a:gd name="connsiteX57" fmla="*/ 7806 w 10000"/>
                  <a:gd name="connsiteY57" fmla="*/ 5070 h 10000"/>
                  <a:gd name="connsiteX58" fmla="*/ 7806 w 10000"/>
                  <a:gd name="connsiteY58" fmla="*/ 4930 h 10000"/>
                  <a:gd name="connsiteX59" fmla="*/ 7806 w 10000"/>
                  <a:gd name="connsiteY59" fmla="*/ 4781 h 10000"/>
                  <a:gd name="connsiteX60" fmla="*/ 7915 w 10000"/>
                  <a:gd name="connsiteY60" fmla="*/ 4482 h 10000"/>
                  <a:gd name="connsiteX61" fmla="*/ 7806 w 10000"/>
                  <a:gd name="connsiteY61" fmla="*/ 4332 h 10000"/>
                  <a:gd name="connsiteX62" fmla="*/ 7494 w 10000"/>
                  <a:gd name="connsiteY62" fmla="*/ 4781 h 10000"/>
                  <a:gd name="connsiteX63" fmla="*/ 7392 w 10000"/>
                  <a:gd name="connsiteY63" fmla="*/ 4930 h 10000"/>
                  <a:gd name="connsiteX64" fmla="*/ 7290 w 10000"/>
                  <a:gd name="connsiteY64" fmla="*/ 4930 h 10000"/>
                  <a:gd name="connsiteX65" fmla="*/ 7188 w 10000"/>
                  <a:gd name="connsiteY65" fmla="*/ 5070 h 10000"/>
                  <a:gd name="connsiteX66" fmla="*/ 7494 w 10000"/>
                  <a:gd name="connsiteY66" fmla="*/ 5518 h 10000"/>
                  <a:gd name="connsiteX67" fmla="*/ 7704 w 10000"/>
                  <a:gd name="connsiteY67" fmla="*/ 5369 h 10000"/>
                  <a:gd name="connsiteX68" fmla="*/ 8017 w 10000"/>
                  <a:gd name="connsiteY68" fmla="*/ 5518 h 10000"/>
                  <a:gd name="connsiteX69" fmla="*/ 8017 w 10000"/>
                  <a:gd name="connsiteY69" fmla="*/ 5677 h 10000"/>
                  <a:gd name="connsiteX70" fmla="*/ 7915 w 10000"/>
                  <a:gd name="connsiteY70" fmla="*/ 5518 h 10000"/>
                  <a:gd name="connsiteX71" fmla="*/ 7704 w 10000"/>
                  <a:gd name="connsiteY71" fmla="*/ 5677 h 10000"/>
                  <a:gd name="connsiteX72" fmla="*/ 7494 w 10000"/>
                  <a:gd name="connsiteY72" fmla="*/ 6125 h 10000"/>
                  <a:gd name="connsiteX73" fmla="*/ 7602 w 10000"/>
                  <a:gd name="connsiteY73" fmla="*/ 6265 h 10000"/>
                  <a:gd name="connsiteX74" fmla="*/ 7704 w 10000"/>
                  <a:gd name="connsiteY74" fmla="*/ 6863 h 10000"/>
                  <a:gd name="connsiteX75" fmla="*/ 7915 w 10000"/>
                  <a:gd name="connsiteY75" fmla="*/ 7021 h 10000"/>
                  <a:gd name="connsiteX76" fmla="*/ 7806 w 10000"/>
                  <a:gd name="connsiteY76" fmla="*/ 7021 h 10000"/>
                  <a:gd name="connsiteX77" fmla="*/ 7915 w 10000"/>
                  <a:gd name="connsiteY77" fmla="*/ 7311 h 10000"/>
                  <a:gd name="connsiteX78" fmla="*/ 7602 w 10000"/>
                  <a:gd name="connsiteY78" fmla="*/ 7470 h 10000"/>
                  <a:gd name="connsiteX79" fmla="*/ 7915 w 10000"/>
                  <a:gd name="connsiteY79" fmla="*/ 7470 h 10000"/>
                  <a:gd name="connsiteX80" fmla="*/ 7806 w 10000"/>
                  <a:gd name="connsiteY80" fmla="*/ 8058 h 10000"/>
                  <a:gd name="connsiteX81" fmla="*/ 7602 w 10000"/>
                  <a:gd name="connsiteY81" fmla="*/ 8366 h 10000"/>
                  <a:gd name="connsiteX82" fmla="*/ 7494 w 10000"/>
                  <a:gd name="connsiteY82" fmla="*/ 8366 h 10000"/>
                  <a:gd name="connsiteX83" fmla="*/ 7494 w 10000"/>
                  <a:gd name="connsiteY83" fmla="*/ 8655 h 10000"/>
                  <a:gd name="connsiteX84" fmla="*/ 7392 w 10000"/>
                  <a:gd name="connsiteY84" fmla="*/ 8954 h 10000"/>
                  <a:gd name="connsiteX85" fmla="*/ 7290 w 10000"/>
                  <a:gd name="connsiteY85" fmla="*/ 8954 h 10000"/>
                  <a:gd name="connsiteX86" fmla="*/ 7290 w 10000"/>
                  <a:gd name="connsiteY86" fmla="*/ 9104 h 10000"/>
                  <a:gd name="connsiteX87" fmla="*/ 6977 w 10000"/>
                  <a:gd name="connsiteY87" fmla="*/ 9402 h 10000"/>
                  <a:gd name="connsiteX88" fmla="*/ 6665 w 10000"/>
                  <a:gd name="connsiteY88" fmla="*/ 9402 h 10000"/>
                  <a:gd name="connsiteX89" fmla="*/ 6665 w 10000"/>
                  <a:gd name="connsiteY89" fmla="*/ 9552 h 10000"/>
                  <a:gd name="connsiteX90" fmla="*/ 6563 w 10000"/>
                  <a:gd name="connsiteY90" fmla="*/ 9402 h 10000"/>
                  <a:gd name="connsiteX91" fmla="*/ 6563 w 10000"/>
                  <a:gd name="connsiteY91" fmla="*/ 9552 h 10000"/>
                  <a:gd name="connsiteX92" fmla="*/ 6460 w 10000"/>
                  <a:gd name="connsiteY92" fmla="*/ 9552 h 10000"/>
                  <a:gd name="connsiteX93" fmla="*/ 6046 w 10000"/>
                  <a:gd name="connsiteY93" fmla="*/ 9851 h 10000"/>
                  <a:gd name="connsiteX94" fmla="*/ 5938 w 10000"/>
                  <a:gd name="connsiteY94" fmla="*/ 10000 h 10000"/>
                  <a:gd name="connsiteX95" fmla="*/ 5938 w 10000"/>
                  <a:gd name="connsiteY95" fmla="*/ 9711 h 10000"/>
                  <a:gd name="connsiteX96" fmla="*/ 5733 w 10000"/>
                  <a:gd name="connsiteY96" fmla="*/ 9711 h 10000"/>
                  <a:gd name="connsiteX97" fmla="*/ 5625 w 10000"/>
                  <a:gd name="connsiteY97" fmla="*/ 9711 h 10000"/>
                  <a:gd name="connsiteX98" fmla="*/ 5409 w 10000"/>
                  <a:gd name="connsiteY98" fmla="*/ 9711 h 10000"/>
                  <a:gd name="connsiteX99" fmla="*/ 5409 w 10000"/>
                  <a:gd name="connsiteY99" fmla="*/ 9402 h 10000"/>
                  <a:gd name="connsiteX100" fmla="*/ 5198 w 10000"/>
                  <a:gd name="connsiteY100" fmla="*/ 9402 h 10000"/>
                  <a:gd name="connsiteX101" fmla="*/ 4784 w 10000"/>
                  <a:gd name="connsiteY101" fmla="*/ 9552 h 10000"/>
                  <a:gd name="connsiteX102" fmla="*/ 4681 w 10000"/>
                  <a:gd name="connsiteY102" fmla="*/ 9402 h 10000"/>
                  <a:gd name="connsiteX103" fmla="*/ 4681 w 10000"/>
                  <a:gd name="connsiteY103" fmla="*/ 9552 h 10000"/>
                  <a:gd name="connsiteX104" fmla="*/ 4579 w 10000"/>
                  <a:gd name="connsiteY104" fmla="*/ 9552 h 10000"/>
                  <a:gd name="connsiteX105" fmla="*/ 4579 w 10000"/>
                  <a:gd name="connsiteY105" fmla="*/ 9851 h 10000"/>
                  <a:gd name="connsiteX106" fmla="*/ 4477 w 10000"/>
                  <a:gd name="connsiteY106" fmla="*/ 9851 h 10000"/>
                  <a:gd name="connsiteX107" fmla="*/ 4477 w 10000"/>
                  <a:gd name="connsiteY107" fmla="*/ 9711 h 10000"/>
                  <a:gd name="connsiteX108" fmla="*/ 4369 w 10000"/>
                  <a:gd name="connsiteY108" fmla="*/ 9711 h 10000"/>
                  <a:gd name="connsiteX109" fmla="*/ 4165 w 10000"/>
                  <a:gd name="connsiteY109" fmla="*/ 9552 h 10000"/>
                  <a:gd name="connsiteX110" fmla="*/ 4165 w 10000"/>
                  <a:gd name="connsiteY110" fmla="*/ 9402 h 10000"/>
                  <a:gd name="connsiteX111" fmla="*/ 4165 w 10000"/>
                  <a:gd name="connsiteY111" fmla="*/ 9262 h 10000"/>
                  <a:gd name="connsiteX112" fmla="*/ 4056 w 10000"/>
                  <a:gd name="connsiteY112" fmla="*/ 9104 h 10000"/>
                  <a:gd name="connsiteX113" fmla="*/ 3954 w 10000"/>
                  <a:gd name="connsiteY113" fmla="*/ 9104 h 10000"/>
                  <a:gd name="connsiteX114" fmla="*/ 4056 w 10000"/>
                  <a:gd name="connsiteY114" fmla="*/ 8366 h 10000"/>
                  <a:gd name="connsiteX115" fmla="*/ 3954 w 10000"/>
                  <a:gd name="connsiteY115" fmla="*/ 8058 h 10000"/>
                  <a:gd name="connsiteX116" fmla="*/ 3852 w 10000"/>
                  <a:gd name="connsiteY116" fmla="*/ 8058 h 10000"/>
                  <a:gd name="connsiteX117" fmla="*/ 3642 w 10000"/>
                  <a:gd name="connsiteY117" fmla="*/ 7759 h 10000"/>
                  <a:gd name="connsiteX118" fmla="*/ 3438 w 10000"/>
                  <a:gd name="connsiteY118" fmla="*/ 7759 h 10000"/>
                  <a:gd name="connsiteX119" fmla="*/ 2915 w 10000"/>
                  <a:gd name="connsiteY119" fmla="*/ 8058 h 10000"/>
                  <a:gd name="connsiteX120" fmla="*/ 2608 w 10000"/>
                  <a:gd name="connsiteY120" fmla="*/ 8058 h 10000"/>
                  <a:gd name="connsiteX121" fmla="*/ 2500 w 10000"/>
                  <a:gd name="connsiteY121" fmla="*/ 8207 h 10000"/>
                  <a:gd name="connsiteX122" fmla="*/ 2398 w 10000"/>
                  <a:gd name="connsiteY122" fmla="*/ 8058 h 10000"/>
                  <a:gd name="connsiteX123" fmla="*/ 2296 w 10000"/>
                  <a:gd name="connsiteY123" fmla="*/ 8058 h 10000"/>
                  <a:gd name="connsiteX124" fmla="*/ 1983 w 10000"/>
                  <a:gd name="connsiteY124" fmla="*/ 8058 h 10000"/>
                  <a:gd name="connsiteX125" fmla="*/ 1773 w 10000"/>
                  <a:gd name="connsiteY125" fmla="*/ 7918 h 10000"/>
                  <a:gd name="connsiteX126" fmla="*/ 1671 w 10000"/>
                  <a:gd name="connsiteY126" fmla="*/ 7759 h 10000"/>
                  <a:gd name="connsiteX127" fmla="*/ 1556 w 10000"/>
                  <a:gd name="connsiteY127" fmla="*/ 7759 h 10000"/>
                  <a:gd name="connsiteX128" fmla="*/ 1346 w 10000"/>
                  <a:gd name="connsiteY128" fmla="*/ 7470 h 10000"/>
                  <a:gd name="connsiteX129" fmla="*/ 1142 w 10000"/>
                  <a:gd name="connsiteY129" fmla="*/ 7470 h 10000"/>
                  <a:gd name="connsiteX130" fmla="*/ 829 w 10000"/>
                  <a:gd name="connsiteY130" fmla="*/ 7311 h 10000"/>
                  <a:gd name="connsiteX131" fmla="*/ 727 w 10000"/>
                  <a:gd name="connsiteY131" fmla="*/ 6863 h 10000"/>
                  <a:gd name="connsiteX132" fmla="*/ 931 w 10000"/>
                  <a:gd name="connsiteY132" fmla="*/ 6863 h 10000"/>
                  <a:gd name="connsiteX133" fmla="*/ 829 w 10000"/>
                  <a:gd name="connsiteY133" fmla="*/ 6573 h 10000"/>
                  <a:gd name="connsiteX134" fmla="*/ 1034 w 10000"/>
                  <a:gd name="connsiteY134" fmla="*/ 6265 h 10000"/>
                  <a:gd name="connsiteX135" fmla="*/ 1034 w 10000"/>
                  <a:gd name="connsiteY135" fmla="*/ 5966 h 10000"/>
                  <a:gd name="connsiteX136" fmla="*/ 931 w 10000"/>
                  <a:gd name="connsiteY136" fmla="*/ 5817 h 10000"/>
                  <a:gd name="connsiteX137" fmla="*/ 619 w 10000"/>
                  <a:gd name="connsiteY137" fmla="*/ 5966 h 10000"/>
                  <a:gd name="connsiteX138" fmla="*/ 415 w 10000"/>
                  <a:gd name="connsiteY138" fmla="*/ 5817 h 10000"/>
                  <a:gd name="connsiteX139" fmla="*/ 306 w 10000"/>
                  <a:gd name="connsiteY139" fmla="*/ 5677 h 10000"/>
                  <a:gd name="connsiteX140" fmla="*/ 102 w 10000"/>
                  <a:gd name="connsiteY140" fmla="*/ 5518 h 10000"/>
                  <a:gd name="connsiteX141" fmla="*/ 216 w 10000"/>
                  <a:gd name="connsiteY141" fmla="*/ 5243 h 10000"/>
                  <a:gd name="connsiteX142" fmla="*/ 204 w 10000"/>
                  <a:gd name="connsiteY142" fmla="*/ 5070 h 10000"/>
                  <a:gd name="connsiteX143" fmla="*/ 0 w 10000"/>
                  <a:gd name="connsiteY143" fmla="*/ 5070 h 10000"/>
                  <a:gd name="connsiteX144" fmla="*/ 0 w 10000"/>
                  <a:gd name="connsiteY144" fmla="*/ 4622 h 10000"/>
                  <a:gd name="connsiteX145" fmla="*/ 204 w 10000"/>
                  <a:gd name="connsiteY145" fmla="*/ 4482 h 10000"/>
                  <a:gd name="connsiteX146" fmla="*/ 415 w 10000"/>
                  <a:gd name="connsiteY146" fmla="*/ 4482 h 10000"/>
                  <a:gd name="connsiteX147" fmla="*/ 517 w 10000"/>
                  <a:gd name="connsiteY147" fmla="*/ 4332 h 10000"/>
                  <a:gd name="connsiteX148" fmla="*/ 727 w 10000"/>
                  <a:gd name="connsiteY148" fmla="*/ 4332 h 10000"/>
                  <a:gd name="connsiteX149" fmla="*/ 1034 w 10000"/>
                  <a:gd name="connsiteY149" fmla="*/ 4034 h 10000"/>
                  <a:gd name="connsiteX150" fmla="*/ 1142 w 10000"/>
                  <a:gd name="connsiteY150" fmla="*/ 3725 h 10000"/>
                  <a:gd name="connsiteX151" fmla="*/ 1034 w 10000"/>
                  <a:gd name="connsiteY151" fmla="*/ 3137 h 10000"/>
                  <a:gd name="connsiteX152" fmla="*/ 1034 w 10000"/>
                  <a:gd name="connsiteY152" fmla="*/ 2988 h 10000"/>
                  <a:gd name="connsiteX153" fmla="*/ 1346 w 10000"/>
                  <a:gd name="connsiteY153" fmla="*/ 2988 h 10000"/>
                  <a:gd name="connsiteX154" fmla="*/ 1454 w 10000"/>
                  <a:gd name="connsiteY154" fmla="*/ 2381 h 10000"/>
                  <a:gd name="connsiteX155" fmla="*/ 1773 w 10000"/>
                  <a:gd name="connsiteY155" fmla="*/ 2381 h 10000"/>
                  <a:gd name="connsiteX156" fmla="*/ 1881 w 10000"/>
                  <a:gd name="connsiteY156" fmla="*/ 2381 h 10000"/>
                  <a:gd name="connsiteX157" fmla="*/ 1983 w 10000"/>
                  <a:gd name="connsiteY157" fmla="*/ 1933 h 10000"/>
                  <a:gd name="connsiteX158" fmla="*/ 2085 w 10000"/>
                  <a:gd name="connsiteY158" fmla="*/ 1793 h 10000"/>
                  <a:gd name="connsiteX0" fmla="*/ 2085 w 10000"/>
                  <a:gd name="connsiteY0" fmla="*/ 1793 h 10000"/>
                  <a:gd name="connsiteX1" fmla="*/ 2085 w 10000"/>
                  <a:gd name="connsiteY1" fmla="*/ 1793 h 10000"/>
                  <a:gd name="connsiteX2" fmla="*/ 2296 w 10000"/>
                  <a:gd name="connsiteY2" fmla="*/ 1643 h 10000"/>
                  <a:gd name="connsiteX3" fmla="*/ 2500 w 10000"/>
                  <a:gd name="connsiteY3" fmla="*/ 2092 h 10000"/>
                  <a:gd name="connsiteX4" fmla="*/ 2710 w 10000"/>
                  <a:gd name="connsiteY4" fmla="*/ 2092 h 10000"/>
                  <a:gd name="connsiteX5" fmla="*/ 2813 w 10000"/>
                  <a:gd name="connsiteY5" fmla="*/ 2381 h 10000"/>
                  <a:gd name="connsiteX6" fmla="*/ 2813 w 10000"/>
                  <a:gd name="connsiteY6" fmla="*/ 2988 h 10000"/>
                  <a:gd name="connsiteX7" fmla="*/ 3438 w 10000"/>
                  <a:gd name="connsiteY7" fmla="*/ 3277 h 10000"/>
                  <a:gd name="connsiteX8" fmla="*/ 3750 w 10000"/>
                  <a:gd name="connsiteY8" fmla="*/ 3725 h 10000"/>
                  <a:gd name="connsiteX9" fmla="*/ 4369 w 10000"/>
                  <a:gd name="connsiteY9" fmla="*/ 3725 h 10000"/>
                  <a:gd name="connsiteX10" fmla="*/ 4681 w 10000"/>
                  <a:gd name="connsiteY10" fmla="*/ 4034 h 10000"/>
                  <a:gd name="connsiteX11" fmla="*/ 5096 w 10000"/>
                  <a:gd name="connsiteY11" fmla="*/ 4174 h 10000"/>
                  <a:gd name="connsiteX12" fmla="*/ 5523 w 10000"/>
                  <a:gd name="connsiteY12" fmla="*/ 3884 h 10000"/>
                  <a:gd name="connsiteX13" fmla="*/ 5938 w 10000"/>
                  <a:gd name="connsiteY13" fmla="*/ 3884 h 10000"/>
                  <a:gd name="connsiteX14" fmla="*/ 6250 w 10000"/>
                  <a:gd name="connsiteY14" fmla="*/ 3436 h 10000"/>
                  <a:gd name="connsiteX15" fmla="*/ 6148 w 10000"/>
                  <a:gd name="connsiteY15" fmla="*/ 3277 h 10000"/>
                  <a:gd name="connsiteX16" fmla="*/ 6352 w 10000"/>
                  <a:gd name="connsiteY16" fmla="*/ 2988 h 10000"/>
                  <a:gd name="connsiteX17" fmla="*/ 6563 w 10000"/>
                  <a:gd name="connsiteY17" fmla="*/ 3137 h 10000"/>
                  <a:gd name="connsiteX18" fmla="*/ 6875 w 10000"/>
                  <a:gd name="connsiteY18" fmla="*/ 2829 h 10000"/>
                  <a:gd name="connsiteX19" fmla="*/ 7079 w 10000"/>
                  <a:gd name="connsiteY19" fmla="*/ 2540 h 10000"/>
                  <a:gd name="connsiteX20" fmla="*/ 7494 w 10000"/>
                  <a:gd name="connsiteY20" fmla="*/ 2540 h 10000"/>
                  <a:gd name="connsiteX21" fmla="*/ 7392 w 10000"/>
                  <a:gd name="connsiteY21" fmla="*/ 2241 h 10000"/>
                  <a:gd name="connsiteX22" fmla="*/ 7290 w 10000"/>
                  <a:gd name="connsiteY22" fmla="*/ 2092 h 10000"/>
                  <a:gd name="connsiteX23" fmla="*/ 7079 w 10000"/>
                  <a:gd name="connsiteY23" fmla="*/ 2241 h 10000"/>
                  <a:gd name="connsiteX24" fmla="*/ 6875 w 10000"/>
                  <a:gd name="connsiteY24" fmla="*/ 2241 h 10000"/>
                  <a:gd name="connsiteX25" fmla="*/ 6875 w 10000"/>
                  <a:gd name="connsiteY25" fmla="*/ 1643 h 10000"/>
                  <a:gd name="connsiteX26" fmla="*/ 6977 w 10000"/>
                  <a:gd name="connsiteY26" fmla="*/ 1345 h 10000"/>
                  <a:gd name="connsiteX27" fmla="*/ 7188 w 10000"/>
                  <a:gd name="connsiteY27" fmla="*/ 1485 h 10000"/>
                  <a:gd name="connsiteX28" fmla="*/ 7494 w 10000"/>
                  <a:gd name="connsiteY28" fmla="*/ 1345 h 10000"/>
                  <a:gd name="connsiteX29" fmla="*/ 7602 w 10000"/>
                  <a:gd name="connsiteY29" fmla="*/ 747 h 10000"/>
                  <a:gd name="connsiteX30" fmla="*/ 7704 w 10000"/>
                  <a:gd name="connsiteY30" fmla="*/ 588 h 10000"/>
                  <a:gd name="connsiteX31" fmla="*/ 7704 w 10000"/>
                  <a:gd name="connsiteY31" fmla="*/ 448 h 10000"/>
                  <a:gd name="connsiteX32" fmla="*/ 7602 w 10000"/>
                  <a:gd name="connsiteY32" fmla="*/ 448 h 10000"/>
                  <a:gd name="connsiteX33" fmla="*/ 7704 w 10000"/>
                  <a:gd name="connsiteY33" fmla="*/ 140 h 10000"/>
                  <a:gd name="connsiteX34" fmla="*/ 8119 w 10000"/>
                  <a:gd name="connsiteY34" fmla="*/ 0 h 10000"/>
                  <a:gd name="connsiteX35" fmla="*/ 8431 w 10000"/>
                  <a:gd name="connsiteY35" fmla="*/ 140 h 10000"/>
                  <a:gd name="connsiteX36" fmla="*/ 8642 w 10000"/>
                  <a:gd name="connsiteY36" fmla="*/ 448 h 10000"/>
                  <a:gd name="connsiteX37" fmla="*/ 8846 w 10000"/>
                  <a:gd name="connsiteY37" fmla="*/ 1485 h 10000"/>
                  <a:gd name="connsiteX38" fmla="*/ 9056 w 10000"/>
                  <a:gd name="connsiteY38" fmla="*/ 1485 h 10000"/>
                  <a:gd name="connsiteX39" fmla="*/ 9363 w 10000"/>
                  <a:gd name="connsiteY39" fmla="*/ 1793 h 10000"/>
                  <a:gd name="connsiteX40" fmla="*/ 9363 w 10000"/>
                  <a:gd name="connsiteY40" fmla="*/ 2092 h 10000"/>
                  <a:gd name="connsiteX41" fmla="*/ 9585 w 10000"/>
                  <a:gd name="connsiteY41" fmla="*/ 2092 h 10000"/>
                  <a:gd name="connsiteX42" fmla="*/ 10000 w 10000"/>
                  <a:gd name="connsiteY42" fmla="*/ 1933 h 10000"/>
                  <a:gd name="connsiteX43" fmla="*/ 10000 w 10000"/>
                  <a:gd name="connsiteY43" fmla="*/ 2241 h 10000"/>
                  <a:gd name="connsiteX44" fmla="*/ 9688 w 10000"/>
                  <a:gd name="connsiteY44" fmla="*/ 3137 h 10000"/>
                  <a:gd name="connsiteX45" fmla="*/ 9585 w 10000"/>
                  <a:gd name="connsiteY45" fmla="*/ 2988 h 10000"/>
                  <a:gd name="connsiteX46" fmla="*/ 9363 w 10000"/>
                  <a:gd name="connsiteY46" fmla="*/ 3137 h 10000"/>
                  <a:gd name="connsiteX47" fmla="*/ 9483 w 10000"/>
                  <a:gd name="connsiteY47" fmla="*/ 3585 h 10000"/>
                  <a:gd name="connsiteX48" fmla="*/ 9363 w 10000"/>
                  <a:gd name="connsiteY48" fmla="*/ 3884 h 10000"/>
                  <a:gd name="connsiteX49" fmla="*/ 9261 w 10000"/>
                  <a:gd name="connsiteY49" fmla="*/ 3884 h 10000"/>
                  <a:gd name="connsiteX50" fmla="*/ 9056 w 10000"/>
                  <a:gd name="connsiteY50" fmla="*/ 4034 h 10000"/>
                  <a:gd name="connsiteX51" fmla="*/ 8948 w 10000"/>
                  <a:gd name="connsiteY51" fmla="*/ 4034 h 10000"/>
                  <a:gd name="connsiteX52" fmla="*/ 8846 w 10000"/>
                  <a:gd name="connsiteY52" fmla="*/ 4174 h 10000"/>
                  <a:gd name="connsiteX53" fmla="*/ 8744 w 10000"/>
                  <a:gd name="connsiteY53" fmla="*/ 4174 h 10000"/>
                  <a:gd name="connsiteX54" fmla="*/ 8329 w 10000"/>
                  <a:gd name="connsiteY54" fmla="*/ 4622 h 10000"/>
                  <a:gd name="connsiteX55" fmla="*/ 8329 w 10000"/>
                  <a:gd name="connsiteY55" fmla="*/ 4781 h 10000"/>
                  <a:gd name="connsiteX56" fmla="*/ 8119 w 10000"/>
                  <a:gd name="connsiteY56" fmla="*/ 4781 h 10000"/>
                  <a:gd name="connsiteX57" fmla="*/ 7806 w 10000"/>
                  <a:gd name="connsiteY57" fmla="*/ 5070 h 10000"/>
                  <a:gd name="connsiteX58" fmla="*/ 7806 w 10000"/>
                  <a:gd name="connsiteY58" fmla="*/ 4930 h 10000"/>
                  <a:gd name="connsiteX59" fmla="*/ 7806 w 10000"/>
                  <a:gd name="connsiteY59" fmla="*/ 4781 h 10000"/>
                  <a:gd name="connsiteX60" fmla="*/ 7915 w 10000"/>
                  <a:gd name="connsiteY60" fmla="*/ 4482 h 10000"/>
                  <a:gd name="connsiteX61" fmla="*/ 7806 w 10000"/>
                  <a:gd name="connsiteY61" fmla="*/ 4332 h 10000"/>
                  <a:gd name="connsiteX62" fmla="*/ 7494 w 10000"/>
                  <a:gd name="connsiteY62" fmla="*/ 4781 h 10000"/>
                  <a:gd name="connsiteX63" fmla="*/ 7392 w 10000"/>
                  <a:gd name="connsiteY63" fmla="*/ 4930 h 10000"/>
                  <a:gd name="connsiteX64" fmla="*/ 7290 w 10000"/>
                  <a:gd name="connsiteY64" fmla="*/ 4930 h 10000"/>
                  <a:gd name="connsiteX65" fmla="*/ 7188 w 10000"/>
                  <a:gd name="connsiteY65" fmla="*/ 5070 h 10000"/>
                  <a:gd name="connsiteX66" fmla="*/ 7494 w 10000"/>
                  <a:gd name="connsiteY66" fmla="*/ 5518 h 10000"/>
                  <a:gd name="connsiteX67" fmla="*/ 7704 w 10000"/>
                  <a:gd name="connsiteY67" fmla="*/ 5369 h 10000"/>
                  <a:gd name="connsiteX68" fmla="*/ 8017 w 10000"/>
                  <a:gd name="connsiteY68" fmla="*/ 5518 h 10000"/>
                  <a:gd name="connsiteX69" fmla="*/ 8017 w 10000"/>
                  <a:gd name="connsiteY69" fmla="*/ 5677 h 10000"/>
                  <a:gd name="connsiteX70" fmla="*/ 7915 w 10000"/>
                  <a:gd name="connsiteY70" fmla="*/ 5518 h 10000"/>
                  <a:gd name="connsiteX71" fmla="*/ 7704 w 10000"/>
                  <a:gd name="connsiteY71" fmla="*/ 5677 h 10000"/>
                  <a:gd name="connsiteX72" fmla="*/ 7494 w 10000"/>
                  <a:gd name="connsiteY72" fmla="*/ 6125 h 10000"/>
                  <a:gd name="connsiteX73" fmla="*/ 7602 w 10000"/>
                  <a:gd name="connsiteY73" fmla="*/ 6265 h 10000"/>
                  <a:gd name="connsiteX74" fmla="*/ 7704 w 10000"/>
                  <a:gd name="connsiteY74" fmla="*/ 6863 h 10000"/>
                  <a:gd name="connsiteX75" fmla="*/ 7915 w 10000"/>
                  <a:gd name="connsiteY75" fmla="*/ 7021 h 10000"/>
                  <a:gd name="connsiteX76" fmla="*/ 7806 w 10000"/>
                  <a:gd name="connsiteY76" fmla="*/ 7021 h 10000"/>
                  <a:gd name="connsiteX77" fmla="*/ 7915 w 10000"/>
                  <a:gd name="connsiteY77" fmla="*/ 7311 h 10000"/>
                  <a:gd name="connsiteX78" fmla="*/ 7602 w 10000"/>
                  <a:gd name="connsiteY78" fmla="*/ 7470 h 10000"/>
                  <a:gd name="connsiteX79" fmla="*/ 7915 w 10000"/>
                  <a:gd name="connsiteY79" fmla="*/ 7470 h 10000"/>
                  <a:gd name="connsiteX80" fmla="*/ 7806 w 10000"/>
                  <a:gd name="connsiteY80" fmla="*/ 8058 h 10000"/>
                  <a:gd name="connsiteX81" fmla="*/ 7602 w 10000"/>
                  <a:gd name="connsiteY81" fmla="*/ 8366 h 10000"/>
                  <a:gd name="connsiteX82" fmla="*/ 7494 w 10000"/>
                  <a:gd name="connsiteY82" fmla="*/ 8366 h 10000"/>
                  <a:gd name="connsiteX83" fmla="*/ 7494 w 10000"/>
                  <a:gd name="connsiteY83" fmla="*/ 8655 h 10000"/>
                  <a:gd name="connsiteX84" fmla="*/ 7392 w 10000"/>
                  <a:gd name="connsiteY84" fmla="*/ 8954 h 10000"/>
                  <a:gd name="connsiteX85" fmla="*/ 7290 w 10000"/>
                  <a:gd name="connsiteY85" fmla="*/ 8954 h 10000"/>
                  <a:gd name="connsiteX86" fmla="*/ 7290 w 10000"/>
                  <a:gd name="connsiteY86" fmla="*/ 9104 h 10000"/>
                  <a:gd name="connsiteX87" fmla="*/ 6977 w 10000"/>
                  <a:gd name="connsiteY87" fmla="*/ 9402 h 10000"/>
                  <a:gd name="connsiteX88" fmla="*/ 6665 w 10000"/>
                  <a:gd name="connsiteY88" fmla="*/ 9402 h 10000"/>
                  <a:gd name="connsiteX89" fmla="*/ 6665 w 10000"/>
                  <a:gd name="connsiteY89" fmla="*/ 9552 h 10000"/>
                  <a:gd name="connsiteX90" fmla="*/ 6563 w 10000"/>
                  <a:gd name="connsiteY90" fmla="*/ 9402 h 10000"/>
                  <a:gd name="connsiteX91" fmla="*/ 6563 w 10000"/>
                  <a:gd name="connsiteY91" fmla="*/ 9552 h 10000"/>
                  <a:gd name="connsiteX92" fmla="*/ 6460 w 10000"/>
                  <a:gd name="connsiteY92" fmla="*/ 9552 h 10000"/>
                  <a:gd name="connsiteX93" fmla="*/ 6046 w 10000"/>
                  <a:gd name="connsiteY93" fmla="*/ 9851 h 10000"/>
                  <a:gd name="connsiteX94" fmla="*/ 5938 w 10000"/>
                  <a:gd name="connsiteY94" fmla="*/ 10000 h 10000"/>
                  <a:gd name="connsiteX95" fmla="*/ 5938 w 10000"/>
                  <a:gd name="connsiteY95" fmla="*/ 9711 h 10000"/>
                  <a:gd name="connsiteX96" fmla="*/ 5733 w 10000"/>
                  <a:gd name="connsiteY96" fmla="*/ 9711 h 10000"/>
                  <a:gd name="connsiteX97" fmla="*/ 5625 w 10000"/>
                  <a:gd name="connsiteY97" fmla="*/ 9711 h 10000"/>
                  <a:gd name="connsiteX98" fmla="*/ 5409 w 10000"/>
                  <a:gd name="connsiteY98" fmla="*/ 9711 h 10000"/>
                  <a:gd name="connsiteX99" fmla="*/ 5409 w 10000"/>
                  <a:gd name="connsiteY99" fmla="*/ 9402 h 10000"/>
                  <a:gd name="connsiteX100" fmla="*/ 5198 w 10000"/>
                  <a:gd name="connsiteY100" fmla="*/ 9402 h 10000"/>
                  <a:gd name="connsiteX101" fmla="*/ 4784 w 10000"/>
                  <a:gd name="connsiteY101" fmla="*/ 9552 h 10000"/>
                  <a:gd name="connsiteX102" fmla="*/ 4681 w 10000"/>
                  <a:gd name="connsiteY102" fmla="*/ 9402 h 10000"/>
                  <a:gd name="connsiteX103" fmla="*/ 4681 w 10000"/>
                  <a:gd name="connsiteY103" fmla="*/ 9552 h 10000"/>
                  <a:gd name="connsiteX104" fmla="*/ 4579 w 10000"/>
                  <a:gd name="connsiteY104" fmla="*/ 9552 h 10000"/>
                  <a:gd name="connsiteX105" fmla="*/ 4579 w 10000"/>
                  <a:gd name="connsiteY105" fmla="*/ 9851 h 10000"/>
                  <a:gd name="connsiteX106" fmla="*/ 4477 w 10000"/>
                  <a:gd name="connsiteY106" fmla="*/ 9851 h 10000"/>
                  <a:gd name="connsiteX107" fmla="*/ 4477 w 10000"/>
                  <a:gd name="connsiteY107" fmla="*/ 9711 h 10000"/>
                  <a:gd name="connsiteX108" fmla="*/ 4369 w 10000"/>
                  <a:gd name="connsiteY108" fmla="*/ 9711 h 10000"/>
                  <a:gd name="connsiteX109" fmla="*/ 4165 w 10000"/>
                  <a:gd name="connsiteY109" fmla="*/ 9552 h 10000"/>
                  <a:gd name="connsiteX110" fmla="*/ 4165 w 10000"/>
                  <a:gd name="connsiteY110" fmla="*/ 9402 h 10000"/>
                  <a:gd name="connsiteX111" fmla="*/ 4165 w 10000"/>
                  <a:gd name="connsiteY111" fmla="*/ 9262 h 10000"/>
                  <a:gd name="connsiteX112" fmla="*/ 4056 w 10000"/>
                  <a:gd name="connsiteY112" fmla="*/ 9104 h 10000"/>
                  <a:gd name="connsiteX113" fmla="*/ 3954 w 10000"/>
                  <a:gd name="connsiteY113" fmla="*/ 9104 h 10000"/>
                  <a:gd name="connsiteX114" fmla="*/ 4056 w 10000"/>
                  <a:gd name="connsiteY114" fmla="*/ 8366 h 10000"/>
                  <a:gd name="connsiteX115" fmla="*/ 3954 w 10000"/>
                  <a:gd name="connsiteY115" fmla="*/ 8058 h 10000"/>
                  <a:gd name="connsiteX116" fmla="*/ 3852 w 10000"/>
                  <a:gd name="connsiteY116" fmla="*/ 8058 h 10000"/>
                  <a:gd name="connsiteX117" fmla="*/ 3642 w 10000"/>
                  <a:gd name="connsiteY117" fmla="*/ 7759 h 10000"/>
                  <a:gd name="connsiteX118" fmla="*/ 3438 w 10000"/>
                  <a:gd name="connsiteY118" fmla="*/ 7759 h 10000"/>
                  <a:gd name="connsiteX119" fmla="*/ 2915 w 10000"/>
                  <a:gd name="connsiteY119" fmla="*/ 8058 h 10000"/>
                  <a:gd name="connsiteX120" fmla="*/ 2608 w 10000"/>
                  <a:gd name="connsiteY120" fmla="*/ 8058 h 10000"/>
                  <a:gd name="connsiteX121" fmla="*/ 2500 w 10000"/>
                  <a:gd name="connsiteY121" fmla="*/ 8207 h 10000"/>
                  <a:gd name="connsiteX122" fmla="*/ 2398 w 10000"/>
                  <a:gd name="connsiteY122" fmla="*/ 8058 h 10000"/>
                  <a:gd name="connsiteX123" fmla="*/ 2296 w 10000"/>
                  <a:gd name="connsiteY123" fmla="*/ 8058 h 10000"/>
                  <a:gd name="connsiteX124" fmla="*/ 1983 w 10000"/>
                  <a:gd name="connsiteY124" fmla="*/ 8058 h 10000"/>
                  <a:gd name="connsiteX125" fmla="*/ 1773 w 10000"/>
                  <a:gd name="connsiteY125" fmla="*/ 7918 h 10000"/>
                  <a:gd name="connsiteX126" fmla="*/ 1671 w 10000"/>
                  <a:gd name="connsiteY126" fmla="*/ 7759 h 10000"/>
                  <a:gd name="connsiteX127" fmla="*/ 1556 w 10000"/>
                  <a:gd name="connsiteY127" fmla="*/ 7759 h 10000"/>
                  <a:gd name="connsiteX128" fmla="*/ 1346 w 10000"/>
                  <a:gd name="connsiteY128" fmla="*/ 7470 h 10000"/>
                  <a:gd name="connsiteX129" fmla="*/ 1142 w 10000"/>
                  <a:gd name="connsiteY129" fmla="*/ 7470 h 10000"/>
                  <a:gd name="connsiteX130" fmla="*/ 829 w 10000"/>
                  <a:gd name="connsiteY130" fmla="*/ 7311 h 10000"/>
                  <a:gd name="connsiteX131" fmla="*/ 727 w 10000"/>
                  <a:gd name="connsiteY131" fmla="*/ 6863 h 10000"/>
                  <a:gd name="connsiteX132" fmla="*/ 931 w 10000"/>
                  <a:gd name="connsiteY132" fmla="*/ 6863 h 10000"/>
                  <a:gd name="connsiteX133" fmla="*/ 829 w 10000"/>
                  <a:gd name="connsiteY133" fmla="*/ 6573 h 10000"/>
                  <a:gd name="connsiteX134" fmla="*/ 1034 w 10000"/>
                  <a:gd name="connsiteY134" fmla="*/ 6265 h 10000"/>
                  <a:gd name="connsiteX135" fmla="*/ 1034 w 10000"/>
                  <a:gd name="connsiteY135" fmla="*/ 5966 h 10000"/>
                  <a:gd name="connsiteX136" fmla="*/ 931 w 10000"/>
                  <a:gd name="connsiteY136" fmla="*/ 5817 h 10000"/>
                  <a:gd name="connsiteX137" fmla="*/ 619 w 10000"/>
                  <a:gd name="connsiteY137" fmla="*/ 5966 h 10000"/>
                  <a:gd name="connsiteX138" fmla="*/ 415 w 10000"/>
                  <a:gd name="connsiteY138" fmla="*/ 5817 h 10000"/>
                  <a:gd name="connsiteX139" fmla="*/ 444 w 10000"/>
                  <a:gd name="connsiteY139" fmla="*/ 5373 h 10000"/>
                  <a:gd name="connsiteX140" fmla="*/ 102 w 10000"/>
                  <a:gd name="connsiteY140" fmla="*/ 5518 h 10000"/>
                  <a:gd name="connsiteX141" fmla="*/ 216 w 10000"/>
                  <a:gd name="connsiteY141" fmla="*/ 5243 h 10000"/>
                  <a:gd name="connsiteX142" fmla="*/ 204 w 10000"/>
                  <a:gd name="connsiteY142" fmla="*/ 5070 h 10000"/>
                  <a:gd name="connsiteX143" fmla="*/ 0 w 10000"/>
                  <a:gd name="connsiteY143" fmla="*/ 5070 h 10000"/>
                  <a:gd name="connsiteX144" fmla="*/ 0 w 10000"/>
                  <a:gd name="connsiteY144" fmla="*/ 4622 h 10000"/>
                  <a:gd name="connsiteX145" fmla="*/ 204 w 10000"/>
                  <a:gd name="connsiteY145" fmla="*/ 4482 h 10000"/>
                  <a:gd name="connsiteX146" fmla="*/ 415 w 10000"/>
                  <a:gd name="connsiteY146" fmla="*/ 4482 h 10000"/>
                  <a:gd name="connsiteX147" fmla="*/ 517 w 10000"/>
                  <a:gd name="connsiteY147" fmla="*/ 4332 h 10000"/>
                  <a:gd name="connsiteX148" fmla="*/ 727 w 10000"/>
                  <a:gd name="connsiteY148" fmla="*/ 4332 h 10000"/>
                  <a:gd name="connsiteX149" fmla="*/ 1034 w 10000"/>
                  <a:gd name="connsiteY149" fmla="*/ 4034 h 10000"/>
                  <a:gd name="connsiteX150" fmla="*/ 1142 w 10000"/>
                  <a:gd name="connsiteY150" fmla="*/ 3725 h 10000"/>
                  <a:gd name="connsiteX151" fmla="*/ 1034 w 10000"/>
                  <a:gd name="connsiteY151" fmla="*/ 3137 h 10000"/>
                  <a:gd name="connsiteX152" fmla="*/ 1034 w 10000"/>
                  <a:gd name="connsiteY152" fmla="*/ 2988 h 10000"/>
                  <a:gd name="connsiteX153" fmla="*/ 1346 w 10000"/>
                  <a:gd name="connsiteY153" fmla="*/ 2988 h 10000"/>
                  <a:gd name="connsiteX154" fmla="*/ 1454 w 10000"/>
                  <a:gd name="connsiteY154" fmla="*/ 2381 h 10000"/>
                  <a:gd name="connsiteX155" fmla="*/ 1773 w 10000"/>
                  <a:gd name="connsiteY155" fmla="*/ 2381 h 10000"/>
                  <a:gd name="connsiteX156" fmla="*/ 1881 w 10000"/>
                  <a:gd name="connsiteY156" fmla="*/ 2381 h 10000"/>
                  <a:gd name="connsiteX157" fmla="*/ 1983 w 10000"/>
                  <a:gd name="connsiteY157" fmla="*/ 1933 h 10000"/>
                  <a:gd name="connsiteX158" fmla="*/ 2085 w 10000"/>
                  <a:gd name="connsiteY158" fmla="*/ 1793 h 10000"/>
                  <a:gd name="connsiteX0" fmla="*/ 2085 w 10000"/>
                  <a:gd name="connsiteY0" fmla="*/ 1793 h 10000"/>
                  <a:gd name="connsiteX1" fmla="*/ 2085 w 10000"/>
                  <a:gd name="connsiteY1" fmla="*/ 1793 h 10000"/>
                  <a:gd name="connsiteX2" fmla="*/ 2296 w 10000"/>
                  <a:gd name="connsiteY2" fmla="*/ 1643 h 10000"/>
                  <a:gd name="connsiteX3" fmla="*/ 2500 w 10000"/>
                  <a:gd name="connsiteY3" fmla="*/ 2092 h 10000"/>
                  <a:gd name="connsiteX4" fmla="*/ 2710 w 10000"/>
                  <a:gd name="connsiteY4" fmla="*/ 2092 h 10000"/>
                  <a:gd name="connsiteX5" fmla="*/ 2813 w 10000"/>
                  <a:gd name="connsiteY5" fmla="*/ 2381 h 10000"/>
                  <a:gd name="connsiteX6" fmla="*/ 2813 w 10000"/>
                  <a:gd name="connsiteY6" fmla="*/ 2988 h 10000"/>
                  <a:gd name="connsiteX7" fmla="*/ 3438 w 10000"/>
                  <a:gd name="connsiteY7" fmla="*/ 3277 h 10000"/>
                  <a:gd name="connsiteX8" fmla="*/ 3750 w 10000"/>
                  <a:gd name="connsiteY8" fmla="*/ 3725 h 10000"/>
                  <a:gd name="connsiteX9" fmla="*/ 4369 w 10000"/>
                  <a:gd name="connsiteY9" fmla="*/ 3725 h 10000"/>
                  <a:gd name="connsiteX10" fmla="*/ 4681 w 10000"/>
                  <a:gd name="connsiteY10" fmla="*/ 4034 h 10000"/>
                  <a:gd name="connsiteX11" fmla="*/ 5096 w 10000"/>
                  <a:gd name="connsiteY11" fmla="*/ 4174 h 10000"/>
                  <a:gd name="connsiteX12" fmla="*/ 5523 w 10000"/>
                  <a:gd name="connsiteY12" fmla="*/ 3884 h 10000"/>
                  <a:gd name="connsiteX13" fmla="*/ 5938 w 10000"/>
                  <a:gd name="connsiteY13" fmla="*/ 3884 h 10000"/>
                  <a:gd name="connsiteX14" fmla="*/ 6250 w 10000"/>
                  <a:gd name="connsiteY14" fmla="*/ 3436 h 10000"/>
                  <a:gd name="connsiteX15" fmla="*/ 6148 w 10000"/>
                  <a:gd name="connsiteY15" fmla="*/ 3277 h 10000"/>
                  <a:gd name="connsiteX16" fmla="*/ 6352 w 10000"/>
                  <a:gd name="connsiteY16" fmla="*/ 2988 h 10000"/>
                  <a:gd name="connsiteX17" fmla="*/ 6563 w 10000"/>
                  <a:gd name="connsiteY17" fmla="*/ 3137 h 10000"/>
                  <a:gd name="connsiteX18" fmla="*/ 6875 w 10000"/>
                  <a:gd name="connsiteY18" fmla="*/ 2829 h 10000"/>
                  <a:gd name="connsiteX19" fmla="*/ 7079 w 10000"/>
                  <a:gd name="connsiteY19" fmla="*/ 2540 h 10000"/>
                  <a:gd name="connsiteX20" fmla="*/ 7494 w 10000"/>
                  <a:gd name="connsiteY20" fmla="*/ 2540 h 10000"/>
                  <a:gd name="connsiteX21" fmla="*/ 7392 w 10000"/>
                  <a:gd name="connsiteY21" fmla="*/ 2241 h 10000"/>
                  <a:gd name="connsiteX22" fmla="*/ 7290 w 10000"/>
                  <a:gd name="connsiteY22" fmla="*/ 2092 h 10000"/>
                  <a:gd name="connsiteX23" fmla="*/ 7079 w 10000"/>
                  <a:gd name="connsiteY23" fmla="*/ 2241 h 10000"/>
                  <a:gd name="connsiteX24" fmla="*/ 6875 w 10000"/>
                  <a:gd name="connsiteY24" fmla="*/ 2241 h 10000"/>
                  <a:gd name="connsiteX25" fmla="*/ 6875 w 10000"/>
                  <a:gd name="connsiteY25" fmla="*/ 1643 h 10000"/>
                  <a:gd name="connsiteX26" fmla="*/ 6977 w 10000"/>
                  <a:gd name="connsiteY26" fmla="*/ 1345 h 10000"/>
                  <a:gd name="connsiteX27" fmla="*/ 7188 w 10000"/>
                  <a:gd name="connsiteY27" fmla="*/ 1485 h 10000"/>
                  <a:gd name="connsiteX28" fmla="*/ 7494 w 10000"/>
                  <a:gd name="connsiteY28" fmla="*/ 1345 h 10000"/>
                  <a:gd name="connsiteX29" fmla="*/ 7602 w 10000"/>
                  <a:gd name="connsiteY29" fmla="*/ 747 h 10000"/>
                  <a:gd name="connsiteX30" fmla="*/ 7704 w 10000"/>
                  <a:gd name="connsiteY30" fmla="*/ 588 h 10000"/>
                  <a:gd name="connsiteX31" fmla="*/ 7704 w 10000"/>
                  <a:gd name="connsiteY31" fmla="*/ 448 h 10000"/>
                  <a:gd name="connsiteX32" fmla="*/ 7602 w 10000"/>
                  <a:gd name="connsiteY32" fmla="*/ 448 h 10000"/>
                  <a:gd name="connsiteX33" fmla="*/ 7704 w 10000"/>
                  <a:gd name="connsiteY33" fmla="*/ 140 h 10000"/>
                  <a:gd name="connsiteX34" fmla="*/ 8119 w 10000"/>
                  <a:gd name="connsiteY34" fmla="*/ 0 h 10000"/>
                  <a:gd name="connsiteX35" fmla="*/ 8431 w 10000"/>
                  <a:gd name="connsiteY35" fmla="*/ 140 h 10000"/>
                  <a:gd name="connsiteX36" fmla="*/ 8642 w 10000"/>
                  <a:gd name="connsiteY36" fmla="*/ 448 h 10000"/>
                  <a:gd name="connsiteX37" fmla="*/ 8846 w 10000"/>
                  <a:gd name="connsiteY37" fmla="*/ 1485 h 10000"/>
                  <a:gd name="connsiteX38" fmla="*/ 9056 w 10000"/>
                  <a:gd name="connsiteY38" fmla="*/ 1485 h 10000"/>
                  <a:gd name="connsiteX39" fmla="*/ 9363 w 10000"/>
                  <a:gd name="connsiteY39" fmla="*/ 1793 h 10000"/>
                  <a:gd name="connsiteX40" fmla="*/ 9363 w 10000"/>
                  <a:gd name="connsiteY40" fmla="*/ 2092 h 10000"/>
                  <a:gd name="connsiteX41" fmla="*/ 9585 w 10000"/>
                  <a:gd name="connsiteY41" fmla="*/ 2092 h 10000"/>
                  <a:gd name="connsiteX42" fmla="*/ 10000 w 10000"/>
                  <a:gd name="connsiteY42" fmla="*/ 1933 h 10000"/>
                  <a:gd name="connsiteX43" fmla="*/ 10000 w 10000"/>
                  <a:gd name="connsiteY43" fmla="*/ 2241 h 10000"/>
                  <a:gd name="connsiteX44" fmla="*/ 9688 w 10000"/>
                  <a:gd name="connsiteY44" fmla="*/ 3137 h 10000"/>
                  <a:gd name="connsiteX45" fmla="*/ 9585 w 10000"/>
                  <a:gd name="connsiteY45" fmla="*/ 2988 h 10000"/>
                  <a:gd name="connsiteX46" fmla="*/ 9363 w 10000"/>
                  <a:gd name="connsiteY46" fmla="*/ 3137 h 10000"/>
                  <a:gd name="connsiteX47" fmla="*/ 9483 w 10000"/>
                  <a:gd name="connsiteY47" fmla="*/ 3585 h 10000"/>
                  <a:gd name="connsiteX48" fmla="*/ 9363 w 10000"/>
                  <a:gd name="connsiteY48" fmla="*/ 3884 h 10000"/>
                  <a:gd name="connsiteX49" fmla="*/ 9261 w 10000"/>
                  <a:gd name="connsiteY49" fmla="*/ 3884 h 10000"/>
                  <a:gd name="connsiteX50" fmla="*/ 9056 w 10000"/>
                  <a:gd name="connsiteY50" fmla="*/ 4034 h 10000"/>
                  <a:gd name="connsiteX51" fmla="*/ 8948 w 10000"/>
                  <a:gd name="connsiteY51" fmla="*/ 4034 h 10000"/>
                  <a:gd name="connsiteX52" fmla="*/ 8846 w 10000"/>
                  <a:gd name="connsiteY52" fmla="*/ 4174 h 10000"/>
                  <a:gd name="connsiteX53" fmla="*/ 8744 w 10000"/>
                  <a:gd name="connsiteY53" fmla="*/ 4174 h 10000"/>
                  <a:gd name="connsiteX54" fmla="*/ 8329 w 10000"/>
                  <a:gd name="connsiteY54" fmla="*/ 4622 h 10000"/>
                  <a:gd name="connsiteX55" fmla="*/ 8329 w 10000"/>
                  <a:gd name="connsiteY55" fmla="*/ 4781 h 10000"/>
                  <a:gd name="connsiteX56" fmla="*/ 8119 w 10000"/>
                  <a:gd name="connsiteY56" fmla="*/ 4781 h 10000"/>
                  <a:gd name="connsiteX57" fmla="*/ 7806 w 10000"/>
                  <a:gd name="connsiteY57" fmla="*/ 5070 h 10000"/>
                  <a:gd name="connsiteX58" fmla="*/ 7806 w 10000"/>
                  <a:gd name="connsiteY58" fmla="*/ 4930 h 10000"/>
                  <a:gd name="connsiteX59" fmla="*/ 7806 w 10000"/>
                  <a:gd name="connsiteY59" fmla="*/ 4781 h 10000"/>
                  <a:gd name="connsiteX60" fmla="*/ 7915 w 10000"/>
                  <a:gd name="connsiteY60" fmla="*/ 4482 h 10000"/>
                  <a:gd name="connsiteX61" fmla="*/ 7806 w 10000"/>
                  <a:gd name="connsiteY61" fmla="*/ 4332 h 10000"/>
                  <a:gd name="connsiteX62" fmla="*/ 7494 w 10000"/>
                  <a:gd name="connsiteY62" fmla="*/ 4781 h 10000"/>
                  <a:gd name="connsiteX63" fmla="*/ 7392 w 10000"/>
                  <a:gd name="connsiteY63" fmla="*/ 4930 h 10000"/>
                  <a:gd name="connsiteX64" fmla="*/ 7290 w 10000"/>
                  <a:gd name="connsiteY64" fmla="*/ 4930 h 10000"/>
                  <a:gd name="connsiteX65" fmla="*/ 7188 w 10000"/>
                  <a:gd name="connsiteY65" fmla="*/ 5070 h 10000"/>
                  <a:gd name="connsiteX66" fmla="*/ 7494 w 10000"/>
                  <a:gd name="connsiteY66" fmla="*/ 5518 h 10000"/>
                  <a:gd name="connsiteX67" fmla="*/ 7704 w 10000"/>
                  <a:gd name="connsiteY67" fmla="*/ 5369 h 10000"/>
                  <a:gd name="connsiteX68" fmla="*/ 8017 w 10000"/>
                  <a:gd name="connsiteY68" fmla="*/ 5518 h 10000"/>
                  <a:gd name="connsiteX69" fmla="*/ 8017 w 10000"/>
                  <a:gd name="connsiteY69" fmla="*/ 5677 h 10000"/>
                  <a:gd name="connsiteX70" fmla="*/ 7915 w 10000"/>
                  <a:gd name="connsiteY70" fmla="*/ 5518 h 10000"/>
                  <a:gd name="connsiteX71" fmla="*/ 7704 w 10000"/>
                  <a:gd name="connsiteY71" fmla="*/ 5677 h 10000"/>
                  <a:gd name="connsiteX72" fmla="*/ 7494 w 10000"/>
                  <a:gd name="connsiteY72" fmla="*/ 6125 h 10000"/>
                  <a:gd name="connsiteX73" fmla="*/ 7602 w 10000"/>
                  <a:gd name="connsiteY73" fmla="*/ 6265 h 10000"/>
                  <a:gd name="connsiteX74" fmla="*/ 7704 w 10000"/>
                  <a:gd name="connsiteY74" fmla="*/ 6863 h 10000"/>
                  <a:gd name="connsiteX75" fmla="*/ 7915 w 10000"/>
                  <a:gd name="connsiteY75" fmla="*/ 7021 h 10000"/>
                  <a:gd name="connsiteX76" fmla="*/ 7806 w 10000"/>
                  <a:gd name="connsiteY76" fmla="*/ 7021 h 10000"/>
                  <a:gd name="connsiteX77" fmla="*/ 7915 w 10000"/>
                  <a:gd name="connsiteY77" fmla="*/ 7311 h 10000"/>
                  <a:gd name="connsiteX78" fmla="*/ 7602 w 10000"/>
                  <a:gd name="connsiteY78" fmla="*/ 7470 h 10000"/>
                  <a:gd name="connsiteX79" fmla="*/ 7915 w 10000"/>
                  <a:gd name="connsiteY79" fmla="*/ 7470 h 10000"/>
                  <a:gd name="connsiteX80" fmla="*/ 7806 w 10000"/>
                  <a:gd name="connsiteY80" fmla="*/ 8058 h 10000"/>
                  <a:gd name="connsiteX81" fmla="*/ 7602 w 10000"/>
                  <a:gd name="connsiteY81" fmla="*/ 8366 h 10000"/>
                  <a:gd name="connsiteX82" fmla="*/ 7494 w 10000"/>
                  <a:gd name="connsiteY82" fmla="*/ 8366 h 10000"/>
                  <a:gd name="connsiteX83" fmla="*/ 7494 w 10000"/>
                  <a:gd name="connsiteY83" fmla="*/ 8655 h 10000"/>
                  <a:gd name="connsiteX84" fmla="*/ 7392 w 10000"/>
                  <a:gd name="connsiteY84" fmla="*/ 8954 h 10000"/>
                  <a:gd name="connsiteX85" fmla="*/ 7290 w 10000"/>
                  <a:gd name="connsiteY85" fmla="*/ 8954 h 10000"/>
                  <a:gd name="connsiteX86" fmla="*/ 7290 w 10000"/>
                  <a:gd name="connsiteY86" fmla="*/ 9104 h 10000"/>
                  <a:gd name="connsiteX87" fmla="*/ 6977 w 10000"/>
                  <a:gd name="connsiteY87" fmla="*/ 9402 h 10000"/>
                  <a:gd name="connsiteX88" fmla="*/ 6665 w 10000"/>
                  <a:gd name="connsiteY88" fmla="*/ 9402 h 10000"/>
                  <a:gd name="connsiteX89" fmla="*/ 6665 w 10000"/>
                  <a:gd name="connsiteY89" fmla="*/ 9552 h 10000"/>
                  <a:gd name="connsiteX90" fmla="*/ 6563 w 10000"/>
                  <a:gd name="connsiteY90" fmla="*/ 9402 h 10000"/>
                  <a:gd name="connsiteX91" fmla="*/ 6563 w 10000"/>
                  <a:gd name="connsiteY91" fmla="*/ 9552 h 10000"/>
                  <a:gd name="connsiteX92" fmla="*/ 6460 w 10000"/>
                  <a:gd name="connsiteY92" fmla="*/ 9552 h 10000"/>
                  <a:gd name="connsiteX93" fmla="*/ 6046 w 10000"/>
                  <a:gd name="connsiteY93" fmla="*/ 9851 h 10000"/>
                  <a:gd name="connsiteX94" fmla="*/ 5938 w 10000"/>
                  <a:gd name="connsiteY94" fmla="*/ 10000 h 10000"/>
                  <a:gd name="connsiteX95" fmla="*/ 5938 w 10000"/>
                  <a:gd name="connsiteY95" fmla="*/ 9711 h 10000"/>
                  <a:gd name="connsiteX96" fmla="*/ 5733 w 10000"/>
                  <a:gd name="connsiteY96" fmla="*/ 9711 h 10000"/>
                  <a:gd name="connsiteX97" fmla="*/ 5625 w 10000"/>
                  <a:gd name="connsiteY97" fmla="*/ 9711 h 10000"/>
                  <a:gd name="connsiteX98" fmla="*/ 5409 w 10000"/>
                  <a:gd name="connsiteY98" fmla="*/ 9711 h 10000"/>
                  <a:gd name="connsiteX99" fmla="*/ 5409 w 10000"/>
                  <a:gd name="connsiteY99" fmla="*/ 9402 h 10000"/>
                  <a:gd name="connsiteX100" fmla="*/ 5198 w 10000"/>
                  <a:gd name="connsiteY100" fmla="*/ 9402 h 10000"/>
                  <a:gd name="connsiteX101" fmla="*/ 4784 w 10000"/>
                  <a:gd name="connsiteY101" fmla="*/ 9552 h 10000"/>
                  <a:gd name="connsiteX102" fmla="*/ 4681 w 10000"/>
                  <a:gd name="connsiteY102" fmla="*/ 9402 h 10000"/>
                  <a:gd name="connsiteX103" fmla="*/ 4681 w 10000"/>
                  <a:gd name="connsiteY103" fmla="*/ 9552 h 10000"/>
                  <a:gd name="connsiteX104" fmla="*/ 4579 w 10000"/>
                  <a:gd name="connsiteY104" fmla="*/ 9552 h 10000"/>
                  <a:gd name="connsiteX105" fmla="*/ 4579 w 10000"/>
                  <a:gd name="connsiteY105" fmla="*/ 9851 h 10000"/>
                  <a:gd name="connsiteX106" fmla="*/ 4477 w 10000"/>
                  <a:gd name="connsiteY106" fmla="*/ 9851 h 10000"/>
                  <a:gd name="connsiteX107" fmla="*/ 4477 w 10000"/>
                  <a:gd name="connsiteY107" fmla="*/ 9711 h 10000"/>
                  <a:gd name="connsiteX108" fmla="*/ 4369 w 10000"/>
                  <a:gd name="connsiteY108" fmla="*/ 9711 h 10000"/>
                  <a:gd name="connsiteX109" fmla="*/ 4165 w 10000"/>
                  <a:gd name="connsiteY109" fmla="*/ 9552 h 10000"/>
                  <a:gd name="connsiteX110" fmla="*/ 4165 w 10000"/>
                  <a:gd name="connsiteY110" fmla="*/ 9402 h 10000"/>
                  <a:gd name="connsiteX111" fmla="*/ 4165 w 10000"/>
                  <a:gd name="connsiteY111" fmla="*/ 9262 h 10000"/>
                  <a:gd name="connsiteX112" fmla="*/ 4056 w 10000"/>
                  <a:gd name="connsiteY112" fmla="*/ 9104 h 10000"/>
                  <a:gd name="connsiteX113" fmla="*/ 3954 w 10000"/>
                  <a:gd name="connsiteY113" fmla="*/ 9104 h 10000"/>
                  <a:gd name="connsiteX114" fmla="*/ 4056 w 10000"/>
                  <a:gd name="connsiteY114" fmla="*/ 8366 h 10000"/>
                  <a:gd name="connsiteX115" fmla="*/ 3954 w 10000"/>
                  <a:gd name="connsiteY115" fmla="*/ 8058 h 10000"/>
                  <a:gd name="connsiteX116" fmla="*/ 3852 w 10000"/>
                  <a:gd name="connsiteY116" fmla="*/ 8058 h 10000"/>
                  <a:gd name="connsiteX117" fmla="*/ 3642 w 10000"/>
                  <a:gd name="connsiteY117" fmla="*/ 7759 h 10000"/>
                  <a:gd name="connsiteX118" fmla="*/ 3438 w 10000"/>
                  <a:gd name="connsiteY118" fmla="*/ 7759 h 10000"/>
                  <a:gd name="connsiteX119" fmla="*/ 2915 w 10000"/>
                  <a:gd name="connsiteY119" fmla="*/ 8058 h 10000"/>
                  <a:gd name="connsiteX120" fmla="*/ 2608 w 10000"/>
                  <a:gd name="connsiteY120" fmla="*/ 8058 h 10000"/>
                  <a:gd name="connsiteX121" fmla="*/ 2500 w 10000"/>
                  <a:gd name="connsiteY121" fmla="*/ 8207 h 10000"/>
                  <a:gd name="connsiteX122" fmla="*/ 2398 w 10000"/>
                  <a:gd name="connsiteY122" fmla="*/ 8058 h 10000"/>
                  <a:gd name="connsiteX123" fmla="*/ 2296 w 10000"/>
                  <a:gd name="connsiteY123" fmla="*/ 8058 h 10000"/>
                  <a:gd name="connsiteX124" fmla="*/ 1983 w 10000"/>
                  <a:gd name="connsiteY124" fmla="*/ 8058 h 10000"/>
                  <a:gd name="connsiteX125" fmla="*/ 1773 w 10000"/>
                  <a:gd name="connsiteY125" fmla="*/ 7918 h 10000"/>
                  <a:gd name="connsiteX126" fmla="*/ 1671 w 10000"/>
                  <a:gd name="connsiteY126" fmla="*/ 7759 h 10000"/>
                  <a:gd name="connsiteX127" fmla="*/ 1556 w 10000"/>
                  <a:gd name="connsiteY127" fmla="*/ 7759 h 10000"/>
                  <a:gd name="connsiteX128" fmla="*/ 1346 w 10000"/>
                  <a:gd name="connsiteY128" fmla="*/ 7470 h 10000"/>
                  <a:gd name="connsiteX129" fmla="*/ 1142 w 10000"/>
                  <a:gd name="connsiteY129" fmla="*/ 7470 h 10000"/>
                  <a:gd name="connsiteX130" fmla="*/ 829 w 10000"/>
                  <a:gd name="connsiteY130" fmla="*/ 7311 h 10000"/>
                  <a:gd name="connsiteX131" fmla="*/ 727 w 10000"/>
                  <a:gd name="connsiteY131" fmla="*/ 6863 h 10000"/>
                  <a:gd name="connsiteX132" fmla="*/ 931 w 10000"/>
                  <a:gd name="connsiteY132" fmla="*/ 6863 h 10000"/>
                  <a:gd name="connsiteX133" fmla="*/ 829 w 10000"/>
                  <a:gd name="connsiteY133" fmla="*/ 6573 h 10000"/>
                  <a:gd name="connsiteX134" fmla="*/ 1034 w 10000"/>
                  <a:gd name="connsiteY134" fmla="*/ 6265 h 10000"/>
                  <a:gd name="connsiteX135" fmla="*/ 1034 w 10000"/>
                  <a:gd name="connsiteY135" fmla="*/ 5966 h 10000"/>
                  <a:gd name="connsiteX136" fmla="*/ 931 w 10000"/>
                  <a:gd name="connsiteY136" fmla="*/ 5817 h 10000"/>
                  <a:gd name="connsiteX137" fmla="*/ 619 w 10000"/>
                  <a:gd name="connsiteY137" fmla="*/ 5966 h 10000"/>
                  <a:gd name="connsiteX138" fmla="*/ 936 w 10000"/>
                  <a:gd name="connsiteY138" fmla="*/ 5821 h 10000"/>
                  <a:gd name="connsiteX139" fmla="*/ 444 w 10000"/>
                  <a:gd name="connsiteY139" fmla="*/ 5373 h 10000"/>
                  <a:gd name="connsiteX140" fmla="*/ 102 w 10000"/>
                  <a:gd name="connsiteY140" fmla="*/ 5518 h 10000"/>
                  <a:gd name="connsiteX141" fmla="*/ 216 w 10000"/>
                  <a:gd name="connsiteY141" fmla="*/ 5243 h 10000"/>
                  <a:gd name="connsiteX142" fmla="*/ 204 w 10000"/>
                  <a:gd name="connsiteY142" fmla="*/ 5070 h 10000"/>
                  <a:gd name="connsiteX143" fmla="*/ 0 w 10000"/>
                  <a:gd name="connsiteY143" fmla="*/ 5070 h 10000"/>
                  <a:gd name="connsiteX144" fmla="*/ 0 w 10000"/>
                  <a:gd name="connsiteY144" fmla="*/ 4622 h 10000"/>
                  <a:gd name="connsiteX145" fmla="*/ 204 w 10000"/>
                  <a:gd name="connsiteY145" fmla="*/ 4482 h 10000"/>
                  <a:gd name="connsiteX146" fmla="*/ 415 w 10000"/>
                  <a:gd name="connsiteY146" fmla="*/ 4482 h 10000"/>
                  <a:gd name="connsiteX147" fmla="*/ 517 w 10000"/>
                  <a:gd name="connsiteY147" fmla="*/ 4332 h 10000"/>
                  <a:gd name="connsiteX148" fmla="*/ 727 w 10000"/>
                  <a:gd name="connsiteY148" fmla="*/ 4332 h 10000"/>
                  <a:gd name="connsiteX149" fmla="*/ 1034 w 10000"/>
                  <a:gd name="connsiteY149" fmla="*/ 4034 h 10000"/>
                  <a:gd name="connsiteX150" fmla="*/ 1142 w 10000"/>
                  <a:gd name="connsiteY150" fmla="*/ 3725 h 10000"/>
                  <a:gd name="connsiteX151" fmla="*/ 1034 w 10000"/>
                  <a:gd name="connsiteY151" fmla="*/ 3137 h 10000"/>
                  <a:gd name="connsiteX152" fmla="*/ 1034 w 10000"/>
                  <a:gd name="connsiteY152" fmla="*/ 2988 h 10000"/>
                  <a:gd name="connsiteX153" fmla="*/ 1346 w 10000"/>
                  <a:gd name="connsiteY153" fmla="*/ 2988 h 10000"/>
                  <a:gd name="connsiteX154" fmla="*/ 1454 w 10000"/>
                  <a:gd name="connsiteY154" fmla="*/ 2381 h 10000"/>
                  <a:gd name="connsiteX155" fmla="*/ 1773 w 10000"/>
                  <a:gd name="connsiteY155" fmla="*/ 2381 h 10000"/>
                  <a:gd name="connsiteX156" fmla="*/ 1881 w 10000"/>
                  <a:gd name="connsiteY156" fmla="*/ 2381 h 10000"/>
                  <a:gd name="connsiteX157" fmla="*/ 1983 w 10000"/>
                  <a:gd name="connsiteY157" fmla="*/ 1933 h 10000"/>
                  <a:gd name="connsiteX158" fmla="*/ 2085 w 10000"/>
                  <a:gd name="connsiteY158" fmla="*/ 1793 h 10000"/>
                  <a:gd name="connsiteX0" fmla="*/ 2085 w 10000"/>
                  <a:gd name="connsiteY0" fmla="*/ 1793 h 10000"/>
                  <a:gd name="connsiteX1" fmla="*/ 2085 w 10000"/>
                  <a:gd name="connsiteY1" fmla="*/ 1793 h 10000"/>
                  <a:gd name="connsiteX2" fmla="*/ 2296 w 10000"/>
                  <a:gd name="connsiteY2" fmla="*/ 1643 h 10000"/>
                  <a:gd name="connsiteX3" fmla="*/ 2500 w 10000"/>
                  <a:gd name="connsiteY3" fmla="*/ 2092 h 10000"/>
                  <a:gd name="connsiteX4" fmla="*/ 2710 w 10000"/>
                  <a:gd name="connsiteY4" fmla="*/ 2092 h 10000"/>
                  <a:gd name="connsiteX5" fmla="*/ 2813 w 10000"/>
                  <a:gd name="connsiteY5" fmla="*/ 2381 h 10000"/>
                  <a:gd name="connsiteX6" fmla="*/ 2813 w 10000"/>
                  <a:gd name="connsiteY6" fmla="*/ 2988 h 10000"/>
                  <a:gd name="connsiteX7" fmla="*/ 3438 w 10000"/>
                  <a:gd name="connsiteY7" fmla="*/ 3277 h 10000"/>
                  <a:gd name="connsiteX8" fmla="*/ 3750 w 10000"/>
                  <a:gd name="connsiteY8" fmla="*/ 3725 h 10000"/>
                  <a:gd name="connsiteX9" fmla="*/ 4369 w 10000"/>
                  <a:gd name="connsiteY9" fmla="*/ 3725 h 10000"/>
                  <a:gd name="connsiteX10" fmla="*/ 4681 w 10000"/>
                  <a:gd name="connsiteY10" fmla="*/ 4034 h 10000"/>
                  <a:gd name="connsiteX11" fmla="*/ 5096 w 10000"/>
                  <a:gd name="connsiteY11" fmla="*/ 4174 h 10000"/>
                  <a:gd name="connsiteX12" fmla="*/ 5523 w 10000"/>
                  <a:gd name="connsiteY12" fmla="*/ 3884 h 10000"/>
                  <a:gd name="connsiteX13" fmla="*/ 5938 w 10000"/>
                  <a:gd name="connsiteY13" fmla="*/ 3884 h 10000"/>
                  <a:gd name="connsiteX14" fmla="*/ 6250 w 10000"/>
                  <a:gd name="connsiteY14" fmla="*/ 3436 h 10000"/>
                  <a:gd name="connsiteX15" fmla="*/ 6148 w 10000"/>
                  <a:gd name="connsiteY15" fmla="*/ 3277 h 10000"/>
                  <a:gd name="connsiteX16" fmla="*/ 6352 w 10000"/>
                  <a:gd name="connsiteY16" fmla="*/ 2988 h 10000"/>
                  <a:gd name="connsiteX17" fmla="*/ 6563 w 10000"/>
                  <a:gd name="connsiteY17" fmla="*/ 3137 h 10000"/>
                  <a:gd name="connsiteX18" fmla="*/ 6875 w 10000"/>
                  <a:gd name="connsiteY18" fmla="*/ 2829 h 10000"/>
                  <a:gd name="connsiteX19" fmla="*/ 7079 w 10000"/>
                  <a:gd name="connsiteY19" fmla="*/ 2540 h 10000"/>
                  <a:gd name="connsiteX20" fmla="*/ 7494 w 10000"/>
                  <a:gd name="connsiteY20" fmla="*/ 2540 h 10000"/>
                  <a:gd name="connsiteX21" fmla="*/ 7392 w 10000"/>
                  <a:gd name="connsiteY21" fmla="*/ 2241 h 10000"/>
                  <a:gd name="connsiteX22" fmla="*/ 7290 w 10000"/>
                  <a:gd name="connsiteY22" fmla="*/ 2092 h 10000"/>
                  <a:gd name="connsiteX23" fmla="*/ 7079 w 10000"/>
                  <a:gd name="connsiteY23" fmla="*/ 2241 h 10000"/>
                  <a:gd name="connsiteX24" fmla="*/ 6875 w 10000"/>
                  <a:gd name="connsiteY24" fmla="*/ 2241 h 10000"/>
                  <a:gd name="connsiteX25" fmla="*/ 6875 w 10000"/>
                  <a:gd name="connsiteY25" fmla="*/ 1643 h 10000"/>
                  <a:gd name="connsiteX26" fmla="*/ 6977 w 10000"/>
                  <a:gd name="connsiteY26" fmla="*/ 1345 h 10000"/>
                  <a:gd name="connsiteX27" fmla="*/ 7188 w 10000"/>
                  <a:gd name="connsiteY27" fmla="*/ 1485 h 10000"/>
                  <a:gd name="connsiteX28" fmla="*/ 7494 w 10000"/>
                  <a:gd name="connsiteY28" fmla="*/ 1345 h 10000"/>
                  <a:gd name="connsiteX29" fmla="*/ 7602 w 10000"/>
                  <a:gd name="connsiteY29" fmla="*/ 747 h 10000"/>
                  <a:gd name="connsiteX30" fmla="*/ 7704 w 10000"/>
                  <a:gd name="connsiteY30" fmla="*/ 588 h 10000"/>
                  <a:gd name="connsiteX31" fmla="*/ 7704 w 10000"/>
                  <a:gd name="connsiteY31" fmla="*/ 448 h 10000"/>
                  <a:gd name="connsiteX32" fmla="*/ 7602 w 10000"/>
                  <a:gd name="connsiteY32" fmla="*/ 448 h 10000"/>
                  <a:gd name="connsiteX33" fmla="*/ 7704 w 10000"/>
                  <a:gd name="connsiteY33" fmla="*/ 140 h 10000"/>
                  <a:gd name="connsiteX34" fmla="*/ 8119 w 10000"/>
                  <a:gd name="connsiteY34" fmla="*/ 0 h 10000"/>
                  <a:gd name="connsiteX35" fmla="*/ 8431 w 10000"/>
                  <a:gd name="connsiteY35" fmla="*/ 140 h 10000"/>
                  <a:gd name="connsiteX36" fmla="*/ 8642 w 10000"/>
                  <a:gd name="connsiteY36" fmla="*/ 448 h 10000"/>
                  <a:gd name="connsiteX37" fmla="*/ 8846 w 10000"/>
                  <a:gd name="connsiteY37" fmla="*/ 1485 h 10000"/>
                  <a:gd name="connsiteX38" fmla="*/ 9056 w 10000"/>
                  <a:gd name="connsiteY38" fmla="*/ 1485 h 10000"/>
                  <a:gd name="connsiteX39" fmla="*/ 9363 w 10000"/>
                  <a:gd name="connsiteY39" fmla="*/ 1793 h 10000"/>
                  <a:gd name="connsiteX40" fmla="*/ 9363 w 10000"/>
                  <a:gd name="connsiteY40" fmla="*/ 2092 h 10000"/>
                  <a:gd name="connsiteX41" fmla="*/ 9585 w 10000"/>
                  <a:gd name="connsiteY41" fmla="*/ 2092 h 10000"/>
                  <a:gd name="connsiteX42" fmla="*/ 10000 w 10000"/>
                  <a:gd name="connsiteY42" fmla="*/ 1933 h 10000"/>
                  <a:gd name="connsiteX43" fmla="*/ 10000 w 10000"/>
                  <a:gd name="connsiteY43" fmla="*/ 2241 h 10000"/>
                  <a:gd name="connsiteX44" fmla="*/ 9688 w 10000"/>
                  <a:gd name="connsiteY44" fmla="*/ 3137 h 10000"/>
                  <a:gd name="connsiteX45" fmla="*/ 9585 w 10000"/>
                  <a:gd name="connsiteY45" fmla="*/ 2988 h 10000"/>
                  <a:gd name="connsiteX46" fmla="*/ 9363 w 10000"/>
                  <a:gd name="connsiteY46" fmla="*/ 3137 h 10000"/>
                  <a:gd name="connsiteX47" fmla="*/ 9483 w 10000"/>
                  <a:gd name="connsiteY47" fmla="*/ 3585 h 10000"/>
                  <a:gd name="connsiteX48" fmla="*/ 9363 w 10000"/>
                  <a:gd name="connsiteY48" fmla="*/ 3884 h 10000"/>
                  <a:gd name="connsiteX49" fmla="*/ 9261 w 10000"/>
                  <a:gd name="connsiteY49" fmla="*/ 3884 h 10000"/>
                  <a:gd name="connsiteX50" fmla="*/ 9056 w 10000"/>
                  <a:gd name="connsiteY50" fmla="*/ 4034 h 10000"/>
                  <a:gd name="connsiteX51" fmla="*/ 8948 w 10000"/>
                  <a:gd name="connsiteY51" fmla="*/ 4034 h 10000"/>
                  <a:gd name="connsiteX52" fmla="*/ 8846 w 10000"/>
                  <a:gd name="connsiteY52" fmla="*/ 4174 h 10000"/>
                  <a:gd name="connsiteX53" fmla="*/ 8744 w 10000"/>
                  <a:gd name="connsiteY53" fmla="*/ 4174 h 10000"/>
                  <a:gd name="connsiteX54" fmla="*/ 8329 w 10000"/>
                  <a:gd name="connsiteY54" fmla="*/ 4622 h 10000"/>
                  <a:gd name="connsiteX55" fmla="*/ 8329 w 10000"/>
                  <a:gd name="connsiteY55" fmla="*/ 4781 h 10000"/>
                  <a:gd name="connsiteX56" fmla="*/ 8119 w 10000"/>
                  <a:gd name="connsiteY56" fmla="*/ 4781 h 10000"/>
                  <a:gd name="connsiteX57" fmla="*/ 7806 w 10000"/>
                  <a:gd name="connsiteY57" fmla="*/ 5070 h 10000"/>
                  <a:gd name="connsiteX58" fmla="*/ 7806 w 10000"/>
                  <a:gd name="connsiteY58" fmla="*/ 4930 h 10000"/>
                  <a:gd name="connsiteX59" fmla="*/ 7806 w 10000"/>
                  <a:gd name="connsiteY59" fmla="*/ 4781 h 10000"/>
                  <a:gd name="connsiteX60" fmla="*/ 7915 w 10000"/>
                  <a:gd name="connsiteY60" fmla="*/ 4482 h 10000"/>
                  <a:gd name="connsiteX61" fmla="*/ 7806 w 10000"/>
                  <a:gd name="connsiteY61" fmla="*/ 4332 h 10000"/>
                  <a:gd name="connsiteX62" fmla="*/ 7494 w 10000"/>
                  <a:gd name="connsiteY62" fmla="*/ 4781 h 10000"/>
                  <a:gd name="connsiteX63" fmla="*/ 7392 w 10000"/>
                  <a:gd name="connsiteY63" fmla="*/ 4930 h 10000"/>
                  <a:gd name="connsiteX64" fmla="*/ 7290 w 10000"/>
                  <a:gd name="connsiteY64" fmla="*/ 4930 h 10000"/>
                  <a:gd name="connsiteX65" fmla="*/ 7188 w 10000"/>
                  <a:gd name="connsiteY65" fmla="*/ 5070 h 10000"/>
                  <a:gd name="connsiteX66" fmla="*/ 7494 w 10000"/>
                  <a:gd name="connsiteY66" fmla="*/ 5518 h 10000"/>
                  <a:gd name="connsiteX67" fmla="*/ 7704 w 10000"/>
                  <a:gd name="connsiteY67" fmla="*/ 5369 h 10000"/>
                  <a:gd name="connsiteX68" fmla="*/ 8017 w 10000"/>
                  <a:gd name="connsiteY68" fmla="*/ 5518 h 10000"/>
                  <a:gd name="connsiteX69" fmla="*/ 8017 w 10000"/>
                  <a:gd name="connsiteY69" fmla="*/ 5677 h 10000"/>
                  <a:gd name="connsiteX70" fmla="*/ 7915 w 10000"/>
                  <a:gd name="connsiteY70" fmla="*/ 5518 h 10000"/>
                  <a:gd name="connsiteX71" fmla="*/ 7704 w 10000"/>
                  <a:gd name="connsiteY71" fmla="*/ 5677 h 10000"/>
                  <a:gd name="connsiteX72" fmla="*/ 7494 w 10000"/>
                  <a:gd name="connsiteY72" fmla="*/ 6125 h 10000"/>
                  <a:gd name="connsiteX73" fmla="*/ 7602 w 10000"/>
                  <a:gd name="connsiteY73" fmla="*/ 6265 h 10000"/>
                  <a:gd name="connsiteX74" fmla="*/ 7704 w 10000"/>
                  <a:gd name="connsiteY74" fmla="*/ 6863 h 10000"/>
                  <a:gd name="connsiteX75" fmla="*/ 7915 w 10000"/>
                  <a:gd name="connsiteY75" fmla="*/ 7021 h 10000"/>
                  <a:gd name="connsiteX76" fmla="*/ 7806 w 10000"/>
                  <a:gd name="connsiteY76" fmla="*/ 7021 h 10000"/>
                  <a:gd name="connsiteX77" fmla="*/ 7915 w 10000"/>
                  <a:gd name="connsiteY77" fmla="*/ 7311 h 10000"/>
                  <a:gd name="connsiteX78" fmla="*/ 7602 w 10000"/>
                  <a:gd name="connsiteY78" fmla="*/ 7470 h 10000"/>
                  <a:gd name="connsiteX79" fmla="*/ 7915 w 10000"/>
                  <a:gd name="connsiteY79" fmla="*/ 7470 h 10000"/>
                  <a:gd name="connsiteX80" fmla="*/ 7806 w 10000"/>
                  <a:gd name="connsiteY80" fmla="*/ 8058 h 10000"/>
                  <a:gd name="connsiteX81" fmla="*/ 7602 w 10000"/>
                  <a:gd name="connsiteY81" fmla="*/ 8366 h 10000"/>
                  <a:gd name="connsiteX82" fmla="*/ 7494 w 10000"/>
                  <a:gd name="connsiteY82" fmla="*/ 8366 h 10000"/>
                  <a:gd name="connsiteX83" fmla="*/ 7494 w 10000"/>
                  <a:gd name="connsiteY83" fmla="*/ 8655 h 10000"/>
                  <a:gd name="connsiteX84" fmla="*/ 7392 w 10000"/>
                  <a:gd name="connsiteY84" fmla="*/ 8954 h 10000"/>
                  <a:gd name="connsiteX85" fmla="*/ 7290 w 10000"/>
                  <a:gd name="connsiteY85" fmla="*/ 8954 h 10000"/>
                  <a:gd name="connsiteX86" fmla="*/ 7290 w 10000"/>
                  <a:gd name="connsiteY86" fmla="*/ 9104 h 10000"/>
                  <a:gd name="connsiteX87" fmla="*/ 6977 w 10000"/>
                  <a:gd name="connsiteY87" fmla="*/ 9402 h 10000"/>
                  <a:gd name="connsiteX88" fmla="*/ 6665 w 10000"/>
                  <a:gd name="connsiteY88" fmla="*/ 9402 h 10000"/>
                  <a:gd name="connsiteX89" fmla="*/ 6665 w 10000"/>
                  <a:gd name="connsiteY89" fmla="*/ 9552 h 10000"/>
                  <a:gd name="connsiteX90" fmla="*/ 6563 w 10000"/>
                  <a:gd name="connsiteY90" fmla="*/ 9402 h 10000"/>
                  <a:gd name="connsiteX91" fmla="*/ 6563 w 10000"/>
                  <a:gd name="connsiteY91" fmla="*/ 9552 h 10000"/>
                  <a:gd name="connsiteX92" fmla="*/ 6460 w 10000"/>
                  <a:gd name="connsiteY92" fmla="*/ 9552 h 10000"/>
                  <a:gd name="connsiteX93" fmla="*/ 6046 w 10000"/>
                  <a:gd name="connsiteY93" fmla="*/ 9851 h 10000"/>
                  <a:gd name="connsiteX94" fmla="*/ 5938 w 10000"/>
                  <a:gd name="connsiteY94" fmla="*/ 10000 h 10000"/>
                  <a:gd name="connsiteX95" fmla="*/ 5938 w 10000"/>
                  <a:gd name="connsiteY95" fmla="*/ 9711 h 10000"/>
                  <a:gd name="connsiteX96" fmla="*/ 5733 w 10000"/>
                  <a:gd name="connsiteY96" fmla="*/ 9711 h 10000"/>
                  <a:gd name="connsiteX97" fmla="*/ 5625 w 10000"/>
                  <a:gd name="connsiteY97" fmla="*/ 9711 h 10000"/>
                  <a:gd name="connsiteX98" fmla="*/ 5409 w 10000"/>
                  <a:gd name="connsiteY98" fmla="*/ 9711 h 10000"/>
                  <a:gd name="connsiteX99" fmla="*/ 5409 w 10000"/>
                  <a:gd name="connsiteY99" fmla="*/ 9402 h 10000"/>
                  <a:gd name="connsiteX100" fmla="*/ 5198 w 10000"/>
                  <a:gd name="connsiteY100" fmla="*/ 9402 h 10000"/>
                  <a:gd name="connsiteX101" fmla="*/ 4784 w 10000"/>
                  <a:gd name="connsiteY101" fmla="*/ 9552 h 10000"/>
                  <a:gd name="connsiteX102" fmla="*/ 4681 w 10000"/>
                  <a:gd name="connsiteY102" fmla="*/ 9402 h 10000"/>
                  <a:gd name="connsiteX103" fmla="*/ 4681 w 10000"/>
                  <a:gd name="connsiteY103" fmla="*/ 9552 h 10000"/>
                  <a:gd name="connsiteX104" fmla="*/ 4579 w 10000"/>
                  <a:gd name="connsiteY104" fmla="*/ 9552 h 10000"/>
                  <a:gd name="connsiteX105" fmla="*/ 4579 w 10000"/>
                  <a:gd name="connsiteY105" fmla="*/ 9851 h 10000"/>
                  <a:gd name="connsiteX106" fmla="*/ 4477 w 10000"/>
                  <a:gd name="connsiteY106" fmla="*/ 9851 h 10000"/>
                  <a:gd name="connsiteX107" fmla="*/ 4477 w 10000"/>
                  <a:gd name="connsiteY107" fmla="*/ 9711 h 10000"/>
                  <a:gd name="connsiteX108" fmla="*/ 4369 w 10000"/>
                  <a:gd name="connsiteY108" fmla="*/ 9711 h 10000"/>
                  <a:gd name="connsiteX109" fmla="*/ 4165 w 10000"/>
                  <a:gd name="connsiteY109" fmla="*/ 9552 h 10000"/>
                  <a:gd name="connsiteX110" fmla="*/ 4165 w 10000"/>
                  <a:gd name="connsiteY110" fmla="*/ 9402 h 10000"/>
                  <a:gd name="connsiteX111" fmla="*/ 4165 w 10000"/>
                  <a:gd name="connsiteY111" fmla="*/ 9262 h 10000"/>
                  <a:gd name="connsiteX112" fmla="*/ 4056 w 10000"/>
                  <a:gd name="connsiteY112" fmla="*/ 9104 h 10000"/>
                  <a:gd name="connsiteX113" fmla="*/ 3954 w 10000"/>
                  <a:gd name="connsiteY113" fmla="*/ 9104 h 10000"/>
                  <a:gd name="connsiteX114" fmla="*/ 4056 w 10000"/>
                  <a:gd name="connsiteY114" fmla="*/ 8366 h 10000"/>
                  <a:gd name="connsiteX115" fmla="*/ 3954 w 10000"/>
                  <a:gd name="connsiteY115" fmla="*/ 8058 h 10000"/>
                  <a:gd name="connsiteX116" fmla="*/ 3852 w 10000"/>
                  <a:gd name="connsiteY116" fmla="*/ 8058 h 10000"/>
                  <a:gd name="connsiteX117" fmla="*/ 3642 w 10000"/>
                  <a:gd name="connsiteY117" fmla="*/ 7759 h 10000"/>
                  <a:gd name="connsiteX118" fmla="*/ 3438 w 10000"/>
                  <a:gd name="connsiteY118" fmla="*/ 7759 h 10000"/>
                  <a:gd name="connsiteX119" fmla="*/ 2915 w 10000"/>
                  <a:gd name="connsiteY119" fmla="*/ 8058 h 10000"/>
                  <a:gd name="connsiteX120" fmla="*/ 2608 w 10000"/>
                  <a:gd name="connsiteY120" fmla="*/ 8058 h 10000"/>
                  <a:gd name="connsiteX121" fmla="*/ 2500 w 10000"/>
                  <a:gd name="connsiteY121" fmla="*/ 8207 h 10000"/>
                  <a:gd name="connsiteX122" fmla="*/ 2398 w 10000"/>
                  <a:gd name="connsiteY122" fmla="*/ 8058 h 10000"/>
                  <a:gd name="connsiteX123" fmla="*/ 2296 w 10000"/>
                  <a:gd name="connsiteY123" fmla="*/ 8058 h 10000"/>
                  <a:gd name="connsiteX124" fmla="*/ 1983 w 10000"/>
                  <a:gd name="connsiteY124" fmla="*/ 8058 h 10000"/>
                  <a:gd name="connsiteX125" fmla="*/ 1773 w 10000"/>
                  <a:gd name="connsiteY125" fmla="*/ 7918 h 10000"/>
                  <a:gd name="connsiteX126" fmla="*/ 1671 w 10000"/>
                  <a:gd name="connsiteY126" fmla="*/ 7759 h 10000"/>
                  <a:gd name="connsiteX127" fmla="*/ 1556 w 10000"/>
                  <a:gd name="connsiteY127" fmla="*/ 7759 h 10000"/>
                  <a:gd name="connsiteX128" fmla="*/ 1346 w 10000"/>
                  <a:gd name="connsiteY128" fmla="*/ 7470 h 10000"/>
                  <a:gd name="connsiteX129" fmla="*/ 1142 w 10000"/>
                  <a:gd name="connsiteY129" fmla="*/ 7470 h 10000"/>
                  <a:gd name="connsiteX130" fmla="*/ 829 w 10000"/>
                  <a:gd name="connsiteY130" fmla="*/ 7311 h 10000"/>
                  <a:gd name="connsiteX131" fmla="*/ 727 w 10000"/>
                  <a:gd name="connsiteY131" fmla="*/ 6863 h 10000"/>
                  <a:gd name="connsiteX132" fmla="*/ 931 w 10000"/>
                  <a:gd name="connsiteY132" fmla="*/ 6863 h 10000"/>
                  <a:gd name="connsiteX133" fmla="*/ 829 w 10000"/>
                  <a:gd name="connsiteY133" fmla="*/ 6573 h 10000"/>
                  <a:gd name="connsiteX134" fmla="*/ 1034 w 10000"/>
                  <a:gd name="connsiteY134" fmla="*/ 6265 h 10000"/>
                  <a:gd name="connsiteX135" fmla="*/ 1034 w 10000"/>
                  <a:gd name="connsiteY135" fmla="*/ 5966 h 10000"/>
                  <a:gd name="connsiteX136" fmla="*/ 931 w 10000"/>
                  <a:gd name="connsiteY136" fmla="*/ 5817 h 10000"/>
                  <a:gd name="connsiteX137" fmla="*/ 619 w 10000"/>
                  <a:gd name="connsiteY137" fmla="*/ 5966 h 10000"/>
                  <a:gd name="connsiteX138" fmla="*/ 444 w 10000"/>
                  <a:gd name="connsiteY138" fmla="*/ 5373 h 10000"/>
                  <a:gd name="connsiteX139" fmla="*/ 102 w 10000"/>
                  <a:gd name="connsiteY139" fmla="*/ 5518 h 10000"/>
                  <a:gd name="connsiteX140" fmla="*/ 216 w 10000"/>
                  <a:gd name="connsiteY140" fmla="*/ 5243 h 10000"/>
                  <a:gd name="connsiteX141" fmla="*/ 204 w 10000"/>
                  <a:gd name="connsiteY141" fmla="*/ 5070 h 10000"/>
                  <a:gd name="connsiteX142" fmla="*/ 0 w 10000"/>
                  <a:gd name="connsiteY142" fmla="*/ 5070 h 10000"/>
                  <a:gd name="connsiteX143" fmla="*/ 0 w 10000"/>
                  <a:gd name="connsiteY143" fmla="*/ 4622 h 10000"/>
                  <a:gd name="connsiteX144" fmla="*/ 204 w 10000"/>
                  <a:gd name="connsiteY144" fmla="*/ 4482 h 10000"/>
                  <a:gd name="connsiteX145" fmla="*/ 415 w 10000"/>
                  <a:gd name="connsiteY145" fmla="*/ 4482 h 10000"/>
                  <a:gd name="connsiteX146" fmla="*/ 517 w 10000"/>
                  <a:gd name="connsiteY146" fmla="*/ 4332 h 10000"/>
                  <a:gd name="connsiteX147" fmla="*/ 727 w 10000"/>
                  <a:gd name="connsiteY147" fmla="*/ 4332 h 10000"/>
                  <a:gd name="connsiteX148" fmla="*/ 1034 w 10000"/>
                  <a:gd name="connsiteY148" fmla="*/ 4034 h 10000"/>
                  <a:gd name="connsiteX149" fmla="*/ 1142 w 10000"/>
                  <a:gd name="connsiteY149" fmla="*/ 3725 h 10000"/>
                  <a:gd name="connsiteX150" fmla="*/ 1034 w 10000"/>
                  <a:gd name="connsiteY150" fmla="*/ 3137 h 10000"/>
                  <a:gd name="connsiteX151" fmla="*/ 1034 w 10000"/>
                  <a:gd name="connsiteY151" fmla="*/ 2988 h 10000"/>
                  <a:gd name="connsiteX152" fmla="*/ 1346 w 10000"/>
                  <a:gd name="connsiteY152" fmla="*/ 2988 h 10000"/>
                  <a:gd name="connsiteX153" fmla="*/ 1454 w 10000"/>
                  <a:gd name="connsiteY153" fmla="*/ 2381 h 10000"/>
                  <a:gd name="connsiteX154" fmla="*/ 1773 w 10000"/>
                  <a:gd name="connsiteY154" fmla="*/ 2381 h 10000"/>
                  <a:gd name="connsiteX155" fmla="*/ 1881 w 10000"/>
                  <a:gd name="connsiteY155" fmla="*/ 2381 h 10000"/>
                  <a:gd name="connsiteX156" fmla="*/ 1983 w 10000"/>
                  <a:gd name="connsiteY156" fmla="*/ 1933 h 10000"/>
                  <a:gd name="connsiteX157" fmla="*/ 2085 w 10000"/>
                  <a:gd name="connsiteY157" fmla="*/ 1793 h 10000"/>
                  <a:gd name="connsiteX0" fmla="*/ 2085 w 10000"/>
                  <a:gd name="connsiteY0" fmla="*/ 1793 h 10000"/>
                  <a:gd name="connsiteX1" fmla="*/ 2085 w 10000"/>
                  <a:gd name="connsiteY1" fmla="*/ 1793 h 10000"/>
                  <a:gd name="connsiteX2" fmla="*/ 2296 w 10000"/>
                  <a:gd name="connsiteY2" fmla="*/ 1643 h 10000"/>
                  <a:gd name="connsiteX3" fmla="*/ 2500 w 10000"/>
                  <a:gd name="connsiteY3" fmla="*/ 2092 h 10000"/>
                  <a:gd name="connsiteX4" fmla="*/ 2710 w 10000"/>
                  <a:gd name="connsiteY4" fmla="*/ 2092 h 10000"/>
                  <a:gd name="connsiteX5" fmla="*/ 2813 w 10000"/>
                  <a:gd name="connsiteY5" fmla="*/ 2381 h 10000"/>
                  <a:gd name="connsiteX6" fmla="*/ 2813 w 10000"/>
                  <a:gd name="connsiteY6" fmla="*/ 2988 h 10000"/>
                  <a:gd name="connsiteX7" fmla="*/ 3438 w 10000"/>
                  <a:gd name="connsiteY7" fmla="*/ 3277 h 10000"/>
                  <a:gd name="connsiteX8" fmla="*/ 3750 w 10000"/>
                  <a:gd name="connsiteY8" fmla="*/ 3725 h 10000"/>
                  <a:gd name="connsiteX9" fmla="*/ 4369 w 10000"/>
                  <a:gd name="connsiteY9" fmla="*/ 3725 h 10000"/>
                  <a:gd name="connsiteX10" fmla="*/ 4681 w 10000"/>
                  <a:gd name="connsiteY10" fmla="*/ 4034 h 10000"/>
                  <a:gd name="connsiteX11" fmla="*/ 5096 w 10000"/>
                  <a:gd name="connsiteY11" fmla="*/ 4174 h 10000"/>
                  <a:gd name="connsiteX12" fmla="*/ 5523 w 10000"/>
                  <a:gd name="connsiteY12" fmla="*/ 3884 h 10000"/>
                  <a:gd name="connsiteX13" fmla="*/ 5938 w 10000"/>
                  <a:gd name="connsiteY13" fmla="*/ 3884 h 10000"/>
                  <a:gd name="connsiteX14" fmla="*/ 6250 w 10000"/>
                  <a:gd name="connsiteY14" fmla="*/ 3436 h 10000"/>
                  <a:gd name="connsiteX15" fmla="*/ 6148 w 10000"/>
                  <a:gd name="connsiteY15" fmla="*/ 3277 h 10000"/>
                  <a:gd name="connsiteX16" fmla="*/ 6352 w 10000"/>
                  <a:gd name="connsiteY16" fmla="*/ 2988 h 10000"/>
                  <a:gd name="connsiteX17" fmla="*/ 6563 w 10000"/>
                  <a:gd name="connsiteY17" fmla="*/ 3137 h 10000"/>
                  <a:gd name="connsiteX18" fmla="*/ 6875 w 10000"/>
                  <a:gd name="connsiteY18" fmla="*/ 2829 h 10000"/>
                  <a:gd name="connsiteX19" fmla="*/ 7079 w 10000"/>
                  <a:gd name="connsiteY19" fmla="*/ 2540 h 10000"/>
                  <a:gd name="connsiteX20" fmla="*/ 7494 w 10000"/>
                  <a:gd name="connsiteY20" fmla="*/ 2540 h 10000"/>
                  <a:gd name="connsiteX21" fmla="*/ 7392 w 10000"/>
                  <a:gd name="connsiteY21" fmla="*/ 2241 h 10000"/>
                  <a:gd name="connsiteX22" fmla="*/ 7290 w 10000"/>
                  <a:gd name="connsiteY22" fmla="*/ 2092 h 10000"/>
                  <a:gd name="connsiteX23" fmla="*/ 7079 w 10000"/>
                  <a:gd name="connsiteY23" fmla="*/ 2241 h 10000"/>
                  <a:gd name="connsiteX24" fmla="*/ 6875 w 10000"/>
                  <a:gd name="connsiteY24" fmla="*/ 2241 h 10000"/>
                  <a:gd name="connsiteX25" fmla="*/ 6875 w 10000"/>
                  <a:gd name="connsiteY25" fmla="*/ 1643 h 10000"/>
                  <a:gd name="connsiteX26" fmla="*/ 6977 w 10000"/>
                  <a:gd name="connsiteY26" fmla="*/ 1345 h 10000"/>
                  <a:gd name="connsiteX27" fmla="*/ 7188 w 10000"/>
                  <a:gd name="connsiteY27" fmla="*/ 1485 h 10000"/>
                  <a:gd name="connsiteX28" fmla="*/ 7494 w 10000"/>
                  <a:gd name="connsiteY28" fmla="*/ 1345 h 10000"/>
                  <a:gd name="connsiteX29" fmla="*/ 7602 w 10000"/>
                  <a:gd name="connsiteY29" fmla="*/ 747 h 10000"/>
                  <a:gd name="connsiteX30" fmla="*/ 7704 w 10000"/>
                  <a:gd name="connsiteY30" fmla="*/ 588 h 10000"/>
                  <a:gd name="connsiteX31" fmla="*/ 7704 w 10000"/>
                  <a:gd name="connsiteY31" fmla="*/ 448 h 10000"/>
                  <a:gd name="connsiteX32" fmla="*/ 7602 w 10000"/>
                  <a:gd name="connsiteY32" fmla="*/ 448 h 10000"/>
                  <a:gd name="connsiteX33" fmla="*/ 7704 w 10000"/>
                  <a:gd name="connsiteY33" fmla="*/ 140 h 10000"/>
                  <a:gd name="connsiteX34" fmla="*/ 8119 w 10000"/>
                  <a:gd name="connsiteY34" fmla="*/ 0 h 10000"/>
                  <a:gd name="connsiteX35" fmla="*/ 8431 w 10000"/>
                  <a:gd name="connsiteY35" fmla="*/ 140 h 10000"/>
                  <a:gd name="connsiteX36" fmla="*/ 8642 w 10000"/>
                  <a:gd name="connsiteY36" fmla="*/ 448 h 10000"/>
                  <a:gd name="connsiteX37" fmla="*/ 8846 w 10000"/>
                  <a:gd name="connsiteY37" fmla="*/ 1485 h 10000"/>
                  <a:gd name="connsiteX38" fmla="*/ 9056 w 10000"/>
                  <a:gd name="connsiteY38" fmla="*/ 1485 h 10000"/>
                  <a:gd name="connsiteX39" fmla="*/ 9363 w 10000"/>
                  <a:gd name="connsiteY39" fmla="*/ 1793 h 10000"/>
                  <a:gd name="connsiteX40" fmla="*/ 9363 w 10000"/>
                  <a:gd name="connsiteY40" fmla="*/ 2092 h 10000"/>
                  <a:gd name="connsiteX41" fmla="*/ 9585 w 10000"/>
                  <a:gd name="connsiteY41" fmla="*/ 2092 h 10000"/>
                  <a:gd name="connsiteX42" fmla="*/ 10000 w 10000"/>
                  <a:gd name="connsiteY42" fmla="*/ 1933 h 10000"/>
                  <a:gd name="connsiteX43" fmla="*/ 10000 w 10000"/>
                  <a:gd name="connsiteY43" fmla="*/ 2241 h 10000"/>
                  <a:gd name="connsiteX44" fmla="*/ 9688 w 10000"/>
                  <a:gd name="connsiteY44" fmla="*/ 3137 h 10000"/>
                  <a:gd name="connsiteX45" fmla="*/ 9585 w 10000"/>
                  <a:gd name="connsiteY45" fmla="*/ 2988 h 10000"/>
                  <a:gd name="connsiteX46" fmla="*/ 9363 w 10000"/>
                  <a:gd name="connsiteY46" fmla="*/ 3137 h 10000"/>
                  <a:gd name="connsiteX47" fmla="*/ 9483 w 10000"/>
                  <a:gd name="connsiteY47" fmla="*/ 3585 h 10000"/>
                  <a:gd name="connsiteX48" fmla="*/ 9363 w 10000"/>
                  <a:gd name="connsiteY48" fmla="*/ 3884 h 10000"/>
                  <a:gd name="connsiteX49" fmla="*/ 9261 w 10000"/>
                  <a:gd name="connsiteY49" fmla="*/ 3884 h 10000"/>
                  <a:gd name="connsiteX50" fmla="*/ 9056 w 10000"/>
                  <a:gd name="connsiteY50" fmla="*/ 4034 h 10000"/>
                  <a:gd name="connsiteX51" fmla="*/ 8948 w 10000"/>
                  <a:gd name="connsiteY51" fmla="*/ 4034 h 10000"/>
                  <a:gd name="connsiteX52" fmla="*/ 8846 w 10000"/>
                  <a:gd name="connsiteY52" fmla="*/ 4174 h 10000"/>
                  <a:gd name="connsiteX53" fmla="*/ 8744 w 10000"/>
                  <a:gd name="connsiteY53" fmla="*/ 4174 h 10000"/>
                  <a:gd name="connsiteX54" fmla="*/ 8329 w 10000"/>
                  <a:gd name="connsiteY54" fmla="*/ 4622 h 10000"/>
                  <a:gd name="connsiteX55" fmla="*/ 8329 w 10000"/>
                  <a:gd name="connsiteY55" fmla="*/ 4781 h 10000"/>
                  <a:gd name="connsiteX56" fmla="*/ 8119 w 10000"/>
                  <a:gd name="connsiteY56" fmla="*/ 4781 h 10000"/>
                  <a:gd name="connsiteX57" fmla="*/ 7806 w 10000"/>
                  <a:gd name="connsiteY57" fmla="*/ 5070 h 10000"/>
                  <a:gd name="connsiteX58" fmla="*/ 7806 w 10000"/>
                  <a:gd name="connsiteY58" fmla="*/ 4930 h 10000"/>
                  <a:gd name="connsiteX59" fmla="*/ 7806 w 10000"/>
                  <a:gd name="connsiteY59" fmla="*/ 4781 h 10000"/>
                  <a:gd name="connsiteX60" fmla="*/ 7915 w 10000"/>
                  <a:gd name="connsiteY60" fmla="*/ 4482 h 10000"/>
                  <a:gd name="connsiteX61" fmla="*/ 7806 w 10000"/>
                  <a:gd name="connsiteY61" fmla="*/ 4332 h 10000"/>
                  <a:gd name="connsiteX62" fmla="*/ 7494 w 10000"/>
                  <a:gd name="connsiteY62" fmla="*/ 4781 h 10000"/>
                  <a:gd name="connsiteX63" fmla="*/ 7392 w 10000"/>
                  <a:gd name="connsiteY63" fmla="*/ 4930 h 10000"/>
                  <a:gd name="connsiteX64" fmla="*/ 7290 w 10000"/>
                  <a:gd name="connsiteY64" fmla="*/ 4930 h 10000"/>
                  <a:gd name="connsiteX65" fmla="*/ 7188 w 10000"/>
                  <a:gd name="connsiteY65" fmla="*/ 5070 h 10000"/>
                  <a:gd name="connsiteX66" fmla="*/ 7494 w 10000"/>
                  <a:gd name="connsiteY66" fmla="*/ 5518 h 10000"/>
                  <a:gd name="connsiteX67" fmla="*/ 7704 w 10000"/>
                  <a:gd name="connsiteY67" fmla="*/ 5369 h 10000"/>
                  <a:gd name="connsiteX68" fmla="*/ 8017 w 10000"/>
                  <a:gd name="connsiteY68" fmla="*/ 5518 h 10000"/>
                  <a:gd name="connsiteX69" fmla="*/ 8017 w 10000"/>
                  <a:gd name="connsiteY69" fmla="*/ 5677 h 10000"/>
                  <a:gd name="connsiteX70" fmla="*/ 7915 w 10000"/>
                  <a:gd name="connsiteY70" fmla="*/ 5518 h 10000"/>
                  <a:gd name="connsiteX71" fmla="*/ 7704 w 10000"/>
                  <a:gd name="connsiteY71" fmla="*/ 5677 h 10000"/>
                  <a:gd name="connsiteX72" fmla="*/ 7494 w 10000"/>
                  <a:gd name="connsiteY72" fmla="*/ 6125 h 10000"/>
                  <a:gd name="connsiteX73" fmla="*/ 7602 w 10000"/>
                  <a:gd name="connsiteY73" fmla="*/ 6265 h 10000"/>
                  <a:gd name="connsiteX74" fmla="*/ 7704 w 10000"/>
                  <a:gd name="connsiteY74" fmla="*/ 6863 h 10000"/>
                  <a:gd name="connsiteX75" fmla="*/ 7915 w 10000"/>
                  <a:gd name="connsiteY75" fmla="*/ 7021 h 10000"/>
                  <a:gd name="connsiteX76" fmla="*/ 7806 w 10000"/>
                  <a:gd name="connsiteY76" fmla="*/ 7021 h 10000"/>
                  <a:gd name="connsiteX77" fmla="*/ 7915 w 10000"/>
                  <a:gd name="connsiteY77" fmla="*/ 7311 h 10000"/>
                  <a:gd name="connsiteX78" fmla="*/ 7602 w 10000"/>
                  <a:gd name="connsiteY78" fmla="*/ 7470 h 10000"/>
                  <a:gd name="connsiteX79" fmla="*/ 7915 w 10000"/>
                  <a:gd name="connsiteY79" fmla="*/ 7470 h 10000"/>
                  <a:gd name="connsiteX80" fmla="*/ 7806 w 10000"/>
                  <a:gd name="connsiteY80" fmla="*/ 8058 h 10000"/>
                  <a:gd name="connsiteX81" fmla="*/ 7602 w 10000"/>
                  <a:gd name="connsiteY81" fmla="*/ 8366 h 10000"/>
                  <a:gd name="connsiteX82" fmla="*/ 7494 w 10000"/>
                  <a:gd name="connsiteY82" fmla="*/ 8366 h 10000"/>
                  <a:gd name="connsiteX83" fmla="*/ 7494 w 10000"/>
                  <a:gd name="connsiteY83" fmla="*/ 8655 h 10000"/>
                  <a:gd name="connsiteX84" fmla="*/ 7392 w 10000"/>
                  <a:gd name="connsiteY84" fmla="*/ 8954 h 10000"/>
                  <a:gd name="connsiteX85" fmla="*/ 7290 w 10000"/>
                  <a:gd name="connsiteY85" fmla="*/ 8954 h 10000"/>
                  <a:gd name="connsiteX86" fmla="*/ 7290 w 10000"/>
                  <a:gd name="connsiteY86" fmla="*/ 9104 h 10000"/>
                  <a:gd name="connsiteX87" fmla="*/ 6977 w 10000"/>
                  <a:gd name="connsiteY87" fmla="*/ 9402 h 10000"/>
                  <a:gd name="connsiteX88" fmla="*/ 6665 w 10000"/>
                  <a:gd name="connsiteY88" fmla="*/ 9402 h 10000"/>
                  <a:gd name="connsiteX89" fmla="*/ 6665 w 10000"/>
                  <a:gd name="connsiteY89" fmla="*/ 9552 h 10000"/>
                  <a:gd name="connsiteX90" fmla="*/ 6563 w 10000"/>
                  <a:gd name="connsiteY90" fmla="*/ 9402 h 10000"/>
                  <a:gd name="connsiteX91" fmla="*/ 6563 w 10000"/>
                  <a:gd name="connsiteY91" fmla="*/ 9552 h 10000"/>
                  <a:gd name="connsiteX92" fmla="*/ 6460 w 10000"/>
                  <a:gd name="connsiteY92" fmla="*/ 9552 h 10000"/>
                  <a:gd name="connsiteX93" fmla="*/ 6046 w 10000"/>
                  <a:gd name="connsiteY93" fmla="*/ 9851 h 10000"/>
                  <a:gd name="connsiteX94" fmla="*/ 5938 w 10000"/>
                  <a:gd name="connsiteY94" fmla="*/ 10000 h 10000"/>
                  <a:gd name="connsiteX95" fmla="*/ 5938 w 10000"/>
                  <a:gd name="connsiteY95" fmla="*/ 9711 h 10000"/>
                  <a:gd name="connsiteX96" fmla="*/ 5733 w 10000"/>
                  <a:gd name="connsiteY96" fmla="*/ 9711 h 10000"/>
                  <a:gd name="connsiteX97" fmla="*/ 5625 w 10000"/>
                  <a:gd name="connsiteY97" fmla="*/ 9711 h 10000"/>
                  <a:gd name="connsiteX98" fmla="*/ 5409 w 10000"/>
                  <a:gd name="connsiteY98" fmla="*/ 9711 h 10000"/>
                  <a:gd name="connsiteX99" fmla="*/ 5409 w 10000"/>
                  <a:gd name="connsiteY99" fmla="*/ 9402 h 10000"/>
                  <a:gd name="connsiteX100" fmla="*/ 5198 w 10000"/>
                  <a:gd name="connsiteY100" fmla="*/ 9402 h 10000"/>
                  <a:gd name="connsiteX101" fmla="*/ 4784 w 10000"/>
                  <a:gd name="connsiteY101" fmla="*/ 9552 h 10000"/>
                  <a:gd name="connsiteX102" fmla="*/ 4681 w 10000"/>
                  <a:gd name="connsiteY102" fmla="*/ 9402 h 10000"/>
                  <a:gd name="connsiteX103" fmla="*/ 4681 w 10000"/>
                  <a:gd name="connsiteY103" fmla="*/ 9552 h 10000"/>
                  <a:gd name="connsiteX104" fmla="*/ 4579 w 10000"/>
                  <a:gd name="connsiteY104" fmla="*/ 9552 h 10000"/>
                  <a:gd name="connsiteX105" fmla="*/ 4579 w 10000"/>
                  <a:gd name="connsiteY105" fmla="*/ 9851 h 10000"/>
                  <a:gd name="connsiteX106" fmla="*/ 4477 w 10000"/>
                  <a:gd name="connsiteY106" fmla="*/ 9851 h 10000"/>
                  <a:gd name="connsiteX107" fmla="*/ 4477 w 10000"/>
                  <a:gd name="connsiteY107" fmla="*/ 9711 h 10000"/>
                  <a:gd name="connsiteX108" fmla="*/ 4369 w 10000"/>
                  <a:gd name="connsiteY108" fmla="*/ 9711 h 10000"/>
                  <a:gd name="connsiteX109" fmla="*/ 4165 w 10000"/>
                  <a:gd name="connsiteY109" fmla="*/ 9552 h 10000"/>
                  <a:gd name="connsiteX110" fmla="*/ 4165 w 10000"/>
                  <a:gd name="connsiteY110" fmla="*/ 9402 h 10000"/>
                  <a:gd name="connsiteX111" fmla="*/ 4165 w 10000"/>
                  <a:gd name="connsiteY111" fmla="*/ 9262 h 10000"/>
                  <a:gd name="connsiteX112" fmla="*/ 4056 w 10000"/>
                  <a:gd name="connsiteY112" fmla="*/ 9104 h 10000"/>
                  <a:gd name="connsiteX113" fmla="*/ 3954 w 10000"/>
                  <a:gd name="connsiteY113" fmla="*/ 9104 h 10000"/>
                  <a:gd name="connsiteX114" fmla="*/ 4056 w 10000"/>
                  <a:gd name="connsiteY114" fmla="*/ 8366 h 10000"/>
                  <a:gd name="connsiteX115" fmla="*/ 3954 w 10000"/>
                  <a:gd name="connsiteY115" fmla="*/ 8058 h 10000"/>
                  <a:gd name="connsiteX116" fmla="*/ 3852 w 10000"/>
                  <a:gd name="connsiteY116" fmla="*/ 8058 h 10000"/>
                  <a:gd name="connsiteX117" fmla="*/ 3642 w 10000"/>
                  <a:gd name="connsiteY117" fmla="*/ 7759 h 10000"/>
                  <a:gd name="connsiteX118" fmla="*/ 3438 w 10000"/>
                  <a:gd name="connsiteY118" fmla="*/ 7759 h 10000"/>
                  <a:gd name="connsiteX119" fmla="*/ 2915 w 10000"/>
                  <a:gd name="connsiteY119" fmla="*/ 8058 h 10000"/>
                  <a:gd name="connsiteX120" fmla="*/ 2608 w 10000"/>
                  <a:gd name="connsiteY120" fmla="*/ 8058 h 10000"/>
                  <a:gd name="connsiteX121" fmla="*/ 2500 w 10000"/>
                  <a:gd name="connsiteY121" fmla="*/ 8207 h 10000"/>
                  <a:gd name="connsiteX122" fmla="*/ 2398 w 10000"/>
                  <a:gd name="connsiteY122" fmla="*/ 8058 h 10000"/>
                  <a:gd name="connsiteX123" fmla="*/ 2296 w 10000"/>
                  <a:gd name="connsiteY123" fmla="*/ 8058 h 10000"/>
                  <a:gd name="connsiteX124" fmla="*/ 1983 w 10000"/>
                  <a:gd name="connsiteY124" fmla="*/ 8058 h 10000"/>
                  <a:gd name="connsiteX125" fmla="*/ 1773 w 10000"/>
                  <a:gd name="connsiteY125" fmla="*/ 7918 h 10000"/>
                  <a:gd name="connsiteX126" fmla="*/ 1671 w 10000"/>
                  <a:gd name="connsiteY126" fmla="*/ 7759 h 10000"/>
                  <a:gd name="connsiteX127" fmla="*/ 1556 w 10000"/>
                  <a:gd name="connsiteY127" fmla="*/ 7759 h 10000"/>
                  <a:gd name="connsiteX128" fmla="*/ 1346 w 10000"/>
                  <a:gd name="connsiteY128" fmla="*/ 7470 h 10000"/>
                  <a:gd name="connsiteX129" fmla="*/ 1142 w 10000"/>
                  <a:gd name="connsiteY129" fmla="*/ 7470 h 10000"/>
                  <a:gd name="connsiteX130" fmla="*/ 829 w 10000"/>
                  <a:gd name="connsiteY130" fmla="*/ 7311 h 10000"/>
                  <a:gd name="connsiteX131" fmla="*/ 727 w 10000"/>
                  <a:gd name="connsiteY131" fmla="*/ 6863 h 10000"/>
                  <a:gd name="connsiteX132" fmla="*/ 931 w 10000"/>
                  <a:gd name="connsiteY132" fmla="*/ 6863 h 10000"/>
                  <a:gd name="connsiteX133" fmla="*/ 829 w 10000"/>
                  <a:gd name="connsiteY133" fmla="*/ 6573 h 10000"/>
                  <a:gd name="connsiteX134" fmla="*/ 1034 w 10000"/>
                  <a:gd name="connsiteY134" fmla="*/ 6265 h 10000"/>
                  <a:gd name="connsiteX135" fmla="*/ 1034 w 10000"/>
                  <a:gd name="connsiteY135" fmla="*/ 5966 h 10000"/>
                  <a:gd name="connsiteX136" fmla="*/ 931 w 10000"/>
                  <a:gd name="connsiteY136" fmla="*/ 5817 h 10000"/>
                  <a:gd name="connsiteX137" fmla="*/ 673 w 10000"/>
                  <a:gd name="connsiteY137" fmla="*/ 5821 h 10000"/>
                  <a:gd name="connsiteX138" fmla="*/ 444 w 10000"/>
                  <a:gd name="connsiteY138" fmla="*/ 5373 h 10000"/>
                  <a:gd name="connsiteX139" fmla="*/ 102 w 10000"/>
                  <a:gd name="connsiteY139" fmla="*/ 5518 h 10000"/>
                  <a:gd name="connsiteX140" fmla="*/ 216 w 10000"/>
                  <a:gd name="connsiteY140" fmla="*/ 5243 h 10000"/>
                  <a:gd name="connsiteX141" fmla="*/ 204 w 10000"/>
                  <a:gd name="connsiteY141" fmla="*/ 5070 h 10000"/>
                  <a:gd name="connsiteX142" fmla="*/ 0 w 10000"/>
                  <a:gd name="connsiteY142" fmla="*/ 5070 h 10000"/>
                  <a:gd name="connsiteX143" fmla="*/ 0 w 10000"/>
                  <a:gd name="connsiteY143" fmla="*/ 4622 h 10000"/>
                  <a:gd name="connsiteX144" fmla="*/ 204 w 10000"/>
                  <a:gd name="connsiteY144" fmla="*/ 4482 h 10000"/>
                  <a:gd name="connsiteX145" fmla="*/ 415 w 10000"/>
                  <a:gd name="connsiteY145" fmla="*/ 4482 h 10000"/>
                  <a:gd name="connsiteX146" fmla="*/ 517 w 10000"/>
                  <a:gd name="connsiteY146" fmla="*/ 4332 h 10000"/>
                  <a:gd name="connsiteX147" fmla="*/ 727 w 10000"/>
                  <a:gd name="connsiteY147" fmla="*/ 4332 h 10000"/>
                  <a:gd name="connsiteX148" fmla="*/ 1034 w 10000"/>
                  <a:gd name="connsiteY148" fmla="*/ 4034 h 10000"/>
                  <a:gd name="connsiteX149" fmla="*/ 1142 w 10000"/>
                  <a:gd name="connsiteY149" fmla="*/ 3725 h 10000"/>
                  <a:gd name="connsiteX150" fmla="*/ 1034 w 10000"/>
                  <a:gd name="connsiteY150" fmla="*/ 3137 h 10000"/>
                  <a:gd name="connsiteX151" fmla="*/ 1034 w 10000"/>
                  <a:gd name="connsiteY151" fmla="*/ 2988 h 10000"/>
                  <a:gd name="connsiteX152" fmla="*/ 1346 w 10000"/>
                  <a:gd name="connsiteY152" fmla="*/ 2988 h 10000"/>
                  <a:gd name="connsiteX153" fmla="*/ 1454 w 10000"/>
                  <a:gd name="connsiteY153" fmla="*/ 2381 h 10000"/>
                  <a:gd name="connsiteX154" fmla="*/ 1773 w 10000"/>
                  <a:gd name="connsiteY154" fmla="*/ 2381 h 10000"/>
                  <a:gd name="connsiteX155" fmla="*/ 1881 w 10000"/>
                  <a:gd name="connsiteY155" fmla="*/ 2381 h 10000"/>
                  <a:gd name="connsiteX156" fmla="*/ 1983 w 10000"/>
                  <a:gd name="connsiteY156" fmla="*/ 1933 h 10000"/>
                  <a:gd name="connsiteX157" fmla="*/ 2085 w 10000"/>
                  <a:gd name="connsiteY157" fmla="*/ 1793 h 10000"/>
                  <a:gd name="connsiteX0" fmla="*/ 2085 w 10000"/>
                  <a:gd name="connsiteY0" fmla="*/ 1793 h 10000"/>
                  <a:gd name="connsiteX1" fmla="*/ 2085 w 10000"/>
                  <a:gd name="connsiteY1" fmla="*/ 1793 h 10000"/>
                  <a:gd name="connsiteX2" fmla="*/ 2296 w 10000"/>
                  <a:gd name="connsiteY2" fmla="*/ 1643 h 10000"/>
                  <a:gd name="connsiteX3" fmla="*/ 2500 w 10000"/>
                  <a:gd name="connsiteY3" fmla="*/ 2092 h 10000"/>
                  <a:gd name="connsiteX4" fmla="*/ 2710 w 10000"/>
                  <a:gd name="connsiteY4" fmla="*/ 2092 h 10000"/>
                  <a:gd name="connsiteX5" fmla="*/ 2813 w 10000"/>
                  <a:gd name="connsiteY5" fmla="*/ 2381 h 10000"/>
                  <a:gd name="connsiteX6" fmla="*/ 2813 w 10000"/>
                  <a:gd name="connsiteY6" fmla="*/ 2988 h 10000"/>
                  <a:gd name="connsiteX7" fmla="*/ 3438 w 10000"/>
                  <a:gd name="connsiteY7" fmla="*/ 3277 h 10000"/>
                  <a:gd name="connsiteX8" fmla="*/ 3750 w 10000"/>
                  <a:gd name="connsiteY8" fmla="*/ 3725 h 10000"/>
                  <a:gd name="connsiteX9" fmla="*/ 4369 w 10000"/>
                  <a:gd name="connsiteY9" fmla="*/ 3725 h 10000"/>
                  <a:gd name="connsiteX10" fmla="*/ 4681 w 10000"/>
                  <a:gd name="connsiteY10" fmla="*/ 4034 h 10000"/>
                  <a:gd name="connsiteX11" fmla="*/ 5096 w 10000"/>
                  <a:gd name="connsiteY11" fmla="*/ 4174 h 10000"/>
                  <a:gd name="connsiteX12" fmla="*/ 5523 w 10000"/>
                  <a:gd name="connsiteY12" fmla="*/ 3884 h 10000"/>
                  <a:gd name="connsiteX13" fmla="*/ 5938 w 10000"/>
                  <a:gd name="connsiteY13" fmla="*/ 3884 h 10000"/>
                  <a:gd name="connsiteX14" fmla="*/ 6250 w 10000"/>
                  <a:gd name="connsiteY14" fmla="*/ 3436 h 10000"/>
                  <a:gd name="connsiteX15" fmla="*/ 6148 w 10000"/>
                  <a:gd name="connsiteY15" fmla="*/ 3277 h 10000"/>
                  <a:gd name="connsiteX16" fmla="*/ 6352 w 10000"/>
                  <a:gd name="connsiteY16" fmla="*/ 2988 h 10000"/>
                  <a:gd name="connsiteX17" fmla="*/ 6563 w 10000"/>
                  <a:gd name="connsiteY17" fmla="*/ 3137 h 10000"/>
                  <a:gd name="connsiteX18" fmla="*/ 6875 w 10000"/>
                  <a:gd name="connsiteY18" fmla="*/ 2829 h 10000"/>
                  <a:gd name="connsiteX19" fmla="*/ 7079 w 10000"/>
                  <a:gd name="connsiteY19" fmla="*/ 2540 h 10000"/>
                  <a:gd name="connsiteX20" fmla="*/ 7494 w 10000"/>
                  <a:gd name="connsiteY20" fmla="*/ 2540 h 10000"/>
                  <a:gd name="connsiteX21" fmla="*/ 7392 w 10000"/>
                  <a:gd name="connsiteY21" fmla="*/ 2241 h 10000"/>
                  <a:gd name="connsiteX22" fmla="*/ 7290 w 10000"/>
                  <a:gd name="connsiteY22" fmla="*/ 2092 h 10000"/>
                  <a:gd name="connsiteX23" fmla="*/ 7079 w 10000"/>
                  <a:gd name="connsiteY23" fmla="*/ 2241 h 10000"/>
                  <a:gd name="connsiteX24" fmla="*/ 6875 w 10000"/>
                  <a:gd name="connsiteY24" fmla="*/ 2241 h 10000"/>
                  <a:gd name="connsiteX25" fmla="*/ 6875 w 10000"/>
                  <a:gd name="connsiteY25" fmla="*/ 1643 h 10000"/>
                  <a:gd name="connsiteX26" fmla="*/ 6977 w 10000"/>
                  <a:gd name="connsiteY26" fmla="*/ 1345 h 10000"/>
                  <a:gd name="connsiteX27" fmla="*/ 7188 w 10000"/>
                  <a:gd name="connsiteY27" fmla="*/ 1485 h 10000"/>
                  <a:gd name="connsiteX28" fmla="*/ 7494 w 10000"/>
                  <a:gd name="connsiteY28" fmla="*/ 1345 h 10000"/>
                  <a:gd name="connsiteX29" fmla="*/ 7602 w 10000"/>
                  <a:gd name="connsiteY29" fmla="*/ 747 h 10000"/>
                  <a:gd name="connsiteX30" fmla="*/ 7704 w 10000"/>
                  <a:gd name="connsiteY30" fmla="*/ 588 h 10000"/>
                  <a:gd name="connsiteX31" fmla="*/ 7704 w 10000"/>
                  <a:gd name="connsiteY31" fmla="*/ 448 h 10000"/>
                  <a:gd name="connsiteX32" fmla="*/ 7602 w 10000"/>
                  <a:gd name="connsiteY32" fmla="*/ 448 h 10000"/>
                  <a:gd name="connsiteX33" fmla="*/ 7704 w 10000"/>
                  <a:gd name="connsiteY33" fmla="*/ 140 h 10000"/>
                  <a:gd name="connsiteX34" fmla="*/ 8119 w 10000"/>
                  <a:gd name="connsiteY34" fmla="*/ 0 h 10000"/>
                  <a:gd name="connsiteX35" fmla="*/ 8431 w 10000"/>
                  <a:gd name="connsiteY35" fmla="*/ 140 h 10000"/>
                  <a:gd name="connsiteX36" fmla="*/ 8642 w 10000"/>
                  <a:gd name="connsiteY36" fmla="*/ 448 h 10000"/>
                  <a:gd name="connsiteX37" fmla="*/ 8846 w 10000"/>
                  <a:gd name="connsiteY37" fmla="*/ 1485 h 10000"/>
                  <a:gd name="connsiteX38" fmla="*/ 9056 w 10000"/>
                  <a:gd name="connsiteY38" fmla="*/ 1485 h 10000"/>
                  <a:gd name="connsiteX39" fmla="*/ 9363 w 10000"/>
                  <a:gd name="connsiteY39" fmla="*/ 1793 h 10000"/>
                  <a:gd name="connsiteX40" fmla="*/ 9363 w 10000"/>
                  <a:gd name="connsiteY40" fmla="*/ 2092 h 10000"/>
                  <a:gd name="connsiteX41" fmla="*/ 9585 w 10000"/>
                  <a:gd name="connsiteY41" fmla="*/ 2092 h 10000"/>
                  <a:gd name="connsiteX42" fmla="*/ 10000 w 10000"/>
                  <a:gd name="connsiteY42" fmla="*/ 1933 h 10000"/>
                  <a:gd name="connsiteX43" fmla="*/ 10000 w 10000"/>
                  <a:gd name="connsiteY43" fmla="*/ 2241 h 10000"/>
                  <a:gd name="connsiteX44" fmla="*/ 9688 w 10000"/>
                  <a:gd name="connsiteY44" fmla="*/ 3137 h 10000"/>
                  <a:gd name="connsiteX45" fmla="*/ 9585 w 10000"/>
                  <a:gd name="connsiteY45" fmla="*/ 2988 h 10000"/>
                  <a:gd name="connsiteX46" fmla="*/ 9363 w 10000"/>
                  <a:gd name="connsiteY46" fmla="*/ 3137 h 10000"/>
                  <a:gd name="connsiteX47" fmla="*/ 9483 w 10000"/>
                  <a:gd name="connsiteY47" fmla="*/ 3585 h 10000"/>
                  <a:gd name="connsiteX48" fmla="*/ 9363 w 10000"/>
                  <a:gd name="connsiteY48" fmla="*/ 3884 h 10000"/>
                  <a:gd name="connsiteX49" fmla="*/ 9261 w 10000"/>
                  <a:gd name="connsiteY49" fmla="*/ 3884 h 10000"/>
                  <a:gd name="connsiteX50" fmla="*/ 9056 w 10000"/>
                  <a:gd name="connsiteY50" fmla="*/ 4034 h 10000"/>
                  <a:gd name="connsiteX51" fmla="*/ 8948 w 10000"/>
                  <a:gd name="connsiteY51" fmla="*/ 4034 h 10000"/>
                  <a:gd name="connsiteX52" fmla="*/ 8846 w 10000"/>
                  <a:gd name="connsiteY52" fmla="*/ 4174 h 10000"/>
                  <a:gd name="connsiteX53" fmla="*/ 8744 w 10000"/>
                  <a:gd name="connsiteY53" fmla="*/ 4174 h 10000"/>
                  <a:gd name="connsiteX54" fmla="*/ 8329 w 10000"/>
                  <a:gd name="connsiteY54" fmla="*/ 4622 h 10000"/>
                  <a:gd name="connsiteX55" fmla="*/ 8329 w 10000"/>
                  <a:gd name="connsiteY55" fmla="*/ 4781 h 10000"/>
                  <a:gd name="connsiteX56" fmla="*/ 8119 w 10000"/>
                  <a:gd name="connsiteY56" fmla="*/ 4781 h 10000"/>
                  <a:gd name="connsiteX57" fmla="*/ 7806 w 10000"/>
                  <a:gd name="connsiteY57" fmla="*/ 5070 h 10000"/>
                  <a:gd name="connsiteX58" fmla="*/ 7806 w 10000"/>
                  <a:gd name="connsiteY58" fmla="*/ 4930 h 10000"/>
                  <a:gd name="connsiteX59" fmla="*/ 7806 w 10000"/>
                  <a:gd name="connsiteY59" fmla="*/ 4781 h 10000"/>
                  <a:gd name="connsiteX60" fmla="*/ 7915 w 10000"/>
                  <a:gd name="connsiteY60" fmla="*/ 4482 h 10000"/>
                  <a:gd name="connsiteX61" fmla="*/ 7806 w 10000"/>
                  <a:gd name="connsiteY61" fmla="*/ 4332 h 10000"/>
                  <a:gd name="connsiteX62" fmla="*/ 7494 w 10000"/>
                  <a:gd name="connsiteY62" fmla="*/ 4781 h 10000"/>
                  <a:gd name="connsiteX63" fmla="*/ 7392 w 10000"/>
                  <a:gd name="connsiteY63" fmla="*/ 4930 h 10000"/>
                  <a:gd name="connsiteX64" fmla="*/ 7290 w 10000"/>
                  <a:gd name="connsiteY64" fmla="*/ 4930 h 10000"/>
                  <a:gd name="connsiteX65" fmla="*/ 7188 w 10000"/>
                  <a:gd name="connsiteY65" fmla="*/ 5070 h 10000"/>
                  <a:gd name="connsiteX66" fmla="*/ 7494 w 10000"/>
                  <a:gd name="connsiteY66" fmla="*/ 5518 h 10000"/>
                  <a:gd name="connsiteX67" fmla="*/ 7704 w 10000"/>
                  <a:gd name="connsiteY67" fmla="*/ 5369 h 10000"/>
                  <a:gd name="connsiteX68" fmla="*/ 8017 w 10000"/>
                  <a:gd name="connsiteY68" fmla="*/ 5518 h 10000"/>
                  <a:gd name="connsiteX69" fmla="*/ 8017 w 10000"/>
                  <a:gd name="connsiteY69" fmla="*/ 5677 h 10000"/>
                  <a:gd name="connsiteX70" fmla="*/ 7915 w 10000"/>
                  <a:gd name="connsiteY70" fmla="*/ 5518 h 10000"/>
                  <a:gd name="connsiteX71" fmla="*/ 7704 w 10000"/>
                  <a:gd name="connsiteY71" fmla="*/ 5677 h 10000"/>
                  <a:gd name="connsiteX72" fmla="*/ 7494 w 10000"/>
                  <a:gd name="connsiteY72" fmla="*/ 6125 h 10000"/>
                  <a:gd name="connsiteX73" fmla="*/ 7602 w 10000"/>
                  <a:gd name="connsiteY73" fmla="*/ 6265 h 10000"/>
                  <a:gd name="connsiteX74" fmla="*/ 7704 w 10000"/>
                  <a:gd name="connsiteY74" fmla="*/ 6863 h 10000"/>
                  <a:gd name="connsiteX75" fmla="*/ 7915 w 10000"/>
                  <a:gd name="connsiteY75" fmla="*/ 7021 h 10000"/>
                  <a:gd name="connsiteX76" fmla="*/ 7806 w 10000"/>
                  <a:gd name="connsiteY76" fmla="*/ 7021 h 10000"/>
                  <a:gd name="connsiteX77" fmla="*/ 7915 w 10000"/>
                  <a:gd name="connsiteY77" fmla="*/ 7311 h 10000"/>
                  <a:gd name="connsiteX78" fmla="*/ 7602 w 10000"/>
                  <a:gd name="connsiteY78" fmla="*/ 7470 h 10000"/>
                  <a:gd name="connsiteX79" fmla="*/ 7915 w 10000"/>
                  <a:gd name="connsiteY79" fmla="*/ 7470 h 10000"/>
                  <a:gd name="connsiteX80" fmla="*/ 7806 w 10000"/>
                  <a:gd name="connsiteY80" fmla="*/ 8058 h 10000"/>
                  <a:gd name="connsiteX81" fmla="*/ 7602 w 10000"/>
                  <a:gd name="connsiteY81" fmla="*/ 8366 h 10000"/>
                  <a:gd name="connsiteX82" fmla="*/ 7494 w 10000"/>
                  <a:gd name="connsiteY82" fmla="*/ 8366 h 10000"/>
                  <a:gd name="connsiteX83" fmla="*/ 7494 w 10000"/>
                  <a:gd name="connsiteY83" fmla="*/ 8655 h 10000"/>
                  <a:gd name="connsiteX84" fmla="*/ 7392 w 10000"/>
                  <a:gd name="connsiteY84" fmla="*/ 8954 h 10000"/>
                  <a:gd name="connsiteX85" fmla="*/ 7290 w 10000"/>
                  <a:gd name="connsiteY85" fmla="*/ 8954 h 10000"/>
                  <a:gd name="connsiteX86" fmla="*/ 7290 w 10000"/>
                  <a:gd name="connsiteY86" fmla="*/ 9104 h 10000"/>
                  <a:gd name="connsiteX87" fmla="*/ 6977 w 10000"/>
                  <a:gd name="connsiteY87" fmla="*/ 9402 h 10000"/>
                  <a:gd name="connsiteX88" fmla="*/ 6665 w 10000"/>
                  <a:gd name="connsiteY88" fmla="*/ 9402 h 10000"/>
                  <a:gd name="connsiteX89" fmla="*/ 6665 w 10000"/>
                  <a:gd name="connsiteY89" fmla="*/ 9552 h 10000"/>
                  <a:gd name="connsiteX90" fmla="*/ 6563 w 10000"/>
                  <a:gd name="connsiteY90" fmla="*/ 9402 h 10000"/>
                  <a:gd name="connsiteX91" fmla="*/ 6563 w 10000"/>
                  <a:gd name="connsiteY91" fmla="*/ 9552 h 10000"/>
                  <a:gd name="connsiteX92" fmla="*/ 6460 w 10000"/>
                  <a:gd name="connsiteY92" fmla="*/ 9552 h 10000"/>
                  <a:gd name="connsiteX93" fmla="*/ 6046 w 10000"/>
                  <a:gd name="connsiteY93" fmla="*/ 9851 h 10000"/>
                  <a:gd name="connsiteX94" fmla="*/ 5938 w 10000"/>
                  <a:gd name="connsiteY94" fmla="*/ 10000 h 10000"/>
                  <a:gd name="connsiteX95" fmla="*/ 5938 w 10000"/>
                  <a:gd name="connsiteY95" fmla="*/ 9711 h 10000"/>
                  <a:gd name="connsiteX96" fmla="*/ 5733 w 10000"/>
                  <a:gd name="connsiteY96" fmla="*/ 9711 h 10000"/>
                  <a:gd name="connsiteX97" fmla="*/ 5625 w 10000"/>
                  <a:gd name="connsiteY97" fmla="*/ 9711 h 10000"/>
                  <a:gd name="connsiteX98" fmla="*/ 5409 w 10000"/>
                  <a:gd name="connsiteY98" fmla="*/ 9711 h 10000"/>
                  <a:gd name="connsiteX99" fmla="*/ 5409 w 10000"/>
                  <a:gd name="connsiteY99" fmla="*/ 9402 h 10000"/>
                  <a:gd name="connsiteX100" fmla="*/ 5198 w 10000"/>
                  <a:gd name="connsiteY100" fmla="*/ 9402 h 10000"/>
                  <a:gd name="connsiteX101" fmla="*/ 4784 w 10000"/>
                  <a:gd name="connsiteY101" fmla="*/ 9552 h 10000"/>
                  <a:gd name="connsiteX102" fmla="*/ 4681 w 10000"/>
                  <a:gd name="connsiteY102" fmla="*/ 9402 h 10000"/>
                  <a:gd name="connsiteX103" fmla="*/ 4681 w 10000"/>
                  <a:gd name="connsiteY103" fmla="*/ 9552 h 10000"/>
                  <a:gd name="connsiteX104" fmla="*/ 4579 w 10000"/>
                  <a:gd name="connsiteY104" fmla="*/ 9552 h 10000"/>
                  <a:gd name="connsiteX105" fmla="*/ 4579 w 10000"/>
                  <a:gd name="connsiteY105" fmla="*/ 9851 h 10000"/>
                  <a:gd name="connsiteX106" fmla="*/ 4477 w 10000"/>
                  <a:gd name="connsiteY106" fmla="*/ 9851 h 10000"/>
                  <a:gd name="connsiteX107" fmla="*/ 4477 w 10000"/>
                  <a:gd name="connsiteY107" fmla="*/ 9711 h 10000"/>
                  <a:gd name="connsiteX108" fmla="*/ 4369 w 10000"/>
                  <a:gd name="connsiteY108" fmla="*/ 9711 h 10000"/>
                  <a:gd name="connsiteX109" fmla="*/ 4165 w 10000"/>
                  <a:gd name="connsiteY109" fmla="*/ 9552 h 10000"/>
                  <a:gd name="connsiteX110" fmla="*/ 4165 w 10000"/>
                  <a:gd name="connsiteY110" fmla="*/ 9402 h 10000"/>
                  <a:gd name="connsiteX111" fmla="*/ 4165 w 10000"/>
                  <a:gd name="connsiteY111" fmla="*/ 9262 h 10000"/>
                  <a:gd name="connsiteX112" fmla="*/ 4056 w 10000"/>
                  <a:gd name="connsiteY112" fmla="*/ 9104 h 10000"/>
                  <a:gd name="connsiteX113" fmla="*/ 3954 w 10000"/>
                  <a:gd name="connsiteY113" fmla="*/ 9104 h 10000"/>
                  <a:gd name="connsiteX114" fmla="*/ 4056 w 10000"/>
                  <a:gd name="connsiteY114" fmla="*/ 8366 h 10000"/>
                  <a:gd name="connsiteX115" fmla="*/ 3954 w 10000"/>
                  <a:gd name="connsiteY115" fmla="*/ 8058 h 10000"/>
                  <a:gd name="connsiteX116" fmla="*/ 3852 w 10000"/>
                  <a:gd name="connsiteY116" fmla="*/ 8058 h 10000"/>
                  <a:gd name="connsiteX117" fmla="*/ 3642 w 10000"/>
                  <a:gd name="connsiteY117" fmla="*/ 7759 h 10000"/>
                  <a:gd name="connsiteX118" fmla="*/ 3438 w 10000"/>
                  <a:gd name="connsiteY118" fmla="*/ 7759 h 10000"/>
                  <a:gd name="connsiteX119" fmla="*/ 2915 w 10000"/>
                  <a:gd name="connsiteY119" fmla="*/ 8058 h 10000"/>
                  <a:gd name="connsiteX120" fmla="*/ 2608 w 10000"/>
                  <a:gd name="connsiteY120" fmla="*/ 8058 h 10000"/>
                  <a:gd name="connsiteX121" fmla="*/ 2500 w 10000"/>
                  <a:gd name="connsiteY121" fmla="*/ 8207 h 10000"/>
                  <a:gd name="connsiteX122" fmla="*/ 2398 w 10000"/>
                  <a:gd name="connsiteY122" fmla="*/ 8058 h 10000"/>
                  <a:gd name="connsiteX123" fmla="*/ 2296 w 10000"/>
                  <a:gd name="connsiteY123" fmla="*/ 8058 h 10000"/>
                  <a:gd name="connsiteX124" fmla="*/ 1983 w 10000"/>
                  <a:gd name="connsiteY124" fmla="*/ 8058 h 10000"/>
                  <a:gd name="connsiteX125" fmla="*/ 1773 w 10000"/>
                  <a:gd name="connsiteY125" fmla="*/ 7918 h 10000"/>
                  <a:gd name="connsiteX126" fmla="*/ 1671 w 10000"/>
                  <a:gd name="connsiteY126" fmla="*/ 7759 h 10000"/>
                  <a:gd name="connsiteX127" fmla="*/ 1556 w 10000"/>
                  <a:gd name="connsiteY127" fmla="*/ 7759 h 10000"/>
                  <a:gd name="connsiteX128" fmla="*/ 1346 w 10000"/>
                  <a:gd name="connsiteY128" fmla="*/ 7470 h 10000"/>
                  <a:gd name="connsiteX129" fmla="*/ 1142 w 10000"/>
                  <a:gd name="connsiteY129" fmla="*/ 7470 h 10000"/>
                  <a:gd name="connsiteX130" fmla="*/ 829 w 10000"/>
                  <a:gd name="connsiteY130" fmla="*/ 7311 h 10000"/>
                  <a:gd name="connsiteX131" fmla="*/ 727 w 10000"/>
                  <a:gd name="connsiteY131" fmla="*/ 6863 h 10000"/>
                  <a:gd name="connsiteX132" fmla="*/ 931 w 10000"/>
                  <a:gd name="connsiteY132" fmla="*/ 6863 h 10000"/>
                  <a:gd name="connsiteX133" fmla="*/ 829 w 10000"/>
                  <a:gd name="connsiteY133" fmla="*/ 6573 h 10000"/>
                  <a:gd name="connsiteX134" fmla="*/ 1034 w 10000"/>
                  <a:gd name="connsiteY134" fmla="*/ 6265 h 10000"/>
                  <a:gd name="connsiteX135" fmla="*/ 1034 w 10000"/>
                  <a:gd name="connsiteY135" fmla="*/ 5966 h 10000"/>
                  <a:gd name="connsiteX136" fmla="*/ 931 w 10000"/>
                  <a:gd name="connsiteY136" fmla="*/ 5817 h 10000"/>
                  <a:gd name="connsiteX137" fmla="*/ 673 w 10000"/>
                  <a:gd name="connsiteY137" fmla="*/ 5821 h 10000"/>
                  <a:gd name="connsiteX138" fmla="*/ 302 w 10000"/>
                  <a:gd name="connsiteY138" fmla="*/ 5541 h 10000"/>
                  <a:gd name="connsiteX139" fmla="*/ 102 w 10000"/>
                  <a:gd name="connsiteY139" fmla="*/ 5518 h 10000"/>
                  <a:gd name="connsiteX140" fmla="*/ 216 w 10000"/>
                  <a:gd name="connsiteY140" fmla="*/ 5243 h 10000"/>
                  <a:gd name="connsiteX141" fmla="*/ 204 w 10000"/>
                  <a:gd name="connsiteY141" fmla="*/ 5070 h 10000"/>
                  <a:gd name="connsiteX142" fmla="*/ 0 w 10000"/>
                  <a:gd name="connsiteY142" fmla="*/ 5070 h 10000"/>
                  <a:gd name="connsiteX143" fmla="*/ 0 w 10000"/>
                  <a:gd name="connsiteY143" fmla="*/ 4622 h 10000"/>
                  <a:gd name="connsiteX144" fmla="*/ 204 w 10000"/>
                  <a:gd name="connsiteY144" fmla="*/ 4482 h 10000"/>
                  <a:gd name="connsiteX145" fmla="*/ 415 w 10000"/>
                  <a:gd name="connsiteY145" fmla="*/ 4482 h 10000"/>
                  <a:gd name="connsiteX146" fmla="*/ 517 w 10000"/>
                  <a:gd name="connsiteY146" fmla="*/ 4332 h 10000"/>
                  <a:gd name="connsiteX147" fmla="*/ 727 w 10000"/>
                  <a:gd name="connsiteY147" fmla="*/ 4332 h 10000"/>
                  <a:gd name="connsiteX148" fmla="*/ 1034 w 10000"/>
                  <a:gd name="connsiteY148" fmla="*/ 4034 h 10000"/>
                  <a:gd name="connsiteX149" fmla="*/ 1142 w 10000"/>
                  <a:gd name="connsiteY149" fmla="*/ 3725 h 10000"/>
                  <a:gd name="connsiteX150" fmla="*/ 1034 w 10000"/>
                  <a:gd name="connsiteY150" fmla="*/ 3137 h 10000"/>
                  <a:gd name="connsiteX151" fmla="*/ 1034 w 10000"/>
                  <a:gd name="connsiteY151" fmla="*/ 2988 h 10000"/>
                  <a:gd name="connsiteX152" fmla="*/ 1346 w 10000"/>
                  <a:gd name="connsiteY152" fmla="*/ 2988 h 10000"/>
                  <a:gd name="connsiteX153" fmla="*/ 1454 w 10000"/>
                  <a:gd name="connsiteY153" fmla="*/ 2381 h 10000"/>
                  <a:gd name="connsiteX154" fmla="*/ 1773 w 10000"/>
                  <a:gd name="connsiteY154" fmla="*/ 2381 h 10000"/>
                  <a:gd name="connsiteX155" fmla="*/ 1881 w 10000"/>
                  <a:gd name="connsiteY155" fmla="*/ 2381 h 10000"/>
                  <a:gd name="connsiteX156" fmla="*/ 1983 w 10000"/>
                  <a:gd name="connsiteY156" fmla="*/ 1933 h 10000"/>
                  <a:gd name="connsiteX157" fmla="*/ 2085 w 10000"/>
                  <a:gd name="connsiteY157" fmla="*/ 1793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</a:cxnLst>
                <a:rect l="l" t="t" r="r" b="b"/>
                <a:pathLst>
                  <a:path w="10000" h="10000">
                    <a:moveTo>
                      <a:pt x="2085" y="1793"/>
                    </a:moveTo>
                    <a:lnTo>
                      <a:pt x="2085" y="1793"/>
                    </a:lnTo>
                    <a:lnTo>
                      <a:pt x="2296" y="1643"/>
                    </a:lnTo>
                    <a:lnTo>
                      <a:pt x="2500" y="2092"/>
                    </a:lnTo>
                    <a:lnTo>
                      <a:pt x="2710" y="2092"/>
                    </a:lnTo>
                    <a:cubicBezTo>
                      <a:pt x="2744" y="2188"/>
                      <a:pt x="2779" y="2285"/>
                      <a:pt x="2813" y="2381"/>
                    </a:cubicBezTo>
                    <a:lnTo>
                      <a:pt x="2813" y="2988"/>
                    </a:lnTo>
                    <a:lnTo>
                      <a:pt x="3438" y="3277"/>
                    </a:lnTo>
                    <a:lnTo>
                      <a:pt x="3750" y="3725"/>
                    </a:lnTo>
                    <a:lnTo>
                      <a:pt x="4369" y="3725"/>
                    </a:lnTo>
                    <a:lnTo>
                      <a:pt x="4681" y="4034"/>
                    </a:lnTo>
                    <a:lnTo>
                      <a:pt x="5096" y="4174"/>
                    </a:lnTo>
                    <a:lnTo>
                      <a:pt x="5523" y="3884"/>
                    </a:lnTo>
                    <a:lnTo>
                      <a:pt x="5938" y="3884"/>
                    </a:lnTo>
                    <a:lnTo>
                      <a:pt x="6250" y="3436"/>
                    </a:lnTo>
                    <a:lnTo>
                      <a:pt x="6148" y="3277"/>
                    </a:lnTo>
                    <a:lnTo>
                      <a:pt x="6352" y="2988"/>
                    </a:lnTo>
                    <a:lnTo>
                      <a:pt x="6563" y="3137"/>
                    </a:lnTo>
                    <a:lnTo>
                      <a:pt x="6875" y="2829"/>
                    </a:lnTo>
                    <a:lnTo>
                      <a:pt x="7079" y="2540"/>
                    </a:lnTo>
                    <a:lnTo>
                      <a:pt x="7494" y="2540"/>
                    </a:lnTo>
                    <a:lnTo>
                      <a:pt x="7392" y="2241"/>
                    </a:lnTo>
                    <a:lnTo>
                      <a:pt x="7290" y="2092"/>
                    </a:lnTo>
                    <a:lnTo>
                      <a:pt x="7079" y="2241"/>
                    </a:lnTo>
                    <a:lnTo>
                      <a:pt x="6875" y="2241"/>
                    </a:lnTo>
                    <a:lnTo>
                      <a:pt x="6875" y="1643"/>
                    </a:lnTo>
                    <a:lnTo>
                      <a:pt x="6977" y="1345"/>
                    </a:lnTo>
                    <a:lnTo>
                      <a:pt x="7188" y="1485"/>
                    </a:lnTo>
                    <a:lnTo>
                      <a:pt x="7494" y="1345"/>
                    </a:lnTo>
                    <a:lnTo>
                      <a:pt x="7602" y="747"/>
                    </a:lnTo>
                    <a:lnTo>
                      <a:pt x="7704" y="588"/>
                    </a:lnTo>
                    <a:lnTo>
                      <a:pt x="7704" y="448"/>
                    </a:lnTo>
                    <a:lnTo>
                      <a:pt x="7602" y="448"/>
                    </a:lnTo>
                    <a:lnTo>
                      <a:pt x="7704" y="140"/>
                    </a:lnTo>
                    <a:lnTo>
                      <a:pt x="8119" y="0"/>
                    </a:lnTo>
                    <a:lnTo>
                      <a:pt x="8431" y="140"/>
                    </a:lnTo>
                    <a:cubicBezTo>
                      <a:pt x="8501" y="243"/>
                      <a:pt x="8572" y="345"/>
                      <a:pt x="8642" y="448"/>
                    </a:cubicBezTo>
                    <a:lnTo>
                      <a:pt x="8846" y="1485"/>
                    </a:lnTo>
                    <a:lnTo>
                      <a:pt x="9056" y="1485"/>
                    </a:lnTo>
                    <a:lnTo>
                      <a:pt x="9363" y="1793"/>
                    </a:lnTo>
                    <a:lnTo>
                      <a:pt x="9363" y="2092"/>
                    </a:lnTo>
                    <a:lnTo>
                      <a:pt x="9585" y="2092"/>
                    </a:lnTo>
                    <a:lnTo>
                      <a:pt x="10000" y="1933"/>
                    </a:lnTo>
                    <a:lnTo>
                      <a:pt x="10000" y="2241"/>
                    </a:lnTo>
                    <a:lnTo>
                      <a:pt x="9688" y="3137"/>
                    </a:lnTo>
                    <a:cubicBezTo>
                      <a:pt x="9654" y="3087"/>
                      <a:pt x="9619" y="3038"/>
                      <a:pt x="9585" y="2988"/>
                    </a:cubicBezTo>
                    <a:lnTo>
                      <a:pt x="9363" y="3137"/>
                    </a:lnTo>
                    <a:lnTo>
                      <a:pt x="9483" y="3585"/>
                    </a:lnTo>
                    <a:lnTo>
                      <a:pt x="9363" y="3884"/>
                    </a:lnTo>
                    <a:lnTo>
                      <a:pt x="9261" y="3884"/>
                    </a:lnTo>
                    <a:lnTo>
                      <a:pt x="9056" y="4034"/>
                    </a:lnTo>
                    <a:lnTo>
                      <a:pt x="8948" y="4034"/>
                    </a:lnTo>
                    <a:lnTo>
                      <a:pt x="8846" y="4174"/>
                    </a:lnTo>
                    <a:lnTo>
                      <a:pt x="8744" y="4174"/>
                    </a:lnTo>
                    <a:lnTo>
                      <a:pt x="8329" y="4622"/>
                    </a:lnTo>
                    <a:lnTo>
                      <a:pt x="8329" y="4781"/>
                    </a:lnTo>
                    <a:lnTo>
                      <a:pt x="8119" y="4781"/>
                    </a:lnTo>
                    <a:lnTo>
                      <a:pt x="7806" y="5070"/>
                    </a:lnTo>
                    <a:lnTo>
                      <a:pt x="7806" y="4930"/>
                    </a:lnTo>
                    <a:lnTo>
                      <a:pt x="7806" y="4781"/>
                    </a:lnTo>
                    <a:cubicBezTo>
                      <a:pt x="7842" y="4681"/>
                      <a:pt x="7879" y="4582"/>
                      <a:pt x="7915" y="4482"/>
                    </a:cubicBezTo>
                    <a:cubicBezTo>
                      <a:pt x="7879" y="4432"/>
                      <a:pt x="7842" y="4382"/>
                      <a:pt x="7806" y="4332"/>
                    </a:cubicBezTo>
                    <a:lnTo>
                      <a:pt x="7494" y="4781"/>
                    </a:lnTo>
                    <a:lnTo>
                      <a:pt x="7392" y="4930"/>
                    </a:lnTo>
                    <a:lnTo>
                      <a:pt x="7290" y="4930"/>
                    </a:lnTo>
                    <a:lnTo>
                      <a:pt x="7188" y="5070"/>
                    </a:lnTo>
                    <a:lnTo>
                      <a:pt x="7494" y="5518"/>
                    </a:lnTo>
                    <a:lnTo>
                      <a:pt x="7704" y="5369"/>
                    </a:lnTo>
                    <a:lnTo>
                      <a:pt x="8017" y="5518"/>
                    </a:lnTo>
                    <a:lnTo>
                      <a:pt x="8017" y="5677"/>
                    </a:lnTo>
                    <a:lnTo>
                      <a:pt x="7915" y="5518"/>
                    </a:lnTo>
                    <a:lnTo>
                      <a:pt x="7704" y="5677"/>
                    </a:lnTo>
                    <a:lnTo>
                      <a:pt x="7494" y="6125"/>
                    </a:lnTo>
                    <a:lnTo>
                      <a:pt x="7602" y="6265"/>
                    </a:lnTo>
                    <a:lnTo>
                      <a:pt x="7704" y="6863"/>
                    </a:lnTo>
                    <a:lnTo>
                      <a:pt x="7915" y="7021"/>
                    </a:lnTo>
                    <a:lnTo>
                      <a:pt x="7806" y="7021"/>
                    </a:lnTo>
                    <a:cubicBezTo>
                      <a:pt x="7842" y="7118"/>
                      <a:pt x="7879" y="7214"/>
                      <a:pt x="7915" y="7311"/>
                    </a:cubicBezTo>
                    <a:lnTo>
                      <a:pt x="7602" y="7470"/>
                    </a:lnTo>
                    <a:lnTo>
                      <a:pt x="7915" y="7470"/>
                    </a:lnTo>
                    <a:cubicBezTo>
                      <a:pt x="7879" y="7666"/>
                      <a:pt x="7842" y="7862"/>
                      <a:pt x="7806" y="8058"/>
                    </a:cubicBezTo>
                    <a:lnTo>
                      <a:pt x="7602" y="8366"/>
                    </a:lnTo>
                    <a:lnTo>
                      <a:pt x="7494" y="8366"/>
                    </a:lnTo>
                    <a:lnTo>
                      <a:pt x="7494" y="8655"/>
                    </a:lnTo>
                    <a:lnTo>
                      <a:pt x="7392" y="8954"/>
                    </a:lnTo>
                    <a:lnTo>
                      <a:pt x="7290" y="8954"/>
                    </a:lnTo>
                    <a:lnTo>
                      <a:pt x="7290" y="9104"/>
                    </a:lnTo>
                    <a:lnTo>
                      <a:pt x="6977" y="9402"/>
                    </a:lnTo>
                    <a:lnTo>
                      <a:pt x="6665" y="9402"/>
                    </a:lnTo>
                    <a:lnTo>
                      <a:pt x="6665" y="9552"/>
                    </a:lnTo>
                    <a:lnTo>
                      <a:pt x="6563" y="9402"/>
                    </a:lnTo>
                    <a:lnTo>
                      <a:pt x="6563" y="9552"/>
                    </a:lnTo>
                    <a:lnTo>
                      <a:pt x="6460" y="9552"/>
                    </a:lnTo>
                    <a:lnTo>
                      <a:pt x="6046" y="9851"/>
                    </a:lnTo>
                    <a:lnTo>
                      <a:pt x="5938" y="10000"/>
                    </a:lnTo>
                    <a:lnTo>
                      <a:pt x="5938" y="9711"/>
                    </a:lnTo>
                    <a:lnTo>
                      <a:pt x="5733" y="9711"/>
                    </a:lnTo>
                    <a:lnTo>
                      <a:pt x="5625" y="9711"/>
                    </a:lnTo>
                    <a:lnTo>
                      <a:pt x="5409" y="9711"/>
                    </a:lnTo>
                    <a:lnTo>
                      <a:pt x="5409" y="9402"/>
                    </a:lnTo>
                    <a:lnTo>
                      <a:pt x="5198" y="9402"/>
                    </a:lnTo>
                    <a:lnTo>
                      <a:pt x="4784" y="9552"/>
                    </a:lnTo>
                    <a:cubicBezTo>
                      <a:pt x="4750" y="9502"/>
                      <a:pt x="4715" y="9452"/>
                      <a:pt x="4681" y="9402"/>
                    </a:cubicBezTo>
                    <a:lnTo>
                      <a:pt x="4681" y="9552"/>
                    </a:lnTo>
                    <a:lnTo>
                      <a:pt x="4579" y="9552"/>
                    </a:lnTo>
                    <a:lnTo>
                      <a:pt x="4579" y="9851"/>
                    </a:lnTo>
                    <a:lnTo>
                      <a:pt x="4477" y="9851"/>
                    </a:lnTo>
                    <a:lnTo>
                      <a:pt x="4477" y="9711"/>
                    </a:lnTo>
                    <a:lnTo>
                      <a:pt x="4369" y="9711"/>
                    </a:lnTo>
                    <a:lnTo>
                      <a:pt x="4165" y="9552"/>
                    </a:lnTo>
                    <a:lnTo>
                      <a:pt x="4165" y="9402"/>
                    </a:lnTo>
                    <a:lnTo>
                      <a:pt x="4165" y="9262"/>
                    </a:lnTo>
                    <a:cubicBezTo>
                      <a:pt x="4129" y="9209"/>
                      <a:pt x="4092" y="9157"/>
                      <a:pt x="4056" y="9104"/>
                    </a:cubicBezTo>
                    <a:lnTo>
                      <a:pt x="3954" y="9104"/>
                    </a:lnTo>
                    <a:lnTo>
                      <a:pt x="4056" y="8366"/>
                    </a:lnTo>
                    <a:lnTo>
                      <a:pt x="3954" y="8058"/>
                    </a:lnTo>
                    <a:lnTo>
                      <a:pt x="3852" y="8058"/>
                    </a:lnTo>
                    <a:lnTo>
                      <a:pt x="3642" y="7759"/>
                    </a:lnTo>
                    <a:lnTo>
                      <a:pt x="3438" y="7759"/>
                    </a:lnTo>
                    <a:lnTo>
                      <a:pt x="2915" y="8058"/>
                    </a:lnTo>
                    <a:lnTo>
                      <a:pt x="2608" y="8058"/>
                    </a:lnTo>
                    <a:lnTo>
                      <a:pt x="2500" y="8207"/>
                    </a:lnTo>
                    <a:lnTo>
                      <a:pt x="2398" y="8058"/>
                    </a:lnTo>
                    <a:lnTo>
                      <a:pt x="2296" y="8058"/>
                    </a:lnTo>
                    <a:lnTo>
                      <a:pt x="1983" y="8058"/>
                    </a:lnTo>
                    <a:lnTo>
                      <a:pt x="1773" y="7918"/>
                    </a:lnTo>
                    <a:lnTo>
                      <a:pt x="1671" y="7759"/>
                    </a:lnTo>
                    <a:lnTo>
                      <a:pt x="1556" y="7759"/>
                    </a:lnTo>
                    <a:lnTo>
                      <a:pt x="1346" y="7470"/>
                    </a:lnTo>
                    <a:lnTo>
                      <a:pt x="1142" y="7470"/>
                    </a:lnTo>
                    <a:lnTo>
                      <a:pt x="829" y="7311"/>
                    </a:lnTo>
                    <a:lnTo>
                      <a:pt x="727" y="6863"/>
                    </a:lnTo>
                    <a:lnTo>
                      <a:pt x="931" y="6863"/>
                    </a:lnTo>
                    <a:lnTo>
                      <a:pt x="829" y="6573"/>
                    </a:lnTo>
                    <a:cubicBezTo>
                      <a:pt x="897" y="6470"/>
                      <a:pt x="966" y="6368"/>
                      <a:pt x="1034" y="6265"/>
                    </a:cubicBezTo>
                    <a:lnTo>
                      <a:pt x="1034" y="5966"/>
                    </a:lnTo>
                    <a:cubicBezTo>
                      <a:pt x="1000" y="5916"/>
                      <a:pt x="965" y="5867"/>
                      <a:pt x="931" y="5817"/>
                    </a:cubicBezTo>
                    <a:lnTo>
                      <a:pt x="673" y="5821"/>
                    </a:lnTo>
                    <a:cubicBezTo>
                      <a:pt x="615" y="5623"/>
                      <a:pt x="360" y="5739"/>
                      <a:pt x="302" y="5541"/>
                    </a:cubicBezTo>
                    <a:lnTo>
                      <a:pt x="102" y="5518"/>
                    </a:lnTo>
                    <a:lnTo>
                      <a:pt x="216" y="5243"/>
                    </a:lnTo>
                    <a:cubicBezTo>
                      <a:pt x="212" y="5185"/>
                      <a:pt x="208" y="5128"/>
                      <a:pt x="204" y="5070"/>
                    </a:cubicBezTo>
                    <a:lnTo>
                      <a:pt x="0" y="5070"/>
                    </a:lnTo>
                    <a:lnTo>
                      <a:pt x="0" y="4622"/>
                    </a:lnTo>
                    <a:lnTo>
                      <a:pt x="204" y="4482"/>
                    </a:lnTo>
                    <a:lnTo>
                      <a:pt x="415" y="4482"/>
                    </a:lnTo>
                    <a:lnTo>
                      <a:pt x="517" y="4332"/>
                    </a:lnTo>
                    <a:lnTo>
                      <a:pt x="727" y="4332"/>
                    </a:lnTo>
                    <a:lnTo>
                      <a:pt x="1034" y="4034"/>
                    </a:lnTo>
                    <a:lnTo>
                      <a:pt x="1142" y="3725"/>
                    </a:lnTo>
                    <a:lnTo>
                      <a:pt x="1034" y="3137"/>
                    </a:lnTo>
                    <a:lnTo>
                      <a:pt x="1034" y="2988"/>
                    </a:lnTo>
                    <a:lnTo>
                      <a:pt x="1346" y="2988"/>
                    </a:lnTo>
                    <a:lnTo>
                      <a:pt x="1454" y="2381"/>
                    </a:lnTo>
                    <a:lnTo>
                      <a:pt x="1773" y="2381"/>
                    </a:lnTo>
                    <a:lnTo>
                      <a:pt x="1881" y="2381"/>
                    </a:lnTo>
                    <a:lnTo>
                      <a:pt x="1983" y="1933"/>
                    </a:lnTo>
                    <a:lnTo>
                      <a:pt x="2085" y="179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9" name="Freeform 166">
                <a:extLst>
                  <a:ext uri="{FF2B5EF4-FFF2-40B4-BE49-F238E27FC236}">
                    <a16:creationId xmlns:a16="http://schemas.microsoft.com/office/drawing/2014/main" id="{668C89FB-7315-4A58-BAC0-56B5B9DBB4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43788" y="2896434"/>
                <a:ext cx="42673" cy="40907"/>
              </a:xfrm>
              <a:custGeom>
                <a:avLst/>
                <a:gdLst>
                  <a:gd name="T0" fmla="*/ 0 w 52"/>
                  <a:gd name="T1" fmla="*/ 9525 h 48"/>
                  <a:gd name="T2" fmla="*/ 0 w 52"/>
                  <a:gd name="T3" fmla="*/ 9525 h 48"/>
                  <a:gd name="T4" fmla="*/ 10319 w 52"/>
                  <a:gd name="T5" fmla="*/ 0 h 48"/>
                  <a:gd name="T6" fmla="*/ 7144 w 52"/>
                  <a:gd name="T7" fmla="*/ 3969 h 48"/>
                  <a:gd name="T8" fmla="*/ 0 w 52"/>
                  <a:gd name="T9" fmla="*/ 9525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2"/>
                  <a:gd name="T16" fmla="*/ 0 h 48"/>
                  <a:gd name="T17" fmla="*/ 52 w 52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2" h="48">
                    <a:moveTo>
                      <a:pt x="0" y="48"/>
                    </a:moveTo>
                    <a:lnTo>
                      <a:pt x="0" y="48"/>
                    </a:lnTo>
                    <a:lnTo>
                      <a:pt x="52" y="0"/>
                    </a:lnTo>
                    <a:lnTo>
                      <a:pt x="35" y="17"/>
                    </a:lnTo>
                    <a:lnTo>
                      <a:pt x="0" y="48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0" name="Line 167">
                <a:extLst>
                  <a:ext uri="{FF2B5EF4-FFF2-40B4-BE49-F238E27FC236}">
                    <a16:creationId xmlns:a16="http://schemas.microsoft.com/office/drawing/2014/main" id="{CCF93D66-956C-4161-9F20-CEA8673E1B6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120811" y="2945862"/>
                <a:ext cx="14772" cy="40907"/>
              </a:xfrm>
              <a:prstGeom prst="line">
                <a:avLst/>
              </a:pr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1" name="Freeform 169">
                <a:extLst>
                  <a:ext uri="{FF2B5EF4-FFF2-40B4-BE49-F238E27FC236}">
                    <a16:creationId xmlns:a16="http://schemas.microsoft.com/office/drawing/2014/main" id="{16C1DA85-49FA-4AB3-A1FA-F2134E186D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19304" y="2691902"/>
                <a:ext cx="712299" cy="327249"/>
              </a:xfrm>
              <a:custGeom>
                <a:avLst/>
                <a:gdLst>
                  <a:gd name="T0" fmla="*/ 113637 w 867"/>
                  <a:gd name="T1" fmla="*/ 19050 h 384"/>
                  <a:gd name="T2" fmla="*/ 113637 w 867"/>
                  <a:gd name="T3" fmla="*/ 19050 h 384"/>
                  <a:gd name="T4" fmla="*/ 92976 w 867"/>
                  <a:gd name="T5" fmla="*/ 9525 h 384"/>
                  <a:gd name="T6" fmla="*/ 86619 w 867"/>
                  <a:gd name="T7" fmla="*/ 13494 h 384"/>
                  <a:gd name="T8" fmla="*/ 82645 w 867"/>
                  <a:gd name="T9" fmla="*/ 13494 h 384"/>
                  <a:gd name="T10" fmla="*/ 76288 w 867"/>
                  <a:gd name="T11" fmla="*/ 3969 h 384"/>
                  <a:gd name="T12" fmla="*/ 62779 w 867"/>
                  <a:gd name="T13" fmla="*/ 0 h 384"/>
                  <a:gd name="T14" fmla="*/ 55627 w 867"/>
                  <a:gd name="T15" fmla="*/ 3969 h 384"/>
                  <a:gd name="T16" fmla="*/ 55627 w 867"/>
                  <a:gd name="T17" fmla="*/ 9525 h 384"/>
                  <a:gd name="T18" fmla="*/ 55627 w 867"/>
                  <a:gd name="T19" fmla="*/ 16669 h 384"/>
                  <a:gd name="T20" fmla="*/ 41323 w 867"/>
                  <a:gd name="T21" fmla="*/ 16669 h 384"/>
                  <a:gd name="T22" fmla="*/ 34965 w 867"/>
                  <a:gd name="T23" fmla="*/ 13494 h 384"/>
                  <a:gd name="T24" fmla="*/ 20661 w 867"/>
                  <a:gd name="T25" fmla="*/ 9525 h 384"/>
                  <a:gd name="T26" fmla="*/ 3973 w 867"/>
                  <a:gd name="T27" fmla="*/ 19050 h 384"/>
                  <a:gd name="T28" fmla="*/ 0 w 867"/>
                  <a:gd name="T29" fmla="*/ 22225 h 384"/>
                  <a:gd name="T30" fmla="*/ 7152 w 867"/>
                  <a:gd name="T31" fmla="*/ 32544 h 384"/>
                  <a:gd name="T32" fmla="*/ 14304 w 867"/>
                  <a:gd name="T33" fmla="*/ 32544 h 384"/>
                  <a:gd name="T34" fmla="*/ 17483 w 867"/>
                  <a:gd name="T35" fmla="*/ 38100 h 384"/>
                  <a:gd name="T36" fmla="*/ 17483 w 867"/>
                  <a:gd name="T37" fmla="*/ 51594 h 384"/>
                  <a:gd name="T38" fmla="*/ 38144 w 867"/>
                  <a:gd name="T39" fmla="*/ 57150 h 384"/>
                  <a:gd name="T40" fmla="*/ 48475 w 867"/>
                  <a:gd name="T41" fmla="*/ 66675 h 384"/>
                  <a:gd name="T42" fmla="*/ 69136 w 867"/>
                  <a:gd name="T43" fmla="*/ 66675 h 384"/>
                  <a:gd name="T44" fmla="*/ 79467 w 867"/>
                  <a:gd name="T45" fmla="*/ 73819 h 384"/>
                  <a:gd name="T46" fmla="*/ 92976 w 867"/>
                  <a:gd name="T47" fmla="*/ 76200 h 384"/>
                  <a:gd name="T48" fmla="*/ 107280 w 867"/>
                  <a:gd name="T49" fmla="*/ 70644 h 384"/>
                  <a:gd name="T50" fmla="*/ 120789 w 867"/>
                  <a:gd name="T51" fmla="*/ 70644 h 384"/>
                  <a:gd name="T52" fmla="*/ 131120 w 867"/>
                  <a:gd name="T53" fmla="*/ 61119 h 384"/>
                  <a:gd name="T54" fmla="*/ 127941 w 867"/>
                  <a:gd name="T55" fmla="*/ 57150 h 384"/>
                  <a:gd name="T56" fmla="*/ 135093 w 867"/>
                  <a:gd name="T57" fmla="*/ 51594 h 384"/>
                  <a:gd name="T58" fmla="*/ 141450 w 867"/>
                  <a:gd name="T59" fmla="*/ 54769 h 384"/>
                  <a:gd name="T60" fmla="*/ 151781 w 867"/>
                  <a:gd name="T61" fmla="*/ 47625 h 384"/>
                  <a:gd name="T62" fmla="*/ 158933 w 867"/>
                  <a:gd name="T63" fmla="*/ 41275 h 384"/>
                  <a:gd name="T64" fmla="*/ 172442 w 867"/>
                  <a:gd name="T65" fmla="*/ 41275 h 384"/>
                  <a:gd name="T66" fmla="*/ 169264 w 867"/>
                  <a:gd name="T67" fmla="*/ 35719 h 384"/>
                  <a:gd name="T68" fmla="*/ 166085 w 867"/>
                  <a:gd name="T69" fmla="*/ 32544 h 384"/>
                  <a:gd name="T70" fmla="*/ 158933 w 867"/>
                  <a:gd name="T71" fmla="*/ 35719 h 384"/>
                  <a:gd name="T72" fmla="*/ 151781 w 867"/>
                  <a:gd name="T73" fmla="*/ 35719 h 384"/>
                  <a:gd name="T74" fmla="*/ 151781 w 867"/>
                  <a:gd name="T75" fmla="*/ 22225 h 384"/>
                  <a:gd name="T76" fmla="*/ 155754 w 867"/>
                  <a:gd name="T77" fmla="*/ 16669 h 384"/>
                  <a:gd name="T78" fmla="*/ 145424 w 867"/>
                  <a:gd name="T79" fmla="*/ 13494 h 384"/>
                  <a:gd name="T80" fmla="*/ 138272 w 867"/>
                  <a:gd name="T81" fmla="*/ 19050 h 384"/>
                  <a:gd name="T82" fmla="*/ 123968 w 867"/>
                  <a:gd name="T83" fmla="*/ 22225 h 384"/>
                  <a:gd name="T84" fmla="*/ 113637 w 867"/>
                  <a:gd name="T85" fmla="*/ 19050 h 384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867"/>
                  <a:gd name="T130" fmla="*/ 0 h 384"/>
                  <a:gd name="T131" fmla="*/ 867 w 867"/>
                  <a:gd name="T132" fmla="*/ 384 h 384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867" h="384">
                    <a:moveTo>
                      <a:pt x="572" y="96"/>
                    </a:moveTo>
                    <a:lnTo>
                      <a:pt x="572" y="96"/>
                    </a:lnTo>
                    <a:lnTo>
                      <a:pt x="468" y="48"/>
                    </a:lnTo>
                    <a:lnTo>
                      <a:pt x="434" y="65"/>
                    </a:lnTo>
                    <a:lnTo>
                      <a:pt x="416" y="65"/>
                    </a:lnTo>
                    <a:lnTo>
                      <a:pt x="382" y="17"/>
                    </a:lnTo>
                    <a:lnTo>
                      <a:pt x="313" y="0"/>
                    </a:lnTo>
                    <a:lnTo>
                      <a:pt x="278" y="17"/>
                    </a:lnTo>
                    <a:lnTo>
                      <a:pt x="278" y="48"/>
                    </a:lnTo>
                    <a:lnTo>
                      <a:pt x="278" y="81"/>
                    </a:lnTo>
                    <a:lnTo>
                      <a:pt x="207" y="81"/>
                    </a:lnTo>
                    <a:lnTo>
                      <a:pt x="173" y="65"/>
                    </a:lnTo>
                    <a:lnTo>
                      <a:pt x="103" y="48"/>
                    </a:lnTo>
                    <a:lnTo>
                      <a:pt x="17" y="96"/>
                    </a:lnTo>
                    <a:lnTo>
                      <a:pt x="0" y="113"/>
                    </a:lnTo>
                    <a:lnTo>
                      <a:pt x="34" y="161"/>
                    </a:lnTo>
                    <a:lnTo>
                      <a:pt x="69" y="161"/>
                    </a:lnTo>
                    <a:lnTo>
                      <a:pt x="86" y="192"/>
                    </a:lnTo>
                    <a:lnTo>
                      <a:pt x="86" y="257"/>
                    </a:lnTo>
                    <a:lnTo>
                      <a:pt x="190" y="288"/>
                    </a:lnTo>
                    <a:lnTo>
                      <a:pt x="244" y="336"/>
                    </a:lnTo>
                    <a:lnTo>
                      <a:pt x="347" y="336"/>
                    </a:lnTo>
                    <a:lnTo>
                      <a:pt x="399" y="369"/>
                    </a:lnTo>
                    <a:lnTo>
                      <a:pt x="468" y="384"/>
                    </a:lnTo>
                    <a:lnTo>
                      <a:pt x="537" y="353"/>
                    </a:lnTo>
                    <a:lnTo>
                      <a:pt x="606" y="353"/>
                    </a:lnTo>
                    <a:lnTo>
                      <a:pt x="660" y="305"/>
                    </a:lnTo>
                    <a:lnTo>
                      <a:pt x="641" y="288"/>
                    </a:lnTo>
                    <a:lnTo>
                      <a:pt x="677" y="257"/>
                    </a:lnTo>
                    <a:lnTo>
                      <a:pt x="712" y="273"/>
                    </a:lnTo>
                    <a:lnTo>
                      <a:pt x="764" y="240"/>
                    </a:lnTo>
                    <a:lnTo>
                      <a:pt x="798" y="209"/>
                    </a:lnTo>
                    <a:lnTo>
                      <a:pt x="867" y="209"/>
                    </a:lnTo>
                    <a:lnTo>
                      <a:pt x="850" y="177"/>
                    </a:lnTo>
                    <a:lnTo>
                      <a:pt x="833" y="161"/>
                    </a:lnTo>
                    <a:lnTo>
                      <a:pt x="798" y="177"/>
                    </a:lnTo>
                    <a:lnTo>
                      <a:pt x="764" y="177"/>
                    </a:lnTo>
                    <a:lnTo>
                      <a:pt x="764" y="113"/>
                    </a:lnTo>
                    <a:lnTo>
                      <a:pt x="781" y="81"/>
                    </a:lnTo>
                    <a:lnTo>
                      <a:pt x="729" y="65"/>
                    </a:lnTo>
                    <a:lnTo>
                      <a:pt x="695" y="96"/>
                    </a:lnTo>
                    <a:lnTo>
                      <a:pt x="624" y="113"/>
                    </a:lnTo>
                    <a:lnTo>
                      <a:pt x="572" y="9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2" name="Freeform 189">
                <a:extLst>
                  <a:ext uri="{FF2B5EF4-FFF2-40B4-BE49-F238E27FC236}">
                    <a16:creationId xmlns:a16="http://schemas.microsoft.com/office/drawing/2014/main" id="{0CF5FDF2-BFC8-4742-ABF0-0955A2EC00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64681" y="3034491"/>
                <a:ext cx="172332" cy="122719"/>
              </a:xfrm>
              <a:custGeom>
                <a:avLst/>
                <a:gdLst>
                  <a:gd name="T0" fmla="*/ 35092 w 209"/>
                  <a:gd name="T1" fmla="*/ 9525 h 144"/>
                  <a:gd name="T2" fmla="*/ 35092 w 209"/>
                  <a:gd name="T3" fmla="*/ 9525 h 144"/>
                  <a:gd name="T4" fmla="*/ 35092 w 209"/>
                  <a:gd name="T5" fmla="*/ 15081 h 144"/>
                  <a:gd name="T6" fmla="*/ 42270 w 209"/>
                  <a:gd name="T7" fmla="*/ 15081 h 144"/>
                  <a:gd name="T8" fmla="*/ 42270 w 209"/>
                  <a:gd name="T9" fmla="*/ 24606 h 144"/>
                  <a:gd name="T10" fmla="*/ 31902 w 209"/>
                  <a:gd name="T11" fmla="*/ 21431 h 144"/>
                  <a:gd name="T12" fmla="*/ 24724 w 209"/>
                  <a:gd name="T13" fmla="*/ 28575 h 144"/>
                  <a:gd name="T14" fmla="*/ 21534 w 209"/>
                  <a:gd name="T15" fmla="*/ 19050 h 144"/>
                  <a:gd name="T16" fmla="*/ 17546 w 209"/>
                  <a:gd name="T17" fmla="*/ 15081 h 144"/>
                  <a:gd name="T18" fmla="*/ 14356 w 209"/>
                  <a:gd name="T19" fmla="*/ 21431 h 144"/>
                  <a:gd name="T20" fmla="*/ 11166 w 209"/>
                  <a:gd name="T21" fmla="*/ 21431 h 144"/>
                  <a:gd name="T22" fmla="*/ 11166 w 209"/>
                  <a:gd name="T23" fmla="*/ 24606 h 144"/>
                  <a:gd name="T24" fmla="*/ 3988 w 209"/>
                  <a:gd name="T25" fmla="*/ 24606 h 144"/>
                  <a:gd name="T26" fmla="*/ 0 w 209"/>
                  <a:gd name="T27" fmla="*/ 24606 h 144"/>
                  <a:gd name="T28" fmla="*/ 3988 w 209"/>
                  <a:gd name="T29" fmla="*/ 19050 h 144"/>
                  <a:gd name="T30" fmla="*/ 3988 w 209"/>
                  <a:gd name="T31" fmla="*/ 12700 h 144"/>
                  <a:gd name="T32" fmla="*/ 0 w 209"/>
                  <a:gd name="T33" fmla="*/ 9525 h 144"/>
                  <a:gd name="T34" fmla="*/ 7178 w 209"/>
                  <a:gd name="T35" fmla="*/ 9525 h 144"/>
                  <a:gd name="T36" fmla="*/ 11166 w 209"/>
                  <a:gd name="T37" fmla="*/ 3175 h 144"/>
                  <a:gd name="T38" fmla="*/ 11166 w 209"/>
                  <a:gd name="T39" fmla="*/ 0 h 144"/>
                  <a:gd name="T40" fmla="*/ 17546 w 209"/>
                  <a:gd name="T41" fmla="*/ 0 h 144"/>
                  <a:gd name="T42" fmla="*/ 17546 w 209"/>
                  <a:gd name="T43" fmla="*/ 3175 h 144"/>
                  <a:gd name="T44" fmla="*/ 17546 w 209"/>
                  <a:gd name="T45" fmla="*/ 5556 h 144"/>
                  <a:gd name="T46" fmla="*/ 11166 w 209"/>
                  <a:gd name="T47" fmla="*/ 5556 h 144"/>
                  <a:gd name="T48" fmla="*/ 11166 w 209"/>
                  <a:gd name="T49" fmla="*/ 9525 h 144"/>
                  <a:gd name="T50" fmla="*/ 21534 w 209"/>
                  <a:gd name="T51" fmla="*/ 9525 h 144"/>
                  <a:gd name="T52" fmla="*/ 24724 w 209"/>
                  <a:gd name="T53" fmla="*/ 9525 h 144"/>
                  <a:gd name="T54" fmla="*/ 35092 w 209"/>
                  <a:gd name="T55" fmla="*/ 9525 h 14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209"/>
                  <a:gd name="T85" fmla="*/ 0 h 144"/>
                  <a:gd name="T86" fmla="*/ 209 w 209"/>
                  <a:gd name="T87" fmla="*/ 144 h 144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209" h="144">
                    <a:moveTo>
                      <a:pt x="175" y="48"/>
                    </a:moveTo>
                    <a:lnTo>
                      <a:pt x="175" y="48"/>
                    </a:lnTo>
                    <a:lnTo>
                      <a:pt x="175" y="79"/>
                    </a:lnTo>
                    <a:lnTo>
                      <a:pt x="209" y="79"/>
                    </a:lnTo>
                    <a:lnTo>
                      <a:pt x="209" y="127"/>
                    </a:lnTo>
                    <a:lnTo>
                      <a:pt x="157" y="111"/>
                    </a:lnTo>
                    <a:lnTo>
                      <a:pt x="123" y="144"/>
                    </a:lnTo>
                    <a:lnTo>
                      <a:pt x="106" y="96"/>
                    </a:lnTo>
                    <a:lnTo>
                      <a:pt x="88" y="79"/>
                    </a:lnTo>
                    <a:lnTo>
                      <a:pt x="71" y="111"/>
                    </a:lnTo>
                    <a:lnTo>
                      <a:pt x="54" y="111"/>
                    </a:lnTo>
                    <a:lnTo>
                      <a:pt x="54" y="127"/>
                    </a:lnTo>
                    <a:lnTo>
                      <a:pt x="17" y="127"/>
                    </a:lnTo>
                    <a:lnTo>
                      <a:pt x="0" y="127"/>
                    </a:lnTo>
                    <a:lnTo>
                      <a:pt x="17" y="96"/>
                    </a:lnTo>
                    <a:lnTo>
                      <a:pt x="17" y="64"/>
                    </a:lnTo>
                    <a:lnTo>
                      <a:pt x="0" y="48"/>
                    </a:lnTo>
                    <a:lnTo>
                      <a:pt x="35" y="48"/>
                    </a:lnTo>
                    <a:lnTo>
                      <a:pt x="54" y="16"/>
                    </a:lnTo>
                    <a:lnTo>
                      <a:pt x="54" y="0"/>
                    </a:lnTo>
                    <a:lnTo>
                      <a:pt x="88" y="0"/>
                    </a:lnTo>
                    <a:lnTo>
                      <a:pt x="88" y="16"/>
                    </a:lnTo>
                    <a:lnTo>
                      <a:pt x="88" y="31"/>
                    </a:lnTo>
                    <a:lnTo>
                      <a:pt x="54" y="31"/>
                    </a:lnTo>
                    <a:lnTo>
                      <a:pt x="54" y="48"/>
                    </a:lnTo>
                    <a:lnTo>
                      <a:pt x="106" y="48"/>
                    </a:lnTo>
                    <a:lnTo>
                      <a:pt x="123" y="48"/>
                    </a:lnTo>
                    <a:lnTo>
                      <a:pt x="175" y="4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3" name="Freeform 190">
                <a:extLst>
                  <a:ext uri="{FF2B5EF4-FFF2-40B4-BE49-F238E27FC236}">
                    <a16:creationId xmlns:a16="http://schemas.microsoft.com/office/drawing/2014/main" id="{BA634127-BF08-4876-AC23-5B62E87245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08994" y="2964609"/>
                <a:ext cx="242905" cy="110789"/>
              </a:xfrm>
              <a:custGeom>
                <a:avLst/>
                <a:gdLst>
                  <a:gd name="T0" fmla="*/ 58937 w 295"/>
                  <a:gd name="T1" fmla="*/ 6449 h 128"/>
                  <a:gd name="T2" fmla="*/ 58937 w 295"/>
                  <a:gd name="T3" fmla="*/ 6449 h 128"/>
                  <a:gd name="T4" fmla="*/ 58937 w 295"/>
                  <a:gd name="T5" fmla="*/ 9674 h 128"/>
                  <a:gd name="T6" fmla="*/ 48583 w 295"/>
                  <a:gd name="T7" fmla="*/ 16929 h 128"/>
                  <a:gd name="T8" fmla="*/ 41415 w 295"/>
                  <a:gd name="T9" fmla="*/ 16929 h 128"/>
                  <a:gd name="T10" fmla="*/ 38229 w 295"/>
                  <a:gd name="T11" fmla="*/ 20154 h 128"/>
                  <a:gd name="T12" fmla="*/ 31061 w 295"/>
                  <a:gd name="T13" fmla="*/ 20154 h 128"/>
                  <a:gd name="T14" fmla="*/ 24690 w 295"/>
                  <a:gd name="T15" fmla="*/ 22572 h 128"/>
                  <a:gd name="T16" fmla="*/ 24690 w 295"/>
                  <a:gd name="T17" fmla="*/ 26603 h 128"/>
                  <a:gd name="T18" fmla="*/ 14336 w 295"/>
                  <a:gd name="T19" fmla="*/ 26603 h 128"/>
                  <a:gd name="T20" fmla="*/ 10354 w 295"/>
                  <a:gd name="T21" fmla="*/ 26603 h 128"/>
                  <a:gd name="T22" fmla="*/ 0 w 295"/>
                  <a:gd name="T23" fmla="*/ 26603 h 128"/>
                  <a:gd name="T24" fmla="*/ 0 w 295"/>
                  <a:gd name="T25" fmla="*/ 22572 h 128"/>
                  <a:gd name="T26" fmla="*/ 7168 w 295"/>
                  <a:gd name="T27" fmla="*/ 22572 h 128"/>
                  <a:gd name="T28" fmla="*/ 7168 w 295"/>
                  <a:gd name="T29" fmla="*/ 20154 h 128"/>
                  <a:gd name="T30" fmla="*/ 14336 w 295"/>
                  <a:gd name="T31" fmla="*/ 20154 h 128"/>
                  <a:gd name="T32" fmla="*/ 20707 w 295"/>
                  <a:gd name="T33" fmla="*/ 16929 h 128"/>
                  <a:gd name="T34" fmla="*/ 14336 w 295"/>
                  <a:gd name="T35" fmla="*/ 12899 h 128"/>
                  <a:gd name="T36" fmla="*/ 10354 w 295"/>
                  <a:gd name="T37" fmla="*/ 12899 h 128"/>
                  <a:gd name="T38" fmla="*/ 3982 w 295"/>
                  <a:gd name="T39" fmla="*/ 12899 h 128"/>
                  <a:gd name="T40" fmla="*/ 10354 w 295"/>
                  <a:gd name="T41" fmla="*/ 6449 h 128"/>
                  <a:gd name="T42" fmla="*/ 7168 w 295"/>
                  <a:gd name="T43" fmla="*/ 6449 h 128"/>
                  <a:gd name="T44" fmla="*/ 10354 w 295"/>
                  <a:gd name="T45" fmla="*/ 3225 h 128"/>
                  <a:gd name="T46" fmla="*/ 20707 w 295"/>
                  <a:gd name="T47" fmla="*/ 6449 h 128"/>
                  <a:gd name="T48" fmla="*/ 20707 w 295"/>
                  <a:gd name="T49" fmla="*/ 3225 h 128"/>
                  <a:gd name="T50" fmla="*/ 24690 w 295"/>
                  <a:gd name="T51" fmla="*/ 0 h 128"/>
                  <a:gd name="T52" fmla="*/ 31061 w 295"/>
                  <a:gd name="T53" fmla="*/ 3225 h 128"/>
                  <a:gd name="T54" fmla="*/ 51769 w 295"/>
                  <a:gd name="T55" fmla="*/ 3225 h 128"/>
                  <a:gd name="T56" fmla="*/ 58937 w 295"/>
                  <a:gd name="T57" fmla="*/ 6449 h 128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295"/>
                  <a:gd name="T88" fmla="*/ 0 h 128"/>
                  <a:gd name="T89" fmla="*/ 295 w 295"/>
                  <a:gd name="T90" fmla="*/ 128 h 128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295" h="128">
                    <a:moveTo>
                      <a:pt x="295" y="32"/>
                    </a:moveTo>
                    <a:lnTo>
                      <a:pt x="295" y="32"/>
                    </a:lnTo>
                    <a:lnTo>
                      <a:pt x="295" y="48"/>
                    </a:lnTo>
                    <a:lnTo>
                      <a:pt x="242" y="80"/>
                    </a:lnTo>
                    <a:lnTo>
                      <a:pt x="207" y="80"/>
                    </a:lnTo>
                    <a:lnTo>
                      <a:pt x="190" y="96"/>
                    </a:lnTo>
                    <a:lnTo>
                      <a:pt x="155" y="96"/>
                    </a:lnTo>
                    <a:lnTo>
                      <a:pt x="121" y="111"/>
                    </a:lnTo>
                    <a:lnTo>
                      <a:pt x="121" y="128"/>
                    </a:lnTo>
                    <a:lnTo>
                      <a:pt x="69" y="128"/>
                    </a:lnTo>
                    <a:lnTo>
                      <a:pt x="52" y="128"/>
                    </a:lnTo>
                    <a:lnTo>
                      <a:pt x="0" y="128"/>
                    </a:lnTo>
                    <a:lnTo>
                      <a:pt x="0" y="111"/>
                    </a:lnTo>
                    <a:lnTo>
                      <a:pt x="34" y="111"/>
                    </a:lnTo>
                    <a:lnTo>
                      <a:pt x="34" y="96"/>
                    </a:lnTo>
                    <a:lnTo>
                      <a:pt x="69" y="96"/>
                    </a:lnTo>
                    <a:lnTo>
                      <a:pt x="103" y="80"/>
                    </a:lnTo>
                    <a:lnTo>
                      <a:pt x="69" y="63"/>
                    </a:lnTo>
                    <a:lnTo>
                      <a:pt x="52" y="63"/>
                    </a:lnTo>
                    <a:lnTo>
                      <a:pt x="17" y="63"/>
                    </a:lnTo>
                    <a:lnTo>
                      <a:pt x="52" y="32"/>
                    </a:lnTo>
                    <a:lnTo>
                      <a:pt x="34" y="32"/>
                    </a:lnTo>
                    <a:lnTo>
                      <a:pt x="52" y="15"/>
                    </a:lnTo>
                    <a:lnTo>
                      <a:pt x="103" y="32"/>
                    </a:lnTo>
                    <a:lnTo>
                      <a:pt x="103" y="15"/>
                    </a:lnTo>
                    <a:lnTo>
                      <a:pt x="121" y="0"/>
                    </a:lnTo>
                    <a:lnTo>
                      <a:pt x="155" y="15"/>
                    </a:lnTo>
                    <a:lnTo>
                      <a:pt x="259" y="15"/>
                    </a:lnTo>
                    <a:lnTo>
                      <a:pt x="295" y="3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4" name="Freeform 315">
                <a:extLst>
                  <a:ext uri="{FF2B5EF4-FFF2-40B4-BE49-F238E27FC236}">
                    <a16:creationId xmlns:a16="http://schemas.microsoft.com/office/drawing/2014/main" id="{390B6286-ADD1-4E42-BA61-A95CD8879E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81092" y="3129936"/>
                <a:ext cx="651574" cy="693702"/>
              </a:xfrm>
              <a:custGeom>
                <a:avLst/>
                <a:gdLst>
                  <a:gd name="connsiteX0" fmla="*/ 9144 w 10000"/>
                  <a:gd name="connsiteY0" fmla="*/ 3307 h 10599"/>
                  <a:gd name="connsiteX1" fmla="*/ 9144 w 10000"/>
                  <a:gd name="connsiteY1" fmla="*/ 3307 h 10599"/>
                  <a:gd name="connsiteX2" fmla="*/ 9572 w 10000"/>
                  <a:gd name="connsiteY2" fmla="*/ 3307 h 10599"/>
                  <a:gd name="connsiteX3" fmla="*/ 10000 w 10000"/>
                  <a:gd name="connsiteY3" fmla="*/ 3724 h 10599"/>
                  <a:gd name="connsiteX4" fmla="*/ 10000 w 10000"/>
                  <a:gd name="connsiteY4" fmla="*/ 4167 h 10599"/>
                  <a:gd name="connsiteX5" fmla="*/ 9572 w 10000"/>
                  <a:gd name="connsiteY5" fmla="*/ 4167 h 10599"/>
                  <a:gd name="connsiteX6" fmla="*/ 9345 w 10000"/>
                  <a:gd name="connsiteY6" fmla="*/ 4349 h 10599"/>
                  <a:gd name="connsiteX7" fmla="*/ 8917 w 10000"/>
                  <a:gd name="connsiteY7" fmla="*/ 5182 h 10599"/>
                  <a:gd name="connsiteX8" fmla="*/ 8690 w 10000"/>
                  <a:gd name="connsiteY8" fmla="*/ 5417 h 10599"/>
                  <a:gd name="connsiteX9" fmla="*/ 8489 w 10000"/>
                  <a:gd name="connsiteY9" fmla="*/ 5807 h 10599"/>
                  <a:gd name="connsiteX10" fmla="*/ 8489 w 10000"/>
                  <a:gd name="connsiteY10" fmla="*/ 6042 h 10599"/>
                  <a:gd name="connsiteX11" fmla="*/ 8262 w 10000"/>
                  <a:gd name="connsiteY11" fmla="*/ 5417 h 10599"/>
                  <a:gd name="connsiteX12" fmla="*/ 8262 w 10000"/>
                  <a:gd name="connsiteY12" fmla="*/ 5182 h 10599"/>
                  <a:gd name="connsiteX13" fmla="*/ 8035 w 10000"/>
                  <a:gd name="connsiteY13" fmla="*/ 5417 h 10599"/>
                  <a:gd name="connsiteX14" fmla="*/ 7834 w 10000"/>
                  <a:gd name="connsiteY14" fmla="*/ 5417 h 10599"/>
                  <a:gd name="connsiteX15" fmla="*/ 7834 w 10000"/>
                  <a:gd name="connsiteY15" fmla="*/ 5182 h 10599"/>
                  <a:gd name="connsiteX16" fmla="*/ 8262 w 10000"/>
                  <a:gd name="connsiteY16" fmla="*/ 4792 h 10599"/>
                  <a:gd name="connsiteX17" fmla="*/ 7406 w 10000"/>
                  <a:gd name="connsiteY17" fmla="*/ 4792 h 10599"/>
                  <a:gd name="connsiteX18" fmla="*/ 7406 w 10000"/>
                  <a:gd name="connsiteY18" fmla="*/ 4349 h 10599"/>
                  <a:gd name="connsiteX19" fmla="*/ 7179 w 10000"/>
                  <a:gd name="connsiteY19" fmla="*/ 4349 h 10599"/>
                  <a:gd name="connsiteX20" fmla="*/ 6952 w 10000"/>
                  <a:gd name="connsiteY20" fmla="*/ 4349 h 10599"/>
                  <a:gd name="connsiteX21" fmla="*/ 6952 w 10000"/>
                  <a:gd name="connsiteY21" fmla="*/ 4557 h 10599"/>
                  <a:gd name="connsiteX22" fmla="*/ 6751 w 10000"/>
                  <a:gd name="connsiteY22" fmla="*/ 4974 h 10599"/>
                  <a:gd name="connsiteX23" fmla="*/ 6952 w 10000"/>
                  <a:gd name="connsiteY23" fmla="*/ 4974 h 10599"/>
                  <a:gd name="connsiteX24" fmla="*/ 7179 w 10000"/>
                  <a:gd name="connsiteY24" fmla="*/ 6042 h 10599"/>
                  <a:gd name="connsiteX25" fmla="*/ 6952 w 10000"/>
                  <a:gd name="connsiteY25" fmla="*/ 6042 h 10599"/>
                  <a:gd name="connsiteX26" fmla="*/ 6952 w 10000"/>
                  <a:gd name="connsiteY26" fmla="*/ 5807 h 10599"/>
                  <a:gd name="connsiteX27" fmla="*/ 6524 w 10000"/>
                  <a:gd name="connsiteY27" fmla="*/ 6042 h 10599"/>
                  <a:gd name="connsiteX28" fmla="*/ 6297 w 10000"/>
                  <a:gd name="connsiteY28" fmla="*/ 6667 h 10599"/>
                  <a:gd name="connsiteX29" fmla="*/ 5869 w 10000"/>
                  <a:gd name="connsiteY29" fmla="*/ 6849 h 10599"/>
                  <a:gd name="connsiteX30" fmla="*/ 4786 w 10000"/>
                  <a:gd name="connsiteY30" fmla="*/ 7682 h 10599"/>
                  <a:gd name="connsiteX31" fmla="*/ 4786 w 10000"/>
                  <a:gd name="connsiteY31" fmla="*/ 7917 h 10599"/>
                  <a:gd name="connsiteX32" fmla="*/ 4559 w 10000"/>
                  <a:gd name="connsiteY32" fmla="*/ 7917 h 10599"/>
                  <a:gd name="connsiteX33" fmla="*/ 4358 w 10000"/>
                  <a:gd name="connsiteY33" fmla="*/ 8099 h 10599"/>
                  <a:gd name="connsiteX34" fmla="*/ 4131 w 10000"/>
                  <a:gd name="connsiteY34" fmla="*/ 8099 h 10599"/>
                  <a:gd name="connsiteX35" fmla="*/ 4131 w 10000"/>
                  <a:gd name="connsiteY35" fmla="*/ 8307 h 10599"/>
                  <a:gd name="connsiteX36" fmla="*/ 4131 w 10000"/>
                  <a:gd name="connsiteY36" fmla="*/ 8932 h 10599"/>
                  <a:gd name="connsiteX37" fmla="*/ 3904 w 10000"/>
                  <a:gd name="connsiteY37" fmla="*/ 9349 h 10599"/>
                  <a:gd name="connsiteX38" fmla="*/ 3904 w 10000"/>
                  <a:gd name="connsiteY38" fmla="*/ 9974 h 10599"/>
                  <a:gd name="connsiteX39" fmla="*/ 3703 w 10000"/>
                  <a:gd name="connsiteY39" fmla="*/ 10182 h 10599"/>
                  <a:gd name="connsiteX40" fmla="*/ 3476 w 10000"/>
                  <a:gd name="connsiteY40" fmla="*/ 10417 h 10599"/>
                  <a:gd name="connsiteX41" fmla="*/ 3249 w 10000"/>
                  <a:gd name="connsiteY41" fmla="*/ 10599 h 10599"/>
                  <a:gd name="connsiteX42" fmla="*/ 2821 w 10000"/>
                  <a:gd name="connsiteY42" fmla="*/ 10417 h 10599"/>
                  <a:gd name="connsiteX43" fmla="*/ 2166 w 10000"/>
                  <a:gd name="connsiteY43" fmla="*/ 8542 h 10599"/>
                  <a:gd name="connsiteX44" fmla="*/ 1738 w 10000"/>
                  <a:gd name="connsiteY44" fmla="*/ 7917 h 10599"/>
                  <a:gd name="connsiteX45" fmla="*/ 1511 w 10000"/>
                  <a:gd name="connsiteY45" fmla="*/ 6667 h 10599"/>
                  <a:gd name="connsiteX46" fmla="*/ 1511 w 10000"/>
                  <a:gd name="connsiteY46" fmla="*/ 5807 h 10599"/>
                  <a:gd name="connsiteX47" fmla="*/ 1310 w 10000"/>
                  <a:gd name="connsiteY47" fmla="*/ 6224 h 10599"/>
                  <a:gd name="connsiteX48" fmla="*/ 856 w 10000"/>
                  <a:gd name="connsiteY48" fmla="*/ 6432 h 10599"/>
                  <a:gd name="connsiteX49" fmla="*/ 202 w 10000"/>
                  <a:gd name="connsiteY49" fmla="*/ 5807 h 10599"/>
                  <a:gd name="connsiteX50" fmla="*/ 655 w 10000"/>
                  <a:gd name="connsiteY50" fmla="*/ 5807 h 10599"/>
                  <a:gd name="connsiteX51" fmla="*/ 655 w 10000"/>
                  <a:gd name="connsiteY51" fmla="*/ 5599 h 10599"/>
                  <a:gd name="connsiteX52" fmla="*/ 428 w 10000"/>
                  <a:gd name="connsiteY52" fmla="*/ 5599 h 10599"/>
                  <a:gd name="connsiteX53" fmla="*/ 0 w 10000"/>
                  <a:gd name="connsiteY53" fmla="*/ 5417 h 10599"/>
                  <a:gd name="connsiteX54" fmla="*/ 202 w 10000"/>
                  <a:gd name="connsiteY54" fmla="*/ 5182 h 10599"/>
                  <a:gd name="connsiteX55" fmla="*/ 856 w 10000"/>
                  <a:gd name="connsiteY55" fmla="*/ 5182 h 10599"/>
                  <a:gd name="connsiteX56" fmla="*/ 856 w 10000"/>
                  <a:gd name="connsiteY56" fmla="*/ 4974 h 10599"/>
                  <a:gd name="connsiteX57" fmla="*/ 856 w 10000"/>
                  <a:gd name="connsiteY57" fmla="*/ 4557 h 10599"/>
                  <a:gd name="connsiteX58" fmla="*/ 655 w 10000"/>
                  <a:gd name="connsiteY58" fmla="*/ 4557 h 10599"/>
                  <a:gd name="connsiteX59" fmla="*/ 655 w 10000"/>
                  <a:gd name="connsiteY59" fmla="*/ 4349 h 10599"/>
                  <a:gd name="connsiteX60" fmla="*/ 428 w 10000"/>
                  <a:gd name="connsiteY60" fmla="*/ 4349 h 10599"/>
                  <a:gd name="connsiteX61" fmla="*/ 428 w 10000"/>
                  <a:gd name="connsiteY61" fmla="*/ 3932 h 10599"/>
                  <a:gd name="connsiteX62" fmla="*/ 655 w 10000"/>
                  <a:gd name="connsiteY62" fmla="*/ 3724 h 10599"/>
                  <a:gd name="connsiteX63" fmla="*/ 856 w 10000"/>
                  <a:gd name="connsiteY63" fmla="*/ 3932 h 10599"/>
                  <a:gd name="connsiteX64" fmla="*/ 1310 w 10000"/>
                  <a:gd name="connsiteY64" fmla="*/ 3724 h 10599"/>
                  <a:gd name="connsiteX65" fmla="*/ 2393 w 10000"/>
                  <a:gd name="connsiteY65" fmla="*/ 2474 h 10599"/>
                  <a:gd name="connsiteX66" fmla="*/ 2166 w 10000"/>
                  <a:gd name="connsiteY66" fmla="*/ 2292 h 10599"/>
                  <a:gd name="connsiteX67" fmla="*/ 2393 w 10000"/>
                  <a:gd name="connsiteY67" fmla="*/ 2292 h 10599"/>
                  <a:gd name="connsiteX68" fmla="*/ 2393 w 10000"/>
                  <a:gd name="connsiteY68" fmla="*/ 2057 h 10599"/>
                  <a:gd name="connsiteX69" fmla="*/ 1965 w 10000"/>
                  <a:gd name="connsiteY69" fmla="*/ 1849 h 10599"/>
                  <a:gd name="connsiteX70" fmla="*/ 2166 w 10000"/>
                  <a:gd name="connsiteY70" fmla="*/ 1432 h 10599"/>
                  <a:gd name="connsiteX71" fmla="*/ 1965 w 10000"/>
                  <a:gd name="connsiteY71" fmla="*/ 1224 h 10599"/>
                  <a:gd name="connsiteX72" fmla="*/ 1940 w 10000"/>
                  <a:gd name="connsiteY72" fmla="*/ 417 h 10599"/>
                  <a:gd name="connsiteX73" fmla="*/ 2596 w 10000"/>
                  <a:gd name="connsiteY73" fmla="*/ 0 h 10599"/>
                  <a:gd name="connsiteX74" fmla="*/ 3249 w 10000"/>
                  <a:gd name="connsiteY74" fmla="*/ 807 h 10599"/>
                  <a:gd name="connsiteX75" fmla="*/ 3904 w 10000"/>
                  <a:gd name="connsiteY75" fmla="*/ 599 h 10599"/>
                  <a:gd name="connsiteX76" fmla="*/ 4131 w 10000"/>
                  <a:gd name="connsiteY76" fmla="*/ 807 h 10599"/>
                  <a:gd name="connsiteX77" fmla="*/ 4131 w 10000"/>
                  <a:gd name="connsiteY77" fmla="*/ 1224 h 10599"/>
                  <a:gd name="connsiteX78" fmla="*/ 3703 w 10000"/>
                  <a:gd name="connsiteY78" fmla="*/ 1667 h 10599"/>
                  <a:gd name="connsiteX79" fmla="*/ 3904 w 10000"/>
                  <a:gd name="connsiteY79" fmla="*/ 2057 h 10599"/>
                  <a:gd name="connsiteX80" fmla="*/ 3476 w 10000"/>
                  <a:gd name="connsiteY80" fmla="*/ 2057 h 10599"/>
                  <a:gd name="connsiteX81" fmla="*/ 3703 w 10000"/>
                  <a:gd name="connsiteY81" fmla="*/ 2682 h 10599"/>
                  <a:gd name="connsiteX82" fmla="*/ 4358 w 10000"/>
                  <a:gd name="connsiteY82" fmla="*/ 2917 h 10599"/>
                  <a:gd name="connsiteX83" fmla="*/ 4131 w 10000"/>
                  <a:gd name="connsiteY83" fmla="*/ 3542 h 10599"/>
                  <a:gd name="connsiteX84" fmla="*/ 4559 w 10000"/>
                  <a:gd name="connsiteY84" fmla="*/ 3724 h 10599"/>
                  <a:gd name="connsiteX85" fmla="*/ 6524 w 10000"/>
                  <a:gd name="connsiteY85" fmla="*/ 4349 h 10599"/>
                  <a:gd name="connsiteX86" fmla="*/ 6751 w 10000"/>
                  <a:gd name="connsiteY86" fmla="*/ 4349 h 10599"/>
                  <a:gd name="connsiteX87" fmla="*/ 6751 w 10000"/>
                  <a:gd name="connsiteY87" fmla="*/ 4167 h 10599"/>
                  <a:gd name="connsiteX88" fmla="*/ 6751 w 10000"/>
                  <a:gd name="connsiteY88" fmla="*/ 3724 h 10599"/>
                  <a:gd name="connsiteX89" fmla="*/ 6952 w 10000"/>
                  <a:gd name="connsiteY89" fmla="*/ 3724 h 10599"/>
                  <a:gd name="connsiteX90" fmla="*/ 7179 w 10000"/>
                  <a:gd name="connsiteY90" fmla="*/ 3932 h 10599"/>
                  <a:gd name="connsiteX91" fmla="*/ 7179 w 10000"/>
                  <a:gd name="connsiteY91" fmla="*/ 4167 h 10599"/>
                  <a:gd name="connsiteX92" fmla="*/ 8035 w 10000"/>
                  <a:gd name="connsiteY92" fmla="*/ 4167 h 10599"/>
                  <a:gd name="connsiteX93" fmla="*/ 8262 w 10000"/>
                  <a:gd name="connsiteY93" fmla="*/ 4167 h 10599"/>
                  <a:gd name="connsiteX94" fmla="*/ 8035 w 10000"/>
                  <a:gd name="connsiteY94" fmla="*/ 3724 h 10599"/>
                  <a:gd name="connsiteX95" fmla="*/ 9144 w 10000"/>
                  <a:gd name="connsiteY95" fmla="*/ 3307 h 10599"/>
                  <a:gd name="connsiteX0" fmla="*/ 9144 w 10000"/>
                  <a:gd name="connsiteY0" fmla="*/ 3307 h 10599"/>
                  <a:gd name="connsiteX1" fmla="*/ 9144 w 10000"/>
                  <a:gd name="connsiteY1" fmla="*/ 3307 h 10599"/>
                  <a:gd name="connsiteX2" fmla="*/ 9572 w 10000"/>
                  <a:gd name="connsiteY2" fmla="*/ 3307 h 10599"/>
                  <a:gd name="connsiteX3" fmla="*/ 10000 w 10000"/>
                  <a:gd name="connsiteY3" fmla="*/ 3724 h 10599"/>
                  <a:gd name="connsiteX4" fmla="*/ 10000 w 10000"/>
                  <a:gd name="connsiteY4" fmla="*/ 4167 h 10599"/>
                  <a:gd name="connsiteX5" fmla="*/ 9572 w 10000"/>
                  <a:gd name="connsiteY5" fmla="*/ 4167 h 10599"/>
                  <a:gd name="connsiteX6" fmla="*/ 9345 w 10000"/>
                  <a:gd name="connsiteY6" fmla="*/ 4349 h 10599"/>
                  <a:gd name="connsiteX7" fmla="*/ 8917 w 10000"/>
                  <a:gd name="connsiteY7" fmla="*/ 5182 h 10599"/>
                  <a:gd name="connsiteX8" fmla="*/ 8690 w 10000"/>
                  <a:gd name="connsiteY8" fmla="*/ 5417 h 10599"/>
                  <a:gd name="connsiteX9" fmla="*/ 8489 w 10000"/>
                  <a:gd name="connsiteY9" fmla="*/ 5807 h 10599"/>
                  <a:gd name="connsiteX10" fmla="*/ 8489 w 10000"/>
                  <a:gd name="connsiteY10" fmla="*/ 6042 h 10599"/>
                  <a:gd name="connsiteX11" fmla="*/ 8262 w 10000"/>
                  <a:gd name="connsiteY11" fmla="*/ 5417 h 10599"/>
                  <a:gd name="connsiteX12" fmla="*/ 8262 w 10000"/>
                  <a:gd name="connsiteY12" fmla="*/ 5182 h 10599"/>
                  <a:gd name="connsiteX13" fmla="*/ 8035 w 10000"/>
                  <a:gd name="connsiteY13" fmla="*/ 5417 h 10599"/>
                  <a:gd name="connsiteX14" fmla="*/ 7834 w 10000"/>
                  <a:gd name="connsiteY14" fmla="*/ 5417 h 10599"/>
                  <a:gd name="connsiteX15" fmla="*/ 7834 w 10000"/>
                  <a:gd name="connsiteY15" fmla="*/ 5182 h 10599"/>
                  <a:gd name="connsiteX16" fmla="*/ 8262 w 10000"/>
                  <a:gd name="connsiteY16" fmla="*/ 4792 h 10599"/>
                  <a:gd name="connsiteX17" fmla="*/ 7406 w 10000"/>
                  <a:gd name="connsiteY17" fmla="*/ 4792 h 10599"/>
                  <a:gd name="connsiteX18" fmla="*/ 7406 w 10000"/>
                  <a:gd name="connsiteY18" fmla="*/ 4349 h 10599"/>
                  <a:gd name="connsiteX19" fmla="*/ 7179 w 10000"/>
                  <a:gd name="connsiteY19" fmla="*/ 4349 h 10599"/>
                  <a:gd name="connsiteX20" fmla="*/ 6952 w 10000"/>
                  <a:gd name="connsiteY20" fmla="*/ 4349 h 10599"/>
                  <a:gd name="connsiteX21" fmla="*/ 6952 w 10000"/>
                  <a:gd name="connsiteY21" fmla="*/ 4557 h 10599"/>
                  <a:gd name="connsiteX22" fmla="*/ 6751 w 10000"/>
                  <a:gd name="connsiteY22" fmla="*/ 4974 h 10599"/>
                  <a:gd name="connsiteX23" fmla="*/ 6952 w 10000"/>
                  <a:gd name="connsiteY23" fmla="*/ 4974 h 10599"/>
                  <a:gd name="connsiteX24" fmla="*/ 7179 w 10000"/>
                  <a:gd name="connsiteY24" fmla="*/ 6042 h 10599"/>
                  <a:gd name="connsiteX25" fmla="*/ 6952 w 10000"/>
                  <a:gd name="connsiteY25" fmla="*/ 6042 h 10599"/>
                  <a:gd name="connsiteX26" fmla="*/ 6952 w 10000"/>
                  <a:gd name="connsiteY26" fmla="*/ 5807 h 10599"/>
                  <a:gd name="connsiteX27" fmla="*/ 6524 w 10000"/>
                  <a:gd name="connsiteY27" fmla="*/ 6042 h 10599"/>
                  <a:gd name="connsiteX28" fmla="*/ 6297 w 10000"/>
                  <a:gd name="connsiteY28" fmla="*/ 6667 h 10599"/>
                  <a:gd name="connsiteX29" fmla="*/ 5869 w 10000"/>
                  <a:gd name="connsiteY29" fmla="*/ 6849 h 10599"/>
                  <a:gd name="connsiteX30" fmla="*/ 4786 w 10000"/>
                  <a:gd name="connsiteY30" fmla="*/ 7682 h 10599"/>
                  <a:gd name="connsiteX31" fmla="*/ 4786 w 10000"/>
                  <a:gd name="connsiteY31" fmla="*/ 7917 h 10599"/>
                  <a:gd name="connsiteX32" fmla="*/ 4559 w 10000"/>
                  <a:gd name="connsiteY32" fmla="*/ 7917 h 10599"/>
                  <a:gd name="connsiteX33" fmla="*/ 4358 w 10000"/>
                  <a:gd name="connsiteY33" fmla="*/ 8099 h 10599"/>
                  <a:gd name="connsiteX34" fmla="*/ 4131 w 10000"/>
                  <a:gd name="connsiteY34" fmla="*/ 8099 h 10599"/>
                  <a:gd name="connsiteX35" fmla="*/ 4131 w 10000"/>
                  <a:gd name="connsiteY35" fmla="*/ 8307 h 10599"/>
                  <a:gd name="connsiteX36" fmla="*/ 4131 w 10000"/>
                  <a:gd name="connsiteY36" fmla="*/ 8932 h 10599"/>
                  <a:gd name="connsiteX37" fmla="*/ 3904 w 10000"/>
                  <a:gd name="connsiteY37" fmla="*/ 9349 h 10599"/>
                  <a:gd name="connsiteX38" fmla="*/ 3904 w 10000"/>
                  <a:gd name="connsiteY38" fmla="*/ 9974 h 10599"/>
                  <a:gd name="connsiteX39" fmla="*/ 3703 w 10000"/>
                  <a:gd name="connsiteY39" fmla="*/ 10182 h 10599"/>
                  <a:gd name="connsiteX40" fmla="*/ 3476 w 10000"/>
                  <a:gd name="connsiteY40" fmla="*/ 10417 h 10599"/>
                  <a:gd name="connsiteX41" fmla="*/ 3249 w 10000"/>
                  <a:gd name="connsiteY41" fmla="*/ 10599 h 10599"/>
                  <a:gd name="connsiteX42" fmla="*/ 2821 w 10000"/>
                  <a:gd name="connsiteY42" fmla="*/ 10417 h 10599"/>
                  <a:gd name="connsiteX43" fmla="*/ 2166 w 10000"/>
                  <a:gd name="connsiteY43" fmla="*/ 8542 h 10599"/>
                  <a:gd name="connsiteX44" fmla="*/ 1738 w 10000"/>
                  <a:gd name="connsiteY44" fmla="*/ 7917 h 10599"/>
                  <a:gd name="connsiteX45" fmla="*/ 1511 w 10000"/>
                  <a:gd name="connsiteY45" fmla="*/ 6667 h 10599"/>
                  <a:gd name="connsiteX46" fmla="*/ 1511 w 10000"/>
                  <a:gd name="connsiteY46" fmla="*/ 5807 h 10599"/>
                  <a:gd name="connsiteX47" fmla="*/ 1310 w 10000"/>
                  <a:gd name="connsiteY47" fmla="*/ 6224 h 10599"/>
                  <a:gd name="connsiteX48" fmla="*/ 856 w 10000"/>
                  <a:gd name="connsiteY48" fmla="*/ 6432 h 10599"/>
                  <a:gd name="connsiteX49" fmla="*/ 202 w 10000"/>
                  <a:gd name="connsiteY49" fmla="*/ 5807 h 10599"/>
                  <a:gd name="connsiteX50" fmla="*/ 655 w 10000"/>
                  <a:gd name="connsiteY50" fmla="*/ 5807 h 10599"/>
                  <a:gd name="connsiteX51" fmla="*/ 655 w 10000"/>
                  <a:gd name="connsiteY51" fmla="*/ 5599 h 10599"/>
                  <a:gd name="connsiteX52" fmla="*/ 428 w 10000"/>
                  <a:gd name="connsiteY52" fmla="*/ 5599 h 10599"/>
                  <a:gd name="connsiteX53" fmla="*/ 0 w 10000"/>
                  <a:gd name="connsiteY53" fmla="*/ 5417 h 10599"/>
                  <a:gd name="connsiteX54" fmla="*/ 202 w 10000"/>
                  <a:gd name="connsiteY54" fmla="*/ 5182 h 10599"/>
                  <a:gd name="connsiteX55" fmla="*/ 856 w 10000"/>
                  <a:gd name="connsiteY55" fmla="*/ 5182 h 10599"/>
                  <a:gd name="connsiteX56" fmla="*/ 856 w 10000"/>
                  <a:gd name="connsiteY56" fmla="*/ 4974 h 10599"/>
                  <a:gd name="connsiteX57" fmla="*/ 856 w 10000"/>
                  <a:gd name="connsiteY57" fmla="*/ 4557 h 10599"/>
                  <a:gd name="connsiteX58" fmla="*/ 655 w 10000"/>
                  <a:gd name="connsiteY58" fmla="*/ 4557 h 10599"/>
                  <a:gd name="connsiteX59" fmla="*/ 655 w 10000"/>
                  <a:gd name="connsiteY59" fmla="*/ 4349 h 10599"/>
                  <a:gd name="connsiteX60" fmla="*/ 428 w 10000"/>
                  <a:gd name="connsiteY60" fmla="*/ 4349 h 10599"/>
                  <a:gd name="connsiteX61" fmla="*/ 428 w 10000"/>
                  <a:gd name="connsiteY61" fmla="*/ 3932 h 10599"/>
                  <a:gd name="connsiteX62" fmla="*/ 655 w 10000"/>
                  <a:gd name="connsiteY62" fmla="*/ 3724 h 10599"/>
                  <a:gd name="connsiteX63" fmla="*/ 856 w 10000"/>
                  <a:gd name="connsiteY63" fmla="*/ 3932 h 10599"/>
                  <a:gd name="connsiteX64" fmla="*/ 1310 w 10000"/>
                  <a:gd name="connsiteY64" fmla="*/ 3724 h 10599"/>
                  <a:gd name="connsiteX65" fmla="*/ 2393 w 10000"/>
                  <a:gd name="connsiteY65" fmla="*/ 2474 h 10599"/>
                  <a:gd name="connsiteX66" fmla="*/ 2166 w 10000"/>
                  <a:gd name="connsiteY66" fmla="*/ 2292 h 10599"/>
                  <a:gd name="connsiteX67" fmla="*/ 2393 w 10000"/>
                  <a:gd name="connsiteY67" fmla="*/ 2292 h 10599"/>
                  <a:gd name="connsiteX68" fmla="*/ 2393 w 10000"/>
                  <a:gd name="connsiteY68" fmla="*/ 2057 h 10599"/>
                  <a:gd name="connsiteX69" fmla="*/ 1965 w 10000"/>
                  <a:gd name="connsiteY69" fmla="*/ 1849 h 10599"/>
                  <a:gd name="connsiteX70" fmla="*/ 2166 w 10000"/>
                  <a:gd name="connsiteY70" fmla="*/ 1432 h 10599"/>
                  <a:gd name="connsiteX71" fmla="*/ 1965 w 10000"/>
                  <a:gd name="connsiteY71" fmla="*/ 1224 h 10599"/>
                  <a:gd name="connsiteX72" fmla="*/ 1940 w 10000"/>
                  <a:gd name="connsiteY72" fmla="*/ 417 h 10599"/>
                  <a:gd name="connsiteX73" fmla="*/ 2596 w 10000"/>
                  <a:gd name="connsiteY73" fmla="*/ 0 h 10599"/>
                  <a:gd name="connsiteX74" fmla="*/ 3382 w 10000"/>
                  <a:gd name="connsiteY74" fmla="*/ 599 h 10599"/>
                  <a:gd name="connsiteX75" fmla="*/ 3904 w 10000"/>
                  <a:gd name="connsiteY75" fmla="*/ 599 h 10599"/>
                  <a:gd name="connsiteX76" fmla="*/ 4131 w 10000"/>
                  <a:gd name="connsiteY76" fmla="*/ 807 h 10599"/>
                  <a:gd name="connsiteX77" fmla="*/ 4131 w 10000"/>
                  <a:gd name="connsiteY77" fmla="*/ 1224 h 10599"/>
                  <a:gd name="connsiteX78" fmla="*/ 3703 w 10000"/>
                  <a:gd name="connsiteY78" fmla="*/ 1667 h 10599"/>
                  <a:gd name="connsiteX79" fmla="*/ 3904 w 10000"/>
                  <a:gd name="connsiteY79" fmla="*/ 2057 h 10599"/>
                  <a:gd name="connsiteX80" fmla="*/ 3476 w 10000"/>
                  <a:gd name="connsiteY80" fmla="*/ 2057 h 10599"/>
                  <a:gd name="connsiteX81" fmla="*/ 3703 w 10000"/>
                  <a:gd name="connsiteY81" fmla="*/ 2682 h 10599"/>
                  <a:gd name="connsiteX82" fmla="*/ 4358 w 10000"/>
                  <a:gd name="connsiteY82" fmla="*/ 2917 h 10599"/>
                  <a:gd name="connsiteX83" fmla="*/ 4131 w 10000"/>
                  <a:gd name="connsiteY83" fmla="*/ 3542 h 10599"/>
                  <a:gd name="connsiteX84" fmla="*/ 4559 w 10000"/>
                  <a:gd name="connsiteY84" fmla="*/ 3724 h 10599"/>
                  <a:gd name="connsiteX85" fmla="*/ 6524 w 10000"/>
                  <a:gd name="connsiteY85" fmla="*/ 4349 h 10599"/>
                  <a:gd name="connsiteX86" fmla="*/ 6751 w 10000"/>
                  <a:gd name="connsiteY86" fmla="*/ 4349 h 10599"/>
                  <a:gd name="connsiteX87" fmla="*/ 6751 w 10000"/>
                  <a:gd name="connsiteY87" fmla="*/ 4167 h 10599"/>
                  <a:gd name="connsiteX88" fmla="*/ 6751 w 10000"/>
                  <a:gd name="connsiteY88" fmla="*/ 3724 h 10599"/>
                  <a:gd name="connsiteX89" fmla="*/ 6952 w 10000"/>
                  <a:gd name="connsiteY89" fmla="*/ 3724 h 10599"/>
                  <a:gd name="connsiteX90" fmla="*/ 7179 w 10000"/>
                  <a:gd name="connsiteY90" fmla="*/ 3932 h 10599"/>
                  <a:gd name="connsiteX91" fmla="*/ 7179 w 10000"/>
                  <a:gd name="connsiteY91" fmla="*/ 4167 h 10599"/>
                  <a:gd name="connsiteX92" fmla="*/ 8035 w 10000"/>
                  <a:gd name="connsiteY92" fmla="*/ 4167 h 10599"/>
                  <a:gd name="connsiteX93" fmla="*/ 8262 w 10000"/>
                  <a:gd name="connsiteY93" fmla="*/ 4167 h 10599"/>
                  <a:gd name="connsiteX94" fmla="*/ 8035 w 10000"/>
                  <a:gd name="connsiteY94" fmla="*/ 3724 h 10599"/>
                  <a:gd name="connsiteX95" fmla="*/ 9144 w 10000"/>
                  <a:gd name="connsiteY95" fmla="*/ 3307 h 10599"/>
                  <a:gd name="connsiteX0" fmla="*/ 9144 w 10000"/>
                  <a:gd name="connsiteY0" fmla="*/ 3307 h 10599"/>
                  <a:gd name="connsiteX1" fmla="*/ 9144 w 10000"/>
                  <a:gd name="connsiteY1" fmla="*/ 3307 h 10599"/>
                  <a:gd name="connsiteX2" fmla="*/ 9572 w 10000"/>
                  <a:gd name="connsiteY2" fmla="*/ 3307 h 10599"/>
                  <a:gd name="connsiteX3" fmla="*/ 10000 w 10000"/>
                  <a:gd name="connsiteY3" fmla="*/ 3724 h 10599"/>
                  <a:gd name="connsiteX4" fmla="*/ 10000 w 10000"/>
                  <a:gd name="connsiteY4" fmla="*/ 4167 h 10599"/>
                  <a:gd name="connsiteX5" fmla="*/ 9572 w 10000"/>
                  <a:gd name="connsiteY5" fmla="*/ 4167 h 10599"/>
                  <a:gd name="connsiteX6" fmla="*/ 9345 w 10000"/>
                  <a:gd name="connsiteY6" fmla="*/ 4349 h 10599"/>
                  <a:gd name="connsiteX7" fmla="*/ 8917 w 10000"/>
                  <a:gd name="connsiteY7" fmla="*/ 5182 h 10599"/>
                  <a:gd name="connsiteX8" fmla="*/ 8690 w 10000"/>
                  <a:gd name="connsiteY8" fmla="*/ 5417 h 10599"/>
                  <a:gd name="connsiteX9" fmla="*/ 8489 w 10000"/>
                  <a:gd name="connsiteY9" fmla="*/ 5807 h 10599"/>
                  <a:gd name="connsiteX10" fmla="*/ 8489 w 10000"/>
                  <a:gd name="connsiteY10" fmla="*/ 6042 h 10599"/>
                  <a:gd name="connsiteX11" fmla="*/ 8262 w 10000"/>
                  <a:gd name="connsiteY11" fmla="*/ 5417 h 10599"/>
                  <a:gd name="connsiteX12" fmla="*/ 8262 w 10000"/>
                  <a:gd name="connsiteY12" fmla="*/ 5182 h 10599"/>
                  <a:gd name="connsiteX13" fmla="*/ 8035 w 10000"/>
                  <a:gd name="connsiteY13" fmla="*/ 5417 h 10599"/>
                  <a:gd name="connsiteX14" fmla="*/ 7834 w 10000"/>
                  <a:gd name="connsiteY14" fmla="*/ 5417 h 10599"/>
                  <a:gd name="connsiteX15" fmla="*/ 7834 w 10000"/>
                  <a:gd name="connsiteY15" fmla="*/ 5182 h 10599"/>
                  <a:gd name="connsiteX16" fmla="*/ 8262 w 10000"/>
                  <a:gd name="connsiteY16" fmla="*/ 4792 h 10599"/>
                  <a:gd name="connsiteX17" fmla="*/ 7406 w 10000"/>
                  <a:gd name="connsiteY17" fmla="*/ 4792 h 10599"/>
                  <a:gd name="connsiteX18" fmla="*/ 7406 w 10000"/>
                  <a:gd name="connsiteY18" fmla="*/ 4349 h 10599"/>
                  <a:gd name="connsiteX19" fmla="*/ 7179 w 10000"/>
                  <a:gd name="connsiteY19" fmla="*/ 4349 h 10599"/>
                  <a:gd name="connsiteX20" fmla="*/ 6952 w 10000"/>
                  <a:gd name="connsiteY20" fmla="*/ 4349 h 10599"/>
                  <a:gd name="connsiteX21" fmla="*/ 6952 w 10000"/>
                  <a:gd name="connsiteY21" fmla="*/ 4557 h 10599"/>
                  <a:gd name="connsiteX22" fmla="*/ 6751 w 10000"/>
                  <a:gd name="connsiteY22" fmla="*/ 4974 h 10599"/>
                  <a:gd name="connsiteX23" fmla="*/ 6952 w 10000"/>
                  <a:gd name="connsiteY23" fmla="*/ 4974 h 10599"/>
                  <a:gd name="connsiteX24" fmla="*/ 7179 w 10000"/>
                  <a:gd name="connsiteY24" fmla="*/ 6042 h 10599"/>
                  <a:gd name="connsiteX25" fmla="*/ 6952 w 10000"/>
                  <a:gd name="connsiteY25" fmla="*/ 6042 h 10599"/>
                  <a:gd name="connsiteX26" fmla="*/ 6952 w 10000"/>
                  <a:gd name="connsiteY26" fmla="*/ 5807 h 10599"/>
                  <a:gd name="connsiteX27" fmla="*/ 6524 w 10000"/>
                  <a:gd name="connsiteY27" fmla="*/ 6042 h 10599"/>
                  <a:gd name="connsiteX28" fmla="*/ 6297 w 10000"/>
                  <a:gd name="connsiteY28" fmla="*/ 6667 h 10599"/>
                  <a:gd name="connsiteX29" fmla="*/ 5869 w 10000"/>
                  <a:gd name="connsiteY29" fmla="*/ 6849 h 10599"/>
                  <a:gd name="connsiteX30" fmla="*/ 4786 w 10000"/>
                  <a:gd name="connsiteY30" fmla="*/ 7682 h 10599"/>
                  <a:gd name="connsiteX31" fmla="*/ 4786 w 10000"/>
                  <a:gd name="connsiteY31" fmla="*/ 7917 h 10599"/>
                  <a:gd name="connsiteX32" fmla="*/ 4559 w 10000"/>
                  <a:gd name="connsiteY32" fmla="*/ 7917 h 10599"/>
                  <a:gd name="connsiteX33" fmla="*/ 4358 w 10000"/>
                  <a:gd name="connsiteY33" fmla="*/ 8099 h 10599"/>
                  <a:gd name="connsiteX34" fmla="*/ 4131 w 10000"/>
                  <a:gd name="connsiteY34" fmla="*/ 8099 h 10599"/>
                  <a:gd name="connsiteX35" fmla="*/ 4131 w 10000"/>
                  <a:gd name="connsiteY35" fmla="*/ 8307 h 10599"/>
                  <a:gd name="connsiteX36" fmla="*/ 4131 w 10000"/>
                  <a:gd name="connsiteY36" fmla="*/ 8932 h 10599"/>
                  <a:gd name="connsiteX37" fmla="*/ 3904 w 10000"/>
                  <a:gd name="connsiteY37" fmla="*/ 9349 h 10599"/>
                  <a:gd name="connsiteX38" fmla="*/ 3904 w 10000"/>
                  <a:gd name="connsiteY38" fmla="*/ 9974 h 10599"/>
                  <a:gd name="connsiteX39" fmla="*/ 3703 w 10000"/>
                  <a:gd name="connsiteY39" fmla="*/ 10182 h 10599"/>
                  <a:gd name="connsiteX40" fmla="*/ 3476 w 10000"/>
                  <a:gd name="connsiteY40" fmla="*/ 10417 h 10599"/>
                  <a:gd name="connsiteX41" fmla="*/ 3249 w 10000"/>
                  <a:gd name="connsiteY41" fmla="*/ 10599 h 10599"/>
                  <a:gd name="connsiteX42" fmla="*/ 2821 w 10000"/>
                  <a:gd name="connsiteY42" fmla="*/ 10417 h 10599"/>
                  <a:gd name="connsiteX43" fmla="*/ 2166 w 10000"/>
                  <a:gd name="connsiteY43" fmla="*/ 8542 h 10599"/>
                  <a:gd name="connsiteX44" fmla="*/ 1738 w 10000"/>
                  <a:gd name="connsiteY44" fmla="*/ 7917 h 10599"/>
                  <a:gd name="connsiteX45" fmla="*/ 1511 w 10000"/>
                  <a:gd name="connsiteY45" fmla="*/ 6667 h 10599"/>
                  <a:gd name="connsiteX46" fmla="*/ 1511 w 10000"/>
                  <a:gd name="connsiteY46" fmla="*/ 5807 h 10599"/>
                  <a:gd name="connsiteX47" fmla="*/ 1310 w 10000"/>
                  <a:gd name="connsiteY47" fmla="*/ 6224 h 10599"/>
                  <a:gd name="connsiteX48" fmla="*/ 856 w 10000"/>
                  <a:gd name="connsiteY48" fmla="*/ 6432 h 10599"/>
                  <a:gd name="connsiteX49" fmla="*/ 202 w 10000"/>
                  <a:gd name="connsiteY49" fmla="*/ 5807 h 10599"/>
                  <a:gd name="connsiteX50" fmla="*/ 655 w 10000"/>
                  <a:gd name="connsiteY50" fmla="*/ 5807 h 10599"/>
                  <a:gd name="connsiteX51" fmla="*/ 655 w 10000"/>
                  <a:gd name="connsiteY51" fmla="*/ 5599 h 10599"/>
                  <a:gd name="connsiteX52" fmla="*/ 428 w 10000"/>
                  <a:gd name="connsiteY52" fmla="*/ 5599 h 10599"/>
                  <a:gd name="connsiteX53" fmla="*/ 0 w 10000"/>
                  <a:gd name="connsiteY53" fmla="*/ 5417 h 10599"/>
                  <a:gd name="connsiteX54" fmla="*/ 202 w 10000"/>
                  <a:gd name="connsiteY54" fmla="*/ 5182 h 10599"/>
                  <a:gd name="connsiteX55" fmla="*/ 856 w 10000"/>
                  <a:gd name="connsiteY55" fmla="*/ 5182 h 10599"/>
                  <a:gd name="connsiteX56" fmla="*/ 856 w 10000"/>
                  <a:gd name="connsiteY56" fmla="*/ 4974 h 10599"/>
                  <a:gd name="connsiteX57" fmla="*/ 856 w 10000"/>
                  <a:gd name="connsiteY57" fmla="*/ 4557 h 10599"/>
                  <a:gd name="connsiteX58" fmla="*/ 655 w 10000"/>
                  <a:gd name="connsiteY58" fmla="*/ 4557 h 10599"/>
                  <a:gd name="connsiteX59" fmla="*/ 655 w 10000"/>
                  <a:gd name="connsiteY59" fmla="*/ 4349 h 10599"/>
                  <a:gd name="connsiteX60" fmla="*/ 428 w 10000"/>
                  <a:gd name="connsiteY60" fmla="*/ 4349 h 10599"/>
                  <a:gd name="connsiteX61" fmla="*/ 428 w 10000"/>
                  <a:gd name="connsiteY61" fmla="*/ 3932 h 10599"/>
                  <a:gd name="connsiteX62" fmla="*/ 655 w 10000"/>
                  <a:gd name="connsiteY62" fmla="*/ 3724 h 10599"/>
                  <a:gd name="connsiteX63" fmla="*/ 856 w 10000"/>
                  <a:gd name="connsiteY63" fmla="*/ 3932 h 10599"/>
                  <a:gd name="connsiteX64" fmla="*/ 1310 w 10000"/>
                  <a:gd name="connsiteY64" fmla="*/ 3724 h 10599"/>
                  <a:gd name="connsiteX65" fmla="*/ 2393 w 10000"/>
                  <a:gd name="connsiteY65" fmla="*/ 2474 h 10599"/>
                  <a:gd name="connsiteX66" fmla="*/ 2166 w 10000"/>
                  <a:gd name="connsiteY66" fmla="*/ 2292 h 10599"/>
                  <a:gd name="connsiteX67" fmla="*/ 2393 w 10000"/>
                  <a:gd name="connsiteY67" fmla="*/ 2292 h 10599"/>
                  <a:gd name="connsiteX68" fmla="*/ 2393 w 10000"/>
                  <a:gd name="connsiteY68" fmla="*/ 2057 h 10599"/>
                  <a:gd name="connsiteX69" fmla="*/ 1965 w 10000"/>
                  <a:gd name="connsiteY69" fmla="*/ 1849 h 10599"/>
                  <a:gd name="connsiteX70" fmla="*/ 2166 w 10000"/>
                  <a:gd name="connsiteY70" fmla="*/ 1432 h 10599"/>
                  <a:gd name="connsiteX71" fmla="*/ 1965 w 10000"/>
                  <a:gd name="connsiteY71" fmla="*/ 1224 h 10599"/>
                  <a:gd name="connsiteX72" fmla="*/ 1940 w 10000"/>
                  <a:gd name="connsiteY72" fmla="*/ 417 h 10599"/>
                  <a:gd name="connsiteX73" fmla="*/ 2596 w 10000"/>
                  <a:gd name="connsiteY73" fmla="*/ 0 h 10599"/>
                  <a:gd name="connsiteX74" fmla="*/ 3382 w 10000"/>
                  <a:gd name="connsiteY74" fmla="*/ 599 h 10599"/>
                  <a:gd name="connsiteX75" fmla="*/ 4131 w 10000"/>
                  <a:gd name="connsiteY75" fmla="*/ 495 h 10599"/>
                  <a:gd name="connsiteX76" fmla="*/ 4131 w 10000"/>
                  <a:gd name="connsiteY76" fmla="*/ 807 h 10599"/>
                  <a:gd name="connsiteX77" fmla="*/ 4131 w 10000"/>
                  <a:gd name="connsiteY77" fmla="*/ 1224 h 10599"/>
                  <a:gd name="connsiteX78" fmla="*/ 3703 w 10000"/>
                  <a:gd name="connsiteY78" fmla="*/ 1667 h 10599"/>
                  <a:gd name="connsiteX79" fmla="*/ 3904 w 10000"/>
                  <a:gd name="connsiteY79" fmla="*/ 2057 h 10599"/>
                  <a:gd name="connsiteX80" fmla="*/ 3476 w 10000"/>
                  <a:gd name="connsiteY80" fmla="*/ 2057 h 10599"/>
                  <a:gd name="connsiteX81" fmla="*/ 3703 w 10000"/>
                  <a:gd name="connsiteY81" fmla="*/ 2682 h 10599"/>
                  <a:gd name="connsiteX82" fmla="*/ 4358 w 10000"/>
                  <a:gd name="connsiteY82" fmla="*/ 2917 h 10599"/>
                  <a:gd name="connsiteX83" fmla="*/ 4131 w 10000"/>
                  <a:gd name="connsiteY83" fmla="*/ 3542 h 10599"/>
                  <a:gd name="connsiteX84" fmla="*/ 4559 w 10000"/>
                  <a:gd name="connsiteY84" fmla="*/ 3724 h 10599"/>
                  <a:gd name="connsiteX85" fmla="*/ 6524 w 10000"/>
                  <a:gd name="connsiteY85" fmla="*/ 4349 h 10599"/>
                  <a:gd name="connsiteX86" fmla="*/ 6751 w 10000"/>
                  <a:gd name="connsiteY86" fmla="*/ 4349 h 10599"/>
                  <a:gd name="connsiteX87" fmla="*/ 6751 w 10000"/>
                  <a:gd name="connsiteY87" fmla="*/ 4167 h 10599"/>
                  <a:gd name="connsiteX88" fmla="*/ 6751 w 10000"/>
                  <a:gd name="connsiteY88" fmla="*/ 3724 h 10599"/>
                  <a:gd name="connsiteX89" fmla="*/ 6952 w 10000"/>
                  <a:gd name="connsiteY89" fmla="*/ 3724 h 10599"/>
                  <a:gd name="connsiteX90" fmla="*/ 7179 w 10000"/>
                  <a:gd name="connsiteY90" fmla="*/ 3932 h 10599"/>
                  <a:gd name="connsiteX91" fmla="*/ 7179 w 10000"/>
                  <a:gd name="connsiteY91" fmla="*/ 4167 h 10599"/>
                  <a:gd name="connsiteX92" fmla="*/ 8035 w 10000"/>
                  <a:gd name="connsiteY92" fmla="*/ 4167 h 10599"/>
                  <a:gd name="connsiteX93" fmla="*/ 8262 w 10000"/>
                  <a:gd name="connsiteY93" fmla="*/ 4167 h 10599"/>
                  <a:gd name="connsiteX94" fmla="*/ 8035 w 10000"/>
                  <a:gd name="connsiteY94" fmla="*/ 3724 h 10599"/>
                  <a:gd name="connsiteX95" fmla="*/ 9144 w 10000"/>
                  <a:gd name="connsiteY95" fmla="*/ 3307 h 10599"/>
                  <a:gd name="connsiteX0" fmla="*/ 9144 w 10000"/>
                  <a:gd name="connsiteY0" fmla="*/ 3307 h 10599"/>
                  <a:gd name="connsiteX1" fmla="*/ 9144 w 10000"/>
                  <a:gd name="connsiteY1" fmla="*/ 3307 h 10599"/>
                  <a:gd name="connsiteX2" fmla="*/ 9572 w 10000"/>
                  <a:gd name="connsiteY2" fmla="*/ 3307 h 10599"/>
                  <a:gd name="connsiteX3" fmla="*/ 10000 w 10000"/>
                  <a:gd name="connsiteY3" fmla="*/ 3724 h 10599"/>
                  <a:gd name="connsiteX4" fmla="*/ 10000 w 10000"/>
                  <a:gd name="connsiteY4" fmla="*/ 4167 h 10599"/>
                  <a:gd name="connsiteX5" fmla="*/ 9572 w 10000"/>
                  <a:gd name="connsiteY5" fmla="*/ 4167 h 10599"/>
                  <a:gd name="connsiteX6" fmla="*/ 9345 w 10000"/>
                  <a:gd name="connsiteY6" fmla="*/ 4349 h 10599"/>
                  <a:gd name="connsiteX7" fmla="*/ 8917 w 10000"/>
                  <a:gd name="connsiteY7" fmla="*/ 5182 h 10599"/>
                  <a:gd name="connsiteX8" fmla="*/ 8690 w 10000"/>
                  <a:gd name="connsiteY8" fmla="*/ 5417 h 10599"/>
                  <a:gd name="connsiteX9" fmla="*/ 8489 w 10000"/>
                  <a:gd name="connsiteY9" fmla="*/ 5807 h 10599"/>
                  <a:gd name="connsiteX10" fmla="*/ 8489 w 10000"/>
                  <a:gd name="connsiteY10" fmla="*/ 6042 h 10599"/>
                  <a:gd name="connsiteX11" fmla="*/ 8262 w 10000"/>
                  <a:gd name="connsiteY11" fmla="*/ 5417 h 10599"/>
                  <a:gd name="connsiteX12" fmla="*/ 8262 w 10000"/>
                  <a:gd name="connsiteY12" fmla="*/ 5182 h 10599"/>
                  <a:gd name="connsiteX13" fmla="*/ 8035 w 10000"/>
                  <a:gd name="connsiteY13" fmla="*/ 5417 h 10599"/>
                  <a:gd name="connsiteX14" fmla="*/ 7834 w 10000"/>
                  <a:gd name="connsiteY14" fmla="*/ 5417 h 10599"/>
                  <a:gd name="connsiteX15" fmla="*/ 7834 w 10000"/>
                  <a:gd name="connsiteY15" fmla="*/ 5182 h 10599"/>
                  <a:gd name="connsiteX16" fmla="*/ 8262 w 10000"/>
                  <a:gd name="connsiteY16" fmla="*/ 4792 h 10599"/>
                  <a:gd name="connsiteX17" fmla="*/ 7406 w 10000"/>
                  <a:gd name="connsiteY17" fmla="*/ 4792 h 10599"/>
                  <a:gd name="connsiteX18" fmla="*/ 7406 w 10000"/>
                  <a:gd name="connsiteY18" fmla="*/ 4349 h 10599"/>
                  <a:gd name="connsiteX19" fmla="*/ 7179 w 10000"/>
                  <a:gd name="connsiteY19" fmla="*/ 4349 h 10599"/>
                  <a:gd name="connsiteX20" fmla="*/ 6952 w 10000"/>
                  <a:gd name="connsiteY20" fmla="*/ 4349 h 10599"/>
                  <a:gd name="connsiteX21" fmla="*/ 6952 w 10000"/>
                  <a:gd name="connsiteY21" fmla="*/ 4557 h 10599"/>
                  <a:gd name="connsiteX22" fmla="*/ 6751 w 10000"/>
                  <a:gd name="connsiteY22" fmla="*/ 4974 h 10599"/>
                  <a:gd name="connsiteX23" fmla="*/ 6952 w 10000"/>
                  <a:gd name="connsiteY23" fmla="*/ 4974 h 10599"/>
                  <a:gd name="connsiteX24" fmla="*/ 7179 w 10000"/>
                  <a:gd name="connsiteY24" fmla="*/ 6042 h 10599"/>
                  <a:gd name="connsiteX25" fmla="*/ 6952 w 10000"/>
                  <a:gd name="connsiteY25" fmla="*/ 6042 h 10599"/>
                  <a:gd name="connsiteX26" fmla="*/ 6952 w 10000"/>
                  <a:gd name="connsiteY26" fmla="*/ 5807 h 10599"/>
                  <a:gd name="connsiteX27" fmla="*/ 6524 w 10000"/>
                  <a:gd name="connsiteY27" fmla="*/ 6042 h 10599"/>
                  <a:gd name="connsiteX28" fmla="*/ 6297 w 10000"/>
                  <a:gd name="connsiteY28" fmla="*/ 6667 h 10599"/>
                  <a:gd name="connsiteX29" fmla="*/ 5869 w 10000"/>
                  <a:gd name="connsiteY29" fmla="*/ 6849 h 10599"/>
                  <a:gd name="connsiteX30" fmla="*/ 4786 w 10000"/>
                  <a:gd name="connsiteY30" fmla="*/ 7682 h 10599"/>
                  <a:gd name="connsiteX31" fmla="*/ 4786 w 10000"/>
                  <a:gd name="connsiteY31" fmla="*/ 7917 h 10599"/>
                  <a:gd name="connsiteX32" fmla="*/ 4559 w 10000"/>
                  <a:gd name="connsiteY32" fmla="*/ 7917 h 10599"/>
                  <a:gd name="connsiteX33" fmla="*/ 4358 w 10000"/>
                  <a:gd name="connsiteY33" fmla="*/ 8099 h 10599"/>
                  <a:gd name="connsiteX34" fmla="*/ 4131 w 10000"/>
                  <a:gd name="connsiteY34" fmla="*/ 8099 h 10599"/>
                  <a:gd name="connsiteX35" fmla="*/ 4131 w 10000"/>
                  <a:gd name="connsiteY35" fmla="*/ 8307 h 10599"/>
                  <a:gd name="connsiteX36" fmla="*/ 4131 w 10000"/>
                  <a:gd name="connsiteY36" fmla="*/ 8932 h 10599"/>
                  <a:gd name="connsiteX37" fmla="*/ 3904 w 10000"/>
                  <a:gd name="connsiteY37" fmla="*/ 9349 h 10599"/>
                  <a:gd name="connsiteX38" fmla="*/ 3904 w 10000"/>
                  <a:gd name="connsiteY38" fmla="*/ 9974 h 10599"/>
                  <a:gd name="connsiteX39" fmla="*/ 3703 w 10000"/>
                  <a:gd name="connsiteY39" fmla="*/ 10182 h 10599"/>
                  <a:gd name="connsiteX40" fmla="*/ 3476 w 10000"/>
                  <a:gd name="connsiteY40" fmla="*/ 10417 h 10599"/>
                  <a:gd name="connsiteX41" fmla="*/ 3249 w 10000"/>
                  <a:gd name="connsiteY41" fmla="*/ 10599 h 10599"/>
                  <a:gd name="connsiteX42" fmla="*/ 2821 w 10000"/>
                  <a:gd name="connsiteY42" fmla="*/ 10417 h 10599"/>
                  <a:gd name="connsiteX43" fmla="*/ 2166 w 10000"/>
                  <a:gd name="connsiteY43" fmla="*/ 8542 h 10599"/>
                  <a:gd name="connsiteX44" fmla="*/ 1738 w 10000"/>
                  <a:gd name="connsiteY44" fmla="*/ 7917 h 10599"/>
                  <a:gd name="connsiteX45" fmla="*/ 1511 w 10000"/>
                  <a:gd name="connsiteY45" fmla="*/ 6667 h 10599"/>
                  <a:gd name="connsiteX46" fmla="*/ 1511 w 10000"/>
                  <a:gd name="connsiteY46" fmla="*/ 5807 h 10599"/>
                  <a:gd name="connsiteX47" fmla="*/ 1310 w 10000"/>
                  <a:gd name="connsiteY47" fmla="*/ 6224 h 10599"/>
                  <a:gd name="connsiteX48" fmla="*/ 856 w 10000"/>
                  <a:gd name="connsiteY48" fmla="*/ 6432 h 10599"/>
                  <a:gd name="connsiteX49" fmla="*/ 202 w 10000"/>
                  <a:gd name="connsiteY49" fmla="*/ 5807 h 10599"/>
                  <a:gd name="connsiteX50" fmla="*/ 655 w 10000"/>
                  <a:gd name="connsiteY50" fmla="*/ 5807 h 10599"/>
                  <a:gd name="connsiteX51" fmla="*/ 655 w 10000"/>
                  <a:gd name="connsiteY51" fmla="*/ 5599 h 10599"/>
                  <a:gd name="connsiteX52" fmla="*/ 428 w 10000"/>
                  <a:gd name="connsiteY52" fmla="*/ 5599 h 10599"/>
                  <a:gd name="connsiteX53" fmla="*/ 0 w 10000"/>
                  <a:gd name="connsiteY53" fmla="*/ 5417 h 10599"/>
                  <a:gd name="connsiteX54" fmla="*/ 202 w 10000"/>
                  <a:gd name="connsiteY54" fmla="*/ 5182 h 10599"/>
                  <a:gd name="connsiteX55" fmla="*/ 856 w 10000"/>
                  <a:gd name="connsiteY55" fmla="*/ 5182 h 10599"/>
                  <a:gd name="connsiteX56" fmla="*/ 856 w 10000"/>
                  <a:gd name="connsiteY56" fmla="*/ 4974 h 10599"/>
                  <a:gd name="connsiteX57" fmla="*/ 856 w 10000"/>
                  <a:gd name="connsiteY57" fmla="*/ 4557 h 10599"/>
                  <a:gd name="connsiteX58" fmla="*/ 655 w 10000"/>
                  <a:gd name="connsiteY58" fmla="*/ 4557 h 10599"/>
                  <a:gd name="connsiteX59" fmla="*/ 655 w 10000"/>
                  <a:gd name="connsiteY59" fmla="*/ 4349 h 10599"/>
                  <a:gd name="connsiteX60" fmla="*/ 428 w 10000"/>
                  <a:gd name="connsiteY60" fmla="*/ 4349 h 10599"/>
                  <a:gd name="connsiteX61" fmla="*/ 428 w 10000"/>
                  <a:gd name="connsiteY61" fmla="*/ 3932 h 10599"/>
                  <a:gd name="connsiteX62" fmla="*/ 655 w 10000"/>
                  <a:gd name="connsiteY62" fmla="*/ 3724 h 10599"/>
                  <a:gd name="connsiteX63" fmla="*/ 856 w 10000"/>
                  <a:gd name="connsiteY63" fmla="*/ 3932 h 10599"/>
                  <a:gd name="connsiteX64" fmla="*/ 1310 w 10000"/>
                  <a:gd name="connsiteY64" fmla="*/ 3724 h 10599"/>
                  <a:gd name="connsiteX65" fmla="*/ 2393 w 10000"/>
                  <a:gd name="connsiteY65" fmla="*/ 2474 h 10599"/>
                  <a:gd name="connsiteX66" fmla="*/ 2166 w 10000"/>
                  <a:gd name="connsiteY66" fmla="*/ 2292 h 10599"/>
                  <a:gd name="connsiteX67" fmla="*/ 2393 w 10000"/>
                  <a:gd name="connsiteY67" fmla="*/ 2292 h 10599"/>
                  <a:gd name="connsiteX68" fmla="*/ 2393 w 10000"/>
                  <a:gd name="connsiteY68" fmla="*/ 2057 h 10599"/>
                  <a:gd name="connsiteX69" fmla="*/ 1965 w 10000"/>
                  <a:gd name="connsiteY69" fmla="*/ 1849 h 10599"/>
                  <a:gd name="connsiteX70" fmla="*/ 2166 w 10000"/>
                  <a:gd name="connsiteY70" fmla="*/ 1432 h 10599"/>
                  <a:gd name="connsiteX71" fmla="*/ 1965 w 10000"/>
                  <a:gd name="connsiteY71" fmla="*/ 1224 h 10599"/>
                  <a:gd name="connsiteX72" fmla="*/ 2189 w 10000"/>
                  <a:gd name="connsiteY72" fmla="*/ 807 h 10599"/>
                  <a:gd name="connsiteX73" fmla="*/ 1940 w 10000"/>
                  <a:gd name="connsiteY73" fmla="*/ 417 h 10599"/>
                  <a:gd name="connsiteX74" fmla="*/ 2596 w 10000"/>
                  <a:gd name="connsiteY74" fmla="*/ 0 h 10599"/>
                  <a:gd name="connsiteX75" fmla="*/ 3382 w 10000"/>
                  <a:gd name="connsiteY75" fmla="*/ 599 h 10599"/>
                  <a:gd name="connsiteX76" fmla="*/ 4131 w 10000"/>
                  <a:gd name="connsiteY76" fmla="*/ 495 h 10599"/>
                  <a:gd name="connsiteX77" fmla="*/ 4131 w 10000"/>
                  <a:gd name="connsiteY77" fmla="*/ 807 h 10599"/>
                  <a:gd name="connsiteX78" fmla="*/ 4131 w 10000"/>
                  <a:gd name="connsiteY78" fmla="*/ 1224 h 10599"/>
                  <a:gd name="connsiteX79" fmla="*/ 3703 w 10000"/>
                  <a:gd name="connsiteY79" fmla="*/ 1667 h 10599"/>
                  <a:gd name="connsiteX80" fmla="*/ 3904 w 10000"/>
                  <a:gd name="connsiteY80" fmla="*/ 2057 h 10599"/>
                  <a:gd name="connsiteX81" fmla="*/ 3476 w 10000"/>
                  <a:gd name="connsiteY81" fmla="*/ 2057 h 10599"/>
                  <a:gd name="connsiteX82" fmla="*/ 3703 w 10000"/>
                  <a:gd name="connsiteY82" fmla="*/ 2682 h 10599"/>
                  <a:gd name="connsiteX83" fmla="*/ 4358 w 10000"/>
                  <a:gd name="connsiteY83" fmla="*/ 2917 h 10599"/>
                  <a:gd name="connsiteX84" fmla="*/ 4131 w 10000"/>
                  <a:gd name="connsiteY84" fmla="*/ 3542 h 10599"/>
                  <a:gd name="connsiteX85" fmla="*/ 4559 w 10000"/>
                  <a:gd name="connsiteY85" fmla="*/ 3724 h 10599"/>
                  <a:gd name="connsiteX86" fmla="*/ 6524 w 10000"/>
                  <a:gd name="connsiteY86" fmla="*/ 4349 h 10599"/>
                  <a:gd name="connsiteX87" fmla="*/ 6751 w 10000"/>
                  <a:gd name="connsiteY87" fmla="*/ 4349 h 10599"/>
                  <a:gd name="connsiteX88" fmla="*/ 6751 w 10000"/>
                  <a:gd name="connsiteY88" fmla="*/ 4167 h 10599"/>
                  <a:gd name="connsiteX89" fmla="*/ 6751 w 10000"/>
                  <a:gd name="connsiteY89" fmla="*/ 3724 h 10599"/>
                  <a:gd name="connsiteX90" fmla="*/ 6952 w 10000"/>
                  <a:gd name="connsiteY90" fmla="*/ 3724 h 10599"/>
                  <a:gd name="connsiteX91" fmla="*/ 7179 w 10000"/>
                  <a:gd name="connsiteY91" fmla="*/ 3932 h 10599"/>
                  <a:gd name="connsiteX92" fmla="*/ 7179 w 10000"/>
                  <a:gd name="connsiteY92" fmla="*/ 4167 h 10599"/>
                  <a:gd name="connsiteX93" fmla="*/ 8035 w 10000"/>
                  <a:gd name="connsiteY93" fmla="*/ 4167 h 10599"/>
                  <a:gd name="connsiteX94" fmla="*/ 8262 w 10000"/>
                  <a:gd name="connsiteY94" fmla="*/ 4167 h 10599"/>
                  <a:gd name="connsiteX95" fmla="*/ 8035 w 10000"/>
                  <a:gd name="connsiteY95" fmla="*/ 3724 h 10599"/>
                  <a:gd name="connsiteX96" fmla="*/ 9144 w 10000"/>
                  <a:gd name="connsiteY96" fmla="*/ 3307 h 10599"/>
                  <a:gd name="connsiteX0" fmla="*/ 9144 w 10000"/>
                  <a:gd name="connsiteY0" fmla="*/ 3307 h 10599"/>
                  <a:gd name="connsiteX1" fmla="*/ 9144 w 10000"/>
                  <a:gd name="connsiteY1" fmla="*/ 3307 h 10599"/>
                  <a:gd name="connsiteX2" fmla="*/ 9572 w 10000"/>
                  <a:gd name="connsiteY2" fmla="*/ 3307 h 10599"/>
                  <a:gd name="connsiteX3" fmla="*/ 10000 w 10000"/>
                  <a:gd name="connsiteY3" fmla="*/ 3724 h 10599"/>
                  <a:gd name="connsiteX4" fmla="*/ 10000 w 10000"/>
                  <a:gd name="connsiteY4" fmla="*/ 4167 h 10599"/>
                  <a:gd name="connsiteX5" fmla="*/ 9572 w 10000"/>
                  <a:gd name="connsiteY5" fmla="*/ 4167 h 10599"/>
                  <a:gd name="connsiteX6" fmla="*/ 9345 w 10000"/>
                  <a:gd name="connsiteY6" fmla="*/ 4349 h 10599"/>
                  <a:gd name="connsiteX7" fmla="*/ 8917 w 10000"/>
                  <a:gd name="connsiteY7" fmla="*/ 5182 h 10599"/>
                  <a:gd name="connsiteX8" fmla="*/ 8690 w 10000"/>
                  <a:gd name="connsiteY8" fmla="*/ 5417 h 10599"/>
                  <a:gd name="connsiteX9" fmla="*/ 8489 w 10000"/>
                  <a:gd name="connsiteY9" fmla="*/ 5807 h 10599"/>
                  <a:gd name="connsiteX10" fmla="*/ 8489 w 10000"/>
                  <a:gd name="connsiteY10" fmla="*/ 6042 h 10599"/>
                  <a:gd name="connsiteX11" fmla="*/ 8262 w 10000"/>
                  <a:gd name="connsiteY11" fmla="*/ 5417 h 10599"/>
                  <a:gd name="connsiteX12" fmla="*/ 8262 w 10000"/>
                  <a:gd name="connsiteY12" fmla="*/ 5182 h 10599"/>
                  <a:gd name="connsiteX13" fmla="*/ 8035 w 10000"/>
                  <a:gd name="connsiteY13" fmla="*/ 5417 h 10599"/>
                  <a:gd name="connsiteX14" fmla="*/ 7834 w 10000"/>
                  <a:gd name="connsiteY14" fmla="*/ 5417 h 10599"/>
                  <a:gd name="connsiteX15" fmla="*/ 7834 w 10000"/>
                  <a:gd name="connsiteY15" fmla="*/ 5182 h 10599"/>
                  <a:gd name="connsiteX16" fmla="*/ 8262 w 10000"/>
                  <a:gd name="connsiteY16" fmla="*/ 4792 h 10599"/>
                  <a:gd name="connsiteX17" fmla="*/ 7406 w 10000"/>
                  <a:gd name="connsiteY17" fmla="*/ 4792 h 10599"/>
                  <a:gd name="connsiteX18" fmla="*/ 7406 w 10000"/>
                  <a:gd name="connsiteY18" fmla="*/ 4349 h 10599"/>
                  <a:gd name="connsiteX19" fmla="*/ 7179 w 10000"/>
                  <a:gd name="connsiteY19" fmla="*/ 4349 h 10599"/>
                  <a:gd name="connsiteX20" fmla="*/ 6952 w 10000"/>
                  <a:gd name="connsiteY20" fmla="*/ 4349 h 10599"/>
                  <a:gd name="connsiteX21" fmla="*/ 6952 w 10000"/>
                  <a:gd name="connsiteY21" fmla="*/ 4557 h 10599"/>
                  <a:gd name="connsiteX22" fmla="*/ 6751 w 10000"/>
                  <a:gd name="connsiteY22" fmla="*/ 4974 h 10599"/>
                  <a:gd name="connsiteX23" fmla="*/ 6952 w 10000"/>
                  <a:gd name="connsiteY23" fmla="*/ 4974 h 10599"/>
                  <a:gd name="connsiteX24" fmla="*/ 7179 w 10000"/>
                  <a:gd name="connsiteY24" fmla="*/ 6042 h 10599"/>
                  <a:gd name="connsiteX25" fmla="*/ 6952 w 10000"/>
                  <a:gd name="connsiteY25" fmla="*/ 6042 h 10599"/>
                  <a:gd name="connsiteX26" fmla="*/ 6952 w 10000"/>
                  <a:gd name="connsiteY26" fmla="*/ 5807 h 10599"/>
                  <a:gd name="connsiteX27" fmla="*/ 6524 w 10000"/>
                  <a:gd name="connsiteY27" fmla="*/ 6042 h 10599"/>
                  <a:gd name="connsiteX28" fmla="*/ 6297 w 10000"/>
                  <a:gd name="connsiteY28" fmla="*/ 6667 h 10599"/>
                  <a:gd name="connsiteX29" fmla="*/ 5869 w 10000"/>
                  <a:gd name="connsiteY29" fmla="*/ 6849 h 10599"/>
                  <a:gd name="connsiteX30" fmla="*/ 4786 w 10000"/>
                  <a:gd name="connsiteY30" fmla="*/ 7682 h 10599"/>
                  <a:gd name="connsiteX31" fmla="*/ 4786 w 10000"/>
                  <a:gd name="connsiteY31" fmla="*/ 7917 h 10599"/>
                  <a:gd name="connsiteX32" fmla="*/ 4559 w 10000"/>
                  <a:gd name="connsiteY32" fmla="*/ 7917 h 10599"/>
                  <a:gd name="connsiteX33" fmla="*/ 4358 w 10000"/>
                  <a:gd name="connsiteY33" fmla="*/ 8099 h 10599"/>
                  <a:gd name="connsiteX34" fmla="*/ 4131 w 10000"/>
                  <a:gd name="connsiteY34" fmla="*/ 8099 h 10599"/>
                  <a:gd name="connsiteX35" fmla="*/ 4131 w 10000"/>
                  <a:gd name="connsiteY35" fmla="*/ 8307 h 10599"/>
                  <a:gd name="connsiteX36" fmla="*/ 4131 w 10000"/>
                  <a:gd name="connsiteY36" fmla="*/ 8932 h 10599"/>
                  <a:gd name="connsiteX37" fmla="*/ 3904 w 10000"/>
                  <a:gd name="connsiteY37" fmla="*/ 9349 h 10599"/>
                  <a:gd name="connsiteX38" fmla="*/ 3904 w 10000"/>
                  <a:gd name="connsiteY38" fmla="*/ 9974 h 10599"/>
                  <a:gd name="connsiteX39" fmla="*/ 3703 w 10000"/>
                  <a:gd name="connsiteY39" fmla="*/ 10182 h 10599"/>
                  <a:gd name="connsiteX40" fmla="*/ 3476 w 10000"/>
                  <a:gd name="connsiteY40" fmla="*/ 10417 h 10599"/>
                  <a:gd name="connsiteX41" fmla="*/ 3249 w 10000"/>
                  <a:gd name="connsiteY41" fmla="*/ 10599 h 10599"/>
                  <a:gd name="connsiteX42" fmla="*/ 2821 w 10000"/>
                  <a:gd name="connsiteY42" fmla="*/ 10417 h 10599"/>
                  <a:gd name="connsiteX43" fmla="*/ 2166 w 10000"/>
                  <a:gd name="connsiteY43" fmla="*/ 8542 h 10599"/>
                  <a:gd name="connsiteX44" fmla="*/ 1738 w 10000"/>
                  <a:gd name="connsiteY44" fmla="*/ 7917 h 10599"/>
                  <a:gd name="connsiteX45" fmla="*/ 1511 w 10000"/>
                  <a:gd name="connsiteY45" fmla="*/ 6667 h 10599"/>
                  <a:gd name="connsiteX46" fmla="*/ 1511 w 10000"/>
                  <a:gd name="connsiteY46" fmla="*/ 5807 h 10599"/>
                  <a:gd name="connsiteX47" fmla="*/ 1310 w 10000"/>
                  <a:gd name="connsiteY47" fmla="*/ 6224 h 10599"/>
                  <a:gd name="connsiteX48" fmla="*/ 856 w 10000"/>
                  <a:gd name="connsiteY48" fmla="*/ 6432 h 10599"/>
                  <a:gd name="connsiteX49" fmla="*/ 202 w 10000"/>
                  <a:gd name="connsiteY49" fmla="*/ 5807 h 10599"/>
                  <a:gd name="connsiteX50" fmla="*/ 655 w 10000"/>
                  <a:gd name="connsiteY50" fmla="*/ 5807 h 10599"/>
                  <a:gd name="connsiteX51" fmla="*/ 655 w 10000"/>
                  <a:gd name="connsiteY51" fmla="*/ 5599 h 10599"/>
                  <a:gd name="connsiteX52" fmla="*/ 428 w 10000"/>
                  <a:gd name="connsiteY52" fmla="*/ 5599 h 10599"/>
                  <a:gd name="connsiteX53" fmla="*/ 0 w 10000"/>
                  <a:gd name="connsiteY53" fmla="*/ 5417 h 10599"/>
                  <a:gd name="connsiteX54" fmla="*/ 202 w 10000"/>
                  <a:gd name="connsiteY54" fmla="*/ 5182 h 10599"/>
                  <a:gd name="connsiteX55" fmla="*/ 856 w 10000"/>
                  <a:gd name="connsiteY55" fmla="*/ 5182 h 10599"/>
                  <a:gd name="connsiteX56" fmla="*/ 856 w 10000"/>
                  <a:gd name="connsiteY56" fmla="*/ 4974 h 10599"/>
                  <a:gd name="connsiteX57" fmla="*/ 856 w 10000"/>
                  <a:gd name="connsiteY57" fmla="*/ 4557 h 10599"/>
                  <a:gd name="connsiteX58" fmla="*/ 655 w 10000"/>
                  <a:gd name="connsiteY58" fmla="*/ 4557 h 10599"/>
                  <a:gd name="connsiteX59" fmla="*/ 655 w 10000"/>
                  <a:gd name="connsiteY59" fmla="*/ 4349 h 10599"/>
                  <a:gd name="connsiteX60" fmla="*/ 428 w 10000"/>
                  <a:gd name="connsiteY60" fmla="*/ 4349 h 10599"/>
                  <a:gd name="connsiteX61" fmla="*/ 428 w 10000"/>
                  <a:gd name="connsiteY61" fmla="*/ 3932 h 10599"/>
                  <a:gd name="connsiteX62" fmla="*/ 655 w 10000"/>
                  <a:gd name="connsiteY62" fmla="*/ 3724 h 10599"/>
                  <a:gd name="connsiteX63" fmla="*/ 856 w 10000"/>
                  <a:gd name="connsiteY63" fmla="*/ 3932 h 10599"/>
                  <a:gd name="connsiteX64" fmla="*/ 1310 w 10000"/>
                  <a:gd name="connsiteY64" fmla="*/ 3724 h 10599"/>
                  <a:gd name="connsiteX65" fmla="*/ 2393 w 10000"/>
                  <a:gd name="connsiteY65" fmla="*/ 2474 h 10599"/>
                  <a:gd name="connsiteX66" fmla="*/ 2166 w 10000"/>
                  <a:gd name="connsiteY66" fmla="*/ 2292 h 10599"/>
                  <a:gd name="connsiteX67" fmla="*/ 2393 w 10000"/>
                  <a:gd name="connsiteY67" fmla="*/ 2292 h 10599"/>
                  <a:gd name="connsiteX68" fmla="*/ 2393 w 10000"/>
                  <a:gd name="connsiteY68" fmla="*/ 2057 h 10599"/>
                  <a:gd name="connsiteX69" fmla="*/ 2596 w 10000"/>
                  <a:gd name="connsiteY69" fmla="*/ 1849 h 10599"/>
                  <a:gd name="connsiteX70" fmla="*/ 2166 w 10000"/>
                  <a:gd name="connsiteY70" fmla="*/ 1432 h 10599"/>
                  <a:gd name="connsiteX71" fmla="*/ 1965 w 10000"/>
                  <a:gd name="connsiteY71" fmla="*/ 1224 h 10599"/>
                  <a:gd name="connsiteX72" fmla="*/ 2189 w 10000"/>
                  <a:gd name="connsiteY72" fmla="*/ 807 h 10599"/>
                  <a:gd name="connsiteX73" fmla="*/ 1940 w 10000"/>
                  <a:gd name="connsiteY73" fmla="*/ 417 h 10599"/>
                  <a:gd name="connsiteX74" fmla="*/ 2596 w 10000"/>
                  <a:gd name="connsiteY74" fmla="*/ 0 h 10599"/>
                  <a:gd name="connsiteX75" fmla="*/ 3382 w 10000"/>
                  <a:gd name="connsiteY75" fmla="*/ 599 h 10599"/>
                  <a:gd name="connsiteX76" fmla="*/ 4131 w 10000"/>
                  <a:gd name="connsiteY76" fmla="*/ 495 h 10599"/>
                  <a:gd name="connsiteX77" fmla="*/ 4131 w 10000"/>
                  <a:gd name="connsiteY77" fmla="*/ 807 h 10599"/>
                  <a:gd name="connsiteX78" fmla="*/ 4131 w 10000"/>
                  <a:gd name="connsiteY78" fmla="*/ 1224 h 10599"/>
                  <a:gd name="connsiteX79" fmla="*/ 3703 w 10000"/>
                  <a:gd name="connsiteY79" fmla="*/ 1667 h 10599"/>
                  <a:gd name="connsiteX80" fmla="*/ 3904 w 10000"/>
                  <a:gd name="connsiteY80" fmla="*/ 2057 h 10599"/>
                  <a:gd name="connsiteX81" fmla="*/ 3476 w 10000"/>
                  <a:gd name="connsiteY81" fmla="*/ 2057 h 10599"/>
                  <a:gd name="connsiteX82" fmla="*/ 3703 w 10000"/>
                  <a:gd name="connsiteY82" fmla="*/ 2682 h 10599"/>
                  <a:gd name="connsiteX83" fmla="*/ 4358 w 10000"/>
                  <a:gd name="connsiteY83" fmla="*/ 2917 h 10599"/>
                  <a:gd name="connsiteX84" fmla="*/ 4131 w 10000"/>
                  <a:gd name="connsiteY84" fmla="*/ 3542 h 10599"/>
                  <a:gd name="connsiteX85" fmla="*/ 4559 w 10000"/>
                  <a:gd name="connsiteY85" fmla="*/ 3724 h 10599"/>
                  <a:gd name="connsiteX86" fmla="*/ 6524 w 10000"/>
                  <a:gd name="connsiteY86" fmla="*/ 4349 h 10599"/>
                  <a:gd name="connsiteX87" fmla="*/ 6751 w 10000"/>
                  <a:gd name="connsiteY87" fmla="*/ 4349 h 10599"/>
                  <a:gd name="connsiteX88" fmla="*/ 6751 w 10000"/>
                  <a:gd name="connsiteY88" fmla="*/ 4167 h 10599"/>
                  <a:gd name="connsiteX89" fmla="*/ 6751 w 10000"/>
                  <a:gd name="connsiteY89" fmla="*/ 3724 h 10599"/>
                  <a:gd name="connsiteX90" fmla="*/ 6952 w 10000"/>
                  <a:gd name="connsiteY90" fmla="*/ 3724 h 10599"/>
                  <a:gd name="connsiteX91" fmla="*/ 7179 w 10000"/>
                  <a:gd name="connsiteY91" fmla="*/ 3932 h 10599"/>
                  <a:gd name="connsiteX92" fmla="*/ 7179 w 10000"/>
                  <a:gd name="connsiteY92" fmla="*/ 4167 h 10599"/>
                  <a:gd name="connsiteX93" fmla="*/ 8035 w 10000"/>
                  <a:gd name="connsiteY93" fmla="*/ 4167 h 10599"/>
                  <a:gd name="connsiteX94" fmla="*/ 8262 w 10000"/>
                  <a:gd name="connsiteY94" fmla="*/ 4167 h 10599"/>
                  <a:gd name="connsiteX95" fmla="*/ 8035 w 10000"/>
                  <a:gd name="connsiteY95" fmla="*/ 3724 h 10599"/>
                  <a:gd name="connsiteX96" fmla="*/ 9144 w 10000"/>
                  <a:gd name="connsiteY96" fmla="*/ 3307 h 10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</a:cxnLst>
                <a:rect l="l" t="t" r="r" b="b"/>
                <a:pathLst>
                  <a:path w="10000" h="10599">
                    <a:moveTo>
                      <a:pt x="9144" y="3307"/>
                    </a:moveTo>
                    <a:lnTo>
                      <a:pt x="9144" y="3307"/>
                    </a:lnTo>
                    <a:lnTo>
                      <a:pt x="9572" y="3307"/>
                    </a:lnTo>
                    <a:lnTo>
                      <a:pt x="10000" y="3724"/>
                    </a:lnTo>
                    <a:lnTo>
                      <a:pt x="10000" y="4167"/>
                    </a:lnTo>
                    <a:lnTo>
                      <a:pt x="9572" y="4167"/>
                    </a:lnTo>
                    <a:lnTo>
                      <a:pt x="9345" y="4349"/>
                    </a:lnTo>
                    <a:lnTo>
                      <a:pt x="8917" y="5182"/>
                    </a:lnTo>
                    <a:lnTo>
                      <a:pt x="8690" y="5417"/>
                    </a:lnTo>
                    <a:lnTo>
                      <a:pt x="8489" y="5807"/>
                    </a:lnTo>
                    <a:lnTo>
                      <a:pt x="8489" y="6042"/>
                    </a:lnTo>
                    <a:cubicBezTo>
                      <a:pt x="8413" y="5834"/>
                      <a:pt x="8338" y="5625"/>
                      <a:pt x="8262" y="5417"/>
                    </a:cubicBezTo>
                    <a:lnTo>
                      <a:pt x="8262" y="5182"/>
                    </a:lnTo>
                    <a:lnTo>
                      <a:pt x="8035" y="5417"/>
                    </a:lnTo>
                    <a:lnTo>
                      <a:pt x="7834" y="5417"/>
                    </a:lnTo>
                    <a:lnTo>
                      <a:pt x="7834" y="5182"/>
                    </a:lnTo>
                    <a:lnTo>
                      <a:pt x="8262" y="4792"/>
                    </a:lnTo>
                    <a:lnTo>
                      <a:pt x="7406" y="4792"/>
                    </a:lnTo>
                    <a:lnTo>
                      <a:pt x="7406" y="4349"/>
                    </a:lnTo>
                    <a:lnTo>
                      <a:pt x="7179" y="4349"/>
                    </a:lnTo>
                    <a:lnTo>
                      <a:pt x="6952" y="4349"/>
                    </a:lnTo>
                    <a:lnTo>
                      <a:pt x="6952" y="4557"/>
                    </a:lnTo>
                    <a:lnTo>
                      <a:pt x="6751" y="4974"/>
                    </a:lnTo>
                    <a:lnTo>
                      <a:pt x="6952" y="4974"/>
                    </a:lnTo>
                    <a:cubicBezTo>
                      <a:pt x="7028" y="5330"/>
                      <a:pt x="7103" y="5686"/>
                      <a:pt x="7179" y="6042"/>
                    </a:cubicBezTo>
                    <a:lnTo>
                      <a:pt x="6952" y="6042"/>
                    </a:lnTo>
                    <a:lnTo>
                      <a:pt x="6952" y="5807"/>
                    </a:lnTo>
                    <a:lnTo>
                      <a:pt x="6524" y="6042"/>
                    </a:lnTo>
                    <a:cubicBezTo>
                      <a:pt x="6448" y="6250"/>
                      <a:pt x="6373" y="6459"/>
                      <a:pt x="6297" y="6667"/>
                    </a:cubicBezTo>
                    <a:lnTo>
                      <a:pt x="5869" y="6849"/>
                    </a:lnTo>
                    <a:lnTo>
                      <a:pt x="4786" y="7682"/>
                    </a:lnTo>
                    <a:lnTo>
                      <a:pt x="4786" y="7917"/>
                    </a:lnTo>
                    <a:lnTo>
                      <a:pt x="4559" y="7917"/>
                    </a:lnTo>
                    <a:lnTo>
                      <a:pt x="4358" y="8099"/>
                    </a:lnTo>
                    <a:lnTo>
                      <a:pt x="4131" y="8099"/>
                    </a:lnTo>
                    <a:lnTo>
                      <a:pt x="4131" y="8307"/>
                    </a:lnTo>
                    <a:lnTo>
                      <a:pt x="4131" y="8932"/>
                    </a:lnTo>
                    <a:lnTo>
                      <a:pt x="3904" y="9349"/>
                    </a:lnTo>
                    <a:lnTo>
                      <a:pt x="3904" y="9974"/>
                    </a:lnTo>
                    <a:lnTo>
                      <a:pt x="3703" y="10182"/>
                    </a:lnTo>
                    <a:lnTo>
                      <a:pt x="3476" y="10417"/>
                    </a:lnTo>
                    <a:lnTo>
                      <a:pt x="3249" y="10599"/>
                    </a:lnTo>
                    <a:lnTo>
                      <a:pt x="2821" y="10417"/>
                    </a:lnTo>
                    <a:lnTo>
                      <a:pt x="2166" y="8542"/>
                    </a:lnTo>
                    <a:lnTo>
                      <a:pt x="1738" y="7917"/>
                    </a:lnTo>
                    <a:cubicBezTo>
                      <a:pt x="1662" y="7500"/>
                      <a:pt x="1587" y="7084"/>
                      <a:pt x="1511" y="6667"/>
                    </a:cubicBezTo>
                    <a:lnTo>
                      <a:pt x="1511" y="5807"/>
                    </a:lnTo>
                    <a:lnTo>
                      <a:pt x="1310" y="6224"/>
                    </a:lnTo>
                    <a:lnTo>
                      <a:pt x="856" y="6432"/>
                    </a:lnTo>
                    <a:lnTo>
                      <a:pt x="202" y="5807"/>
                    </a:lnTo>
                    <a:lnTo>
                      <a:pt x="655" y="5807"/>
                    </a:lnTo>
                    <a:lnTo>
                      <a:pt x="655" y="5599"/>
                    </a:lnTo>
                    <a:lnTo>
                      <a:pt x="428" y="5599"/>
                    </a:lnTo>
                    <a:lnTo>
                      <a:pt x="0" y="5417"/>
                    </a:lnTo>
                    <a:lnTo>
                      <a:pt x="202" y="5182"/>
                    </a:lnTo>
                    <a:lnTo>
                      <a:pt x="856" y="5182"/>
                    </a:lnTo>
                    <a:lnTo>
                      <a:pt x="856" y="4974"/>
                    </a:lnTo>
                    <a:lnTo>
                      <a:pt x="856" y="4557"/>
                    </a:lnTo>
                    <a:lnTo>
                      <a:pt x="655" y="4557"/>
                    </a:lnTo>
                    <a:lnTo>
                      <a:pt x="655" y="4349"/>
                    </a:lnTo>
                    <a:lnTo>
                      <a:pt x="428" y="4349"/>
                    </a:lnTo>
                    <a:lnTo>
                      <a:pt x="428" y="3932"/>
                    </a:lnTo>
                    <a:lnTo>
                      <a:pt x="655" y="3724"/>
                    </a:lnTo>
                    <a:lnTo>
                      <a:pt x="856" y="3932"/>
                    </a:lnTo>
                    <a:lnTo>
                      <a:pt x="1310" y="3724"/>
                    </a:lnTo>
                    <a:lnTo>
                      <a:pt x="2393" y="2474"/>
                    </a:lnTo>
                    <a:lnTo>
                      <a:pt x="2166" y="2292"/>
                    </a:lnTo>
                    <a:lnTo>
                      <a:pt x="2393" y="2292"/>
                    </a:lnTo>
                    <a:lnTo>
                      <a:pt x="2393" y="2057"/>
                    </a:lnTo>
                    <a:lnTo>
                      <a:pt x="2596" y="1849"/>
                    </a:lnTo>
                    <a:lnTo>
                      <a:pt x="2166" y="1432"/>
                    </a:lnTo>
                    <a:lnTo>
                      <a:pt x="1965" y="1224"/>
                    </a:lnTo>
                    <a:cubicBezTo>
                      <a:pt x="1925" y="1133"/>
                      <a:pt x="2193" y="941"/>
                      <a:pt x="2189" y="807"/>
                    </a:cubicBezTo>
                    <a:cubicBezTo>
                      <a:pt x="2185" y="673"/>
                      <a:pt x="1829" y="565"/>
                      <a:pt x="1940" y="417"/>
                    </a:cubicBezTo>
                    <a:lnTo>
                      <a:pt x="2596" y="0"/>
                    </a:lnTo>
                    <a:lnTo>
                      <a:pt x="3382" y="599"/>
                    </a:lnTo>
                    <a:lnTo>
                      <a:pt x="4131" y="495"/>
                    </a:lnTo>
                    <a:lnTo>
                      <a:pt x="4131" y="807"/>
                    </a:lnTo>
                    <a:lnTo>
                      <a:pt x="4131" y="1224"/>
                    </a:lnTo>
                    <a:lnTo>
                      <a:pt x="3703" y="1667"/>
                    </a:lnTo>
                    <a:lnTo>
                      <a:pt x="3904" y="2057"/>
                    </a:lnTo>
                    <a:lnTo>
                      <a:pt x="3476" y="2057"/>
                    </a:lnTo>
                    <a:cubicBezTo>
                      <a:pt x="3552" y="2265"/>
                      <a:pt x="3627" y="2474"/>
                      <a:pt x="3703" y="2682"/>
                    </a:cubicBezTo>
                    <a:lnTo>
                      <a:pt x="4358" y="2917"/>
                    </a:lnTo>
                    <a:cubicBezTo>
                      <a:pt x="4282" y="3125"/>
                      <a:pt x="4207" y="3334"/>
                      <a:pt x="4131" y="3542"/>
                    </a:cubicBezTo>
                    <a:lnTo>
                      <a:pt x="4559" y="3724"/>
                    </a:lnTo>
                    <a:lnTo>
                      <a:pt x="6524" y="4349"/>
                    </a:lnTo>
                    <a:lnTo>
                      <a:pt x="6751" y="4349"/>
                    </a:lnTo>
                    <a:lnTo>
                      <a:pt x="6751" y="4167"/>
                    </a:lnTo>
                    <a:lnTo>
                      <a:pt x="6751" y="3724"/>
                    </a:lnTo>
                    <a:lnTo>
                      <a:pt x="6952" y="3724"/>
                    </a:lnTo>
                    <a:lnTo>
                      <a:pt x="7179" y="3932"/>
                    </a:lnTo>
                    <a:lnTo>
                      <a:pt x="7179" y="4167"/>
                    </a:lnTo>
                    <a:lnTo>
                      <a:pt x="8035" y="4167"/>
                    </a:lnTo>
                    <a:lnTo>
                      <a:pt x="8262" y="4167"/>
                    </a:lnTo>
                    <a:lnTo>
                      <a:pt x="8035" y="3724"/>
                    </a:lnTo>
                    <a:lnTo>
                      <a:pt x="9144" y="330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14472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7392">
          <p15:clr>
            <a:srgbClr val="FBAE40"/>
          </p15:clr>
        </p15:guide>
      </p15:sldGuideLst>
    </p:ext>
  </p:extLst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40B337D-0927-4500-8AA0-C89F5EBBC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1868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A40B337D-0927-4500-8AA0-C89F5EBBC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BB05201-A168-415C-9E61-E562D0A100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506" y="136525"/>
            <a:ext cx="10246219" cy="1063625"/>
          </a:xfrm>
        </p:spPr>
        <p:txBody>
          <a:bodyPr vert="horz" lIns="0" anchor="ctr" anchorCtr="0"/>
          <a:lstStyle>
            <a:lvl1pPr>
              <a:defRPr>
                <a:solidFill>
                  <a:srgbClr val="0F00E6"/>
                </a:solidFill>
                <a:latin typeface="SLB Sans Book" panose="02000503040000020004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6A8E97-F0BC-441F-888A-A00899A81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solidFill>
            <a:srgbClr val="0F00E6"/>
          </a:solidFill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2205F9A8-97F1-462E-AA9C-D3381D198BE6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9EF2701-BAC5-4D2C-804C-E256789EFCE9}"/>
              </a:ext>
            </a:extLst>
          </p:cNvPr>
          <p:cNvGrpSpPr/>
          <p:nvPr userDrawn="1"/>
        </p:nvGrpSpPr>
        <p:grpSpPr>
          <a:xfrm>
            <a:off x="-228600" y="-2210"/>
            <a:ext cx="200025" cy="1680682"/>
            <a:chOff x="2774400" y="2497769"/>
            <a:chExt cx="345397" cy="2345211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8022BDC-2293-4E4C-BA6C-934813FFC562}"/>
                </a:ext>
              </a:extLst>
            </p:cNvPr>
            <p:cNvSpPr/>
            <p:nvPr/>
          </p:nvSpPr>
          <p:spPr>
            <a:xfrm rot="5400000">
              <a:off x="2818819" y="2751730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11499D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31AFD51-665C-42E7-92D5-06BC2B197697}"/>
                </a:ext>
              </a:extLst>
            </p:cNvPr>
            <p:cNvSpPr/>
            <p:nvPr/>
          </p:nvSpPr>
          <p:spPr>
            <a:xfrm rot="5400000">
              <a:off x="2818819" y="3050109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1761CF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C390395-B19A-4FB3-B1FF-0C4B47F93482}"/>
                </a:ext>
              </a:extLst>
            </p:cNvPr>
            <p:cNvSpPr/>
            <p:nvPr/>
          </p:nvSpPr>
          <p:spPr>
            <a:xfrm rot="5400000">
              <a:off x="2818819" y="3348488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2976E7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6FBD785-35C3-47EC-967F-7C9A145F7187}"/>
                </a:ext>
              </a:extLst>
            </p:cNvPr>
            <p:cNvSpPr/>
            <p:nvPr/>
          </p:nvSpPr>
          <p:spPr>
            <a:xfrm rot="5400000">
              <a:off x="2818819" y="3646867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31ACE2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4E31CC4-6EE0-49BF-AA51-52BD6F4A3B77}"/>
                </a:ext>
              </a:extLst>
            </p:cNvPr>
            <p:cNvSpPr/>
            <p:nvPr/>
          </p:nvSpPr>
          <p:spPr>
            <a:xfrm rot="5400000">
              <a:off x="2818819" y="3945246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04ADD0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28A6344-1EA0-4C7A-9D68-DB3F0B2EA408}"/>
                </a:ext>
              </a:extLst>
            </p:cNvPr>
            <p:cNvSpPr/>
            <p:nvPr/>
          </p:nvSpPr>
          <p:spPr>
            <a:xfrm rot="5400000">
              <a:off x="2818819" y="4243625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62C8CE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881538A-3D0F-43B6-8994-58EDC14D7E70}"/>
                </a:ext>
              </a:extLst>
            </p:cNvPr>
            <p:cNvSpPr/>
            <p:nvPr/>
          </p:nvSpPr>
          <p:spPr>
            <a:xfrm rot="5400000">
              <a:off x="2818819" y="4542002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95D6DC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C6379BF9-8957-42B5-B904-3FDC325D6989}"/>
                </a:ext>
              </a:extLst>
            </p:cNvPr>
            <p:cNvSpPr/>
            <p:nvPr userDrawn="1"/>
          </p:nvSpPr>
          <p:spPr>
            <a:xfrm rot="5400000">
              <a:off x="2818819" y="2453350"/>
              <a:ext cx="256560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0C3457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4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9CE12F0C-3F3D-42DE-9E6D-A04F489EF5C0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89151" y="6469227"/>
            <a:ext cx="1413695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err="1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slb</a:t>
            </a:r>
            <a:r>
              <a:rPr lang="en-US" sz="100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-Private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2D548D71-41B2-4ACB-910B-52A041461B8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2346" y="6343319"/>
            <a:ext cx="732147" cy="439288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59F8EA9-7D2F-41A1-8C6C-DBA19DB49D67}"/>
              </a:ext>
            </a:extLst>
          </p:cNvPr>
          <p:cNvCxnSpPr>
            <a:cxnSpLocks/>
          </p:cNvCxnSpPr>
          <p:nvPr userDrawn="1"/>
        </p:nvCxnSpPr>
        <p:spPr>
          <a:xfrm>
            <a:off x="507506" y="6272213"/>
            <a:ext cx="11227787" cy="0"/>
          </a:xfrm>
          <a:prstGeom prst="line">
            <a:avLst/>
          </a:prstGeom>
          <a:ln>
            <a:solidFill>
              <a:srgbClr val="0F00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4ADA5A22-FC8E-417B-9F67-604BF7F5DCC0}"/>
              </a:ext>
            </a:extLst>
          </p:cNvPr>
          <p:cNvSpPr txBox="1"/>
          <p:nvPr userDrawn="1"/>
        </p:nvSpPr>
        <p:spPr>
          <a:xfrm>
            <a:off x="933450" y="6423060"/>
            <a:ext cx="9861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0" i="0">
                <a:solidFill>
                  <a:srgbClr val="0F00E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arbon Solutions</a:t>
            </a:r>
            <a:endParaRPr lang="en-US" sz="1000" b="1" i="0" kern="1200">
              <a:solidFill>
                <a:srgbClr val="0F00E6"/>
              </a:solidFill>
              <a:latin typeface="Arial Narrow" panose="020B0604020202020204" pitchFamily="34" charset="0"/>
              <a:ea typeface="ヒラギノ角ゴ Pro W3" pitchFamily="48" charset="-128"/>
              <a:cs typeface="Arial Narrow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AEDA016-8E4A-2B01-0AAA-B8F7A2BEAA6B}"/>
              </a:ext>
            </a:extLst>
          </p:cNvPr>
          <p:cNvSpPr/>
          <p:nvPr userDrawn="1"/>
        </p:nvSpPr>
        <p:spPr>
          <a:xfrm>
            <a:off x="11264775" y="-2211"/>
            <a:ext cx="839436" cy="1081547"/>
          </a:xfrm>
          <a:prstGeom prst="rect">
            <a:avLst/>
          </a:prstGeom>
          <a:solidFill>
            <a:srgbClr val="0F00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SL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NEW ENERGY</a:t>
            </a:r>
          </a:p>
        </p:txBody>
      </p:sp>
    </p:spTree>
    <p:extLst>
      <p:ext uri="{BB962C8B-B14F-4D97-AF65-F5344CB8AC3E}">
        <p14:creationId xmlns:p14="http://schemas.microsoft.com/office/powerpoint/2010/main" val="3619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7392">
          <p15:clr>
            <a:srgbClr val="FBAE40"/>
          </p15:clr>
        </p15:guide>
      </p15:sldGuideLst>
    </p:ext>
  </p:extLst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40B337D-0927-4500-8AA0-C89F5EBBC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1940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A40B337D-0927-4500-8AA0-C89F5EBBC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6A8E97-F0BC-441F-888A-A00899A81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solidFill>
            <a:srgbClr val="0F00E6"/>
          </a:solidFill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2205F9A8-97F1-462E-AA9C-D3381D198BE6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9EF2701-BAC5-4D2C-804C-E256789EFCE9}"/>
              </a:ext>
            </a:extLst>
          </p:cNvPr>
          <p:cNvGrpSpPr/>
          <p:nvPr userDrawn="1"/>
        </p:nvGrpSpPr>
        <p:grpSpPr>
          <a:xfrm>
            <a:off x="-228600" y="-2210"/>
            <a:ext cx="200025" cy="1680682"/>
            <a:chOff x="2774400" y="2497769"/>
            <a:chExt cx="345397" cy="2345211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8022BDC-2293-4E4C-BA6C-934813FFC562}"/>
                </a:ext>
              </a:extLst>
            </p:cNvPr>
            <p:cNvSpPr/>
            <p:nvPr/>
          </p:nvSpPr>
          <p:spPr>
            <a:xfrm rot="5400000">
              <a:off x="2818819" y="2751730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11499D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31AFD51-665C-42E7-92D5-06BC2B197697}"/>
                </a:ext>
              </a:extLst>
            </p:cNvPr>
            <p:cNvSpPr/>
            <p:nvPr/>
          </p:nvSpPr>
          <p:spPr>
            <a:xfrm rot="5400000">
              <a:off x="2818819" y="3050109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1761CF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C390395-B19A-4FB3-B1FF-0C4B47F93482}"/>
                </a:ext>
              </a:extLst>
            </p:cNvPr>
            <p:cNvSpPr/>
            <p:nvPr/>
          </p:nvSpPr>
          <p:spPr>
            <a:xfrm rot="5400000">
              <a:off x="2818819" y="3348488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2976E7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6FBD785-35C3-47EC-967F-7C9A145F7187}"/>
                </a:ext>
              </a:extLst>
            </p:cNvPr>
            <p:cNvSpPr/>
            <p:nvPr/>
          </p:nvSpPr>
          <p:spPr>
            <a:xfrm rot="5400000">
              <a:off x="2818819" y="3646867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31ACE2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4E31CC4-6EE0-49BF-AA51-52BD6F4A3B77}"/>
                </a:ext>
              </a:extLst>
            </p:cNvPr>
            <p:cNvSpPr/>
            <p:nvPr/>
          </p:nvSpPr>
          <p:spPr>
            <a:xfrm rot="5400000">
              <a:off x="2818819" y="3945246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04ADD0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28A6344-1EA0-4C7A-9D68-DB3F0B2EA408}"/>
                </a:ext>
              </a:extLst>
            </p:cNvPr>
            <p:cNvSpPr/>
            <p:nvPr/>
          </p:nvSpPr>
          <p:spPr>
            <a:xfrm rot="5400000">
              <a:off x="2818819" y="4243625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62C8CE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881538A-3D0F-43B6-8994-58EDC14D7E70}"/>
                </a:ext>
              </a:extLst>
            </p:cNvPr>
            <p:cNvSpPr/>
            <p:nvPr/>
          </p:nvSpPr>
          <p:spPr>
            <a:xfrm rot="5400000">
              <a:off x="2818819" y="4542002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95D6DC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C6379BF9-8957-42B5-B904-3FDC325D6989}"/>
                </a:ext>
              </a:extLst>
            </p:cNvPr>
            <p:cNvSpPr/>
            <p:nvPr userDrawn="1"/>
          </p:nvSpPr>
          <p:spPr>
            <a:xfrm rot="5400000">
              <a:off x="2818819" y="2453350"/>
              <a:ext cx="256560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0C3457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92170E1-0E35-44B7-BF28-213165961931}"/>
              </a:ext>
            </a:extLst>
          </p:cNvPr>
          <p:cNvCxnSpPr>
            <a:cxnSpLocks/>
          </p:cNvCxnSpPr>
          <p:nvPr userDrawn="1"/>
        </p:nvCxnSpPr>
        <p:spPr>
          <a:xfrm>
            <a:off x="507506" y="6272213"/>
            <a:ext cx="11227787" cy="0"/>
          </a:xfrm>
          <a:prstGeom prst="line">
            <a:avLst/>
          </a:prstGeom>
          <a:ln>
            <a:solidFill>
              <a:srgbClr val="0F00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9CE12F0C-3F3D-42DE-9E6D-A04F489EF5C0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89151" y="6469227"/>
            <a:ext cx="1413695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err="1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slb</a:t>
            </a:r>
            <a:r>
              <a:rPr lang="en-US" sz="100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-Privat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97A10FD-A092-52A6-556B-7D7702799188}"/>
              </a:ext>
            </a:extLst>
          </p:cNvPr>
          <p:cNvSpPr txBox="1"/>
          <p:nvPr userDrawn="1"/>
        </p:nvSpPr>
        <p:spPr>
          <a:xfrm>
            <a:off x="933450" y="6423060"/>
            <a:ext cx="9861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0" i="0">
                <a:solidFill>
                  <a:srgbClr val="0F00E6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arbon Solutions</a:t>
            </a:r>
            <a:endParaRPr lang="en-US" sz="1000" b="1" i="0" kern="1200">
              <a:solidFill>
                <a:srgbClr val="0F00E6"/>
              </a:solidFill>
              <a:latin typeface="Arial Narrow" panose="020B0604020202020204" pitchFamily="34" charset="0"/>
              <a:ea typeface="ヒラギノ角ゴ Pro W3" pitchFamily="48" charset="-128"/>
              <a:cs typeface="Arial Narrow" panose="020B0604020202020204" pitchFamily="34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2BCC6E51-2FB6-4070-951F-D2B3A06092D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2346" y="6343319"/>
            <a:ext cx="732147" cy="439288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D782481-A485-9F67-AE20-C92BA878A1E7}"/>
              </a:ext>
            </a:extLst>
          </p:cNvPr>
          <p:cNvSpPr/>
          <p:nvPr userDrawn="1"/>
        </p:nvSpPr>
        <p:spPr>
          <a:xfrm>
            <a:off x="11264775" y="-2211"/>
            <a:ext cx="839436" cy="1081547"/>
          </a:xfrm>
          <a:prstGeom prst="rect">
            <a:avLst/>
          </a:prstGeom>
          <a:solidFill>
            <a:srgbClr val="0F00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SL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NEW ENERGY</a:t>
            </a:r>
          </a:p>
        </p:txBody>
      </p:sp>
    </p:spTree>
    <p:extLst>
      <p:ext uri="{BB962C8B-B14F-4D97-AF65-F5344CB8AC3E}">
        <p14:creationId xmlns:p14="http://schemas.microsoft.com/office/powerpoint/2010/main" val="8615355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7392">
          <p15:clr>
            <a:srgbClr val="FBAE40"/>
          </p15:clr>
        </p15:guide>
      </p15:sldGuideLst>
    </p:ext>
  </p:extLst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40B337D-0927-4500-8AA0-C89F5EBBC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7368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A40B337D-0927-4500-8AA0-C89F5EBBC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" name="Group 20">
            <a:extLst>
              <a:ext uri="{FF2B5EF4-FFF2-40B4-BE49-F238E27FC236}">
                <a16:creationId xmlns:a16="http://schemas.microsoft.com/office/drawing/2014/main" id="{D9EF2701-BAC5-4D2C-804C-E256789EFCE9}"/>
              </a:ext>
            </a:extLst>
          </p:cNvPr>
          <p:cNvGrpSpPr/>
          <p:nvPr userDrawn="1"/>
        </p:nvGrpSpPr>
        <p:grpSpPr>
          <a:xfrm>
            <a:off x="-228600" y="-2210"/>
            <a:ext cx="200025" cy="1680682"/>
            <a:chOff x="2774400" y="2497769"/>
            <a:chExt cx="345397" cy="2345211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8022BDC-2293-4E4C-BA6C-934813FFC562}"/>
                </a:ext>
              </a:extLst>
            </p:cNvPr>
            <p:cNvSpPr/>
            <p:nvPr/>
          </p:nvSpPr>
          <p:spPr>
            <a:xfrm rot="5400000">
              <a:off x="2818819" y="2751730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11499D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31AFD51-665C-42E7-92D5-06BC2B197697}"/>
                </a:ext>
              </a:extLst>
            </p:cNvPr>
            <p:cNvSpPr/>
            <p:nvPr/>
          </p:nvSpPr>
          <p:spPr>
            <a:xfrm rot="5400000">
              <a:off x="2818819" y="3050109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1761CF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C390395-B19A-4FB3-B1FF-0C4B47F93482}"/>
                </a:ext>
              </a:extLst>
            </p:cNvPr>
            <p:cNvSpPr/>
            <p:nvPr/>
          </p:nvSpPr>
          <p:spPr>
            <a:xfrm rot="5400000">
              <a:off x="2818819" y="3348488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2976E7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6FBD785-35C3-47EC-967F-7C9A145F7187}"/>
                </a:ext>
              </a:extLst>
            </p:cNvPr>
            <p:cNvSpPr/>
            <p:nvPr/>
          </p:nvSpPr>
          <p:spPr>
            <a:xfrm rot="5400000">
              <a:off x="2818819" y="3646867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31ACE2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4E31CC4-6EE0-49BF-AA51-52BD6F4A3B77}"/>
                </a:ext>
              </a:extLst>
            </p:cNvPr>
            <p:cNvSpPr/>
            <p:nvPr/>
          </p:nvSpPr>
          <p:spPr>
            <a:xfrm rot="5400000">
              <a:off x="2818819" y="3945246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04ADD0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28A6344-1EA0-4C7A-9D68-DB3F0B2EA408}"/>
                </a:ext>
              </a:extLst>
            </p:cNvPr>
            <p:cNvSpPr/>
            <p:nvPr/>
          </p:nvSpPr>
          <p:spPr>
            <a:xfrm rot="5400000">
              <a:off x="2818819" y="4243625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62C8CE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881538A-3D0F-43B6-8994-58EDC14D7E70}"/>
                </a:ext>
              </a:extLst>
            </p:cNvPr>
            <p:cNvSpPr/>
            <p:nvPr/>
          </p:nvSpPr>
          <p:spPr>
            <a:xfrm rot="5400000">
              <a:off x="2818819" y="4542002"/>
              <a:ext cx="256559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95D6DC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C6379BF9-8957-42B5-B904-3FDC325D6989}"/>
                </a:ext>
              </a:extLst>
            </p:cNvPr>
            <p:cNvSpPr/>
            <p:nvPr userDrawn="1"/>
          </p:nvSpPr>
          <p:spPr>
            <a:xfrm rot="5400000">
              <a:off x="2818819" y="2453350"/>
              <a:ext cx="256560" cy="345397"/>
            </a:xfrm>
            <a:custGeom>
              <a:avLst/>
              <a:gdLst>
                <a:gd name="connsiteX0" fmla="*/ 0 w 256559"/>
                <a:gd name="connsiteY0" fmla="*/ 0 h 345397"/>
                <a:gd name="connsiteX1" fmla="*/ 256560 w 256559"/>
                <a:gd name="connsiteY1" fmla="*/ 0 h 345397"/>
                <a:gd name="connsiteX2" fmla="*/ 256560 w 256559"/>
                <a:gd name="connsiteY2" fmla="*/ 345397 h 345397"/>
                <a:gd name="connsiteX3" fmla="*/ 0 w 256559"/>
                <a:gd name="connsiteY3" fmla="*/ 345397 h 345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59" h="345397">
                  <a:moveTo>
                    <a:pt x="0" y="0"/>
                  </a:moveTo>
                  <a:lnTo>
                    <a:pt x="256560" y="0"/>
                  </a:lnTo>
                  <a:lnTo>
                    <a:pt x="256560" y="345397"/>
                  </a:lnTo>
                  <a:lnTo>
                    <a:pt x="0" y="345397"/>
                  </a:lnTo>
                  <a:close/>
                </a:path>
              </a:pathLst>
            </a:custGeom>
            <a:solidFill>
              <a:srgbClr val="0C3457"/>
            </a:solidFill>
            <a:ln w="43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4" name="MSIPCMContentMarking" descr="{&quot;HashCode&quot;:1831732991,&quot;Placement&quot;:&quot;Footer&quot;}">
            <a:extLst>
              <a:ext uri="{FF2B5EF4-FFF2-40B4-BE49-F238E27FC236}">
                <a16:creationId xmlns:a16="http://schemas.microsoft.com/office/drawing/2014/main" id="{9CE12F0C-3F3D-42DE-9E6D-A04F489EF5C0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89151" y="6469227"/>
            <a:ext cx="1413695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err="1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slb</a:t>
            </a:r>
            <a:r>
              <a:rPr lang="en-US" sz="100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</a:rPr>
              <a:t>-Private</a:t>
            </a:r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27113C77-81D9-4B84-AFB6-A6AA6CFF34F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829159"/>
            <a:ext cx="12192000" cy="3049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BB05201-A168-415C-9E61-E562D0A100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506" y="2832594"/>
            <a:ext cx="10616123" cy="1063625"/>
          </a:xfrm>
        </p:spPr>
        <p:txBody>
          <a:bodyPr vert="horz" lIns="0" anchor="ctr" anchorCtr="0"/>
          <a:lstStyle>
            <a:lvl1pPr>
              <a:defRPr>
                <a:solidFill>
                  <a:schemeClr val="bg1"/>
                </a:solidFill>
                <a:latin typeface="SLB Sans Book" panose="02000503040000020004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E44AA33-F85F-144E-05CF-14D889728719}"/>
              </a:ext>
            </a:extLst>
          </p:cNvPr>
          <p:cNvSpPr/>
          <p:nvPr userDrawn="1"/>
        </p:nvSpPr>
        <p:spPr>
          <a:xfrm>
            <a:off x="11264775" y="-2211"/>
            <a:ext cx="839436" cy="1081547"/>
          </a:xfrm>
          <a:prstGeom prst="rect">
            <a:avLst/>
          </a:prstGeom>
          <a:solidFill>
            <a:srgbClr val="0F00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SL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NEW ENERGY</a:t>
            </a:r>
          </a:p>
        </p:txBody>
      </p:sp>
    </p:spTree>
    <p:extLst>
      <p:ext uri="{BB962C8B-B14F-4D97-AF65-F5344CB8AC3E}">
        <p14:creationId xmlns:p14="http://schemas.microsoft.com/office/powerpoint/2010/main" val="4181293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pos="7392">
          <p15:clr>
            <a:srgbClr val="FBAE40"/>
          </p15:clr>
        </p15:guide>
      </p15:sldGuideLst>
    </p:ext>
  </p:extLst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ulti Layout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4B3A2397-56A8-440C-805E-24D06B8BC1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829214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&amp;I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585C58CC-8A23-FA4A-8ED9-FDD06D2B49E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57005" y="1431148"/>
            <a:ext cx="11453800" cy="4696602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1334637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108450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80450" y="2743200"/>
            <a:ext cx="3511550" cy="4108451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Picture Placeholder 7">
            <a:extLst>
              <a:ext uri="{FF2B5EF4-FFF2-40B4-BE49-F238E27FC236}">
                <a16:creationId xmlns:a16="http://schemas.microsoft.com/office/drawing/2014/main" id="{15843B81-9280-B787-925B-D94E5BB1E76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680450" y="1"/>
            <a:ext cx="3511550" cy="27432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3665344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D&amp;I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619476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D813FA-E1E9-6CE5-DA3B-3550F5132A9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91588"/>
            <a:ext cx="2743200" cy="230248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B92480-F2BB-6E4D-0B48-BC5E95A85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969909-5E9F-D8E9-99CB-822E1C3E1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60292F-46E5-7C51-F750-22AAB107E9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766290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D5D703-D8EA-9994-BA95-384890B498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DCE458-D9A3-4DEA-87B5-6B6AE0C5F7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427899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31ED342-3D5F-E744-5C02-ED60F13F3A3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975334"/>
            <a:ext cx="9144000" cy="3439236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4367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83C7488-E944-893A-2043-FE9944331A8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>
                <a:schemeClr val="bg1"/>
              </a:buClr>
              <a:buFont typeface="SLB Sans Light" panose="02000503040000020004" pitchFamily="2" charset="0"/>
              <a:buChar char="→"/>
              <a:defRPr sz="3600" b="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0650C58-ADB6-799E-D665-4F33A4818F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51436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or 1 Sent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60ADC76-D61C-14B2-73B6-03136E7AB583}"/>
              </a:ext>
            </a:extLst>
          </p:cNvPr>
          <p:cNvSpPr/>
          <p:nvPr userDrawn="1"/>
        </p:nvSpPr>
        <p:spPr>
          <a:xfrm>
            <a:off x="1" y="0"/>
            <a:ext cx="12192000" cy="38896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3049750"/>
            <a:ext cx="9144000" cy="1083374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US"/>
              <a:t>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577C862B-51AF-22E7-C1C8-B6AB08B7081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/>
              <a:t>After inserting right click on the image and send to back</a:t>
            </a:r>
          </a:p>
        </p:txBody>
      </p:sp>
    </p:spTree>
    <p:extLst>
      <p:ext uri="{BB962C8B-B14F-4D97-AF65-F5344CB8AC3E}">
        <p14:creationId xmlns:p14="http://schemas.microsoft.com/office/powerpoint/2010/main" val="376515668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01E87593-5AB1-A742-817D-C9CC722DF5E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FC5297-363A-7DB8-E10F-5C447164ED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02608"/>
            <a:ext cx="9586913" cy="2852737"/>
          </a:xfrm>
        </p:spPr>
        <p:txBody>
          <a:bodyPr anchor="t"/>
          <a:lstStyle>
            <a:lvl1pPr>
              <a:defRPr sz="7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B0A461-379B-6A19-B69E-A04AF5ECEB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1" y="3654426"/>
            <a:ext cx="5937250" cy="914399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BFB576-48D2-B938-362D-C2CA0F65C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44F17B-F1E6-D688-7E7E-CD7675D187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021360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1A26944-9883-9ACF-5400-2F702B82D504}"/>
              </a:ext>
            </a:extLst>
          </p:cNvPr>
          <p:cNvSpPr/>
          <p:nvPr userDrawn="1"/>
        </p:nvSpPr>
        <p:spPr>
          <a:xfrm>
            <a:off x="8223251" y="0"/>
            <a:ext cx="3968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ECD5EDD-F44D-E2A4-B31C-712D8B99E8B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9050"/>
            <a:ext cx="8223250" cy="687705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35D584-0EEB-DF18-6040-C306755CF2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9225" y="2047164"/>
            <a:ext cx="3651250" cy="2061286"/>
          </a:xfrm>
        </p:spPr>
        <p:txBody>
          <a:bodyPr>
            <a:normAutofit/>
          </a:bodyPr>
          <a:lstStyle>
            <a:lvl1pPr>
              <a:defRPr sz="48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AE34A6-9330-09DC-1C21-168B521268C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DBDCCB-998D-EBD0-8BD5-00E7B94ADC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DF72ABF-3158-3C09-4A36-943B3A21C0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29713" y="4339989"/>
            <a:ext cx="2743200" cy="1597261"/>
          </a:xfrm>
        </p:spPr>
        <p:txBody>
          <a:bodyPr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4284350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SLB Sans Light" panose="02000503040000020004" pitchFamily="2" charset="0"/>
              <a:buChar char="→"/>
              <a:defRPr sz="3600" b="0">
                <a:latin typeface="+mj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082047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83C7488-E944-893A-2043-FE9944331A8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Tx/>
              <a:buFont typeface="SLB Sans Light" panose="02000503040000020004" pitchFamily="2" charset="0"/>
              <a:buChar char="→"/>
              <a:defRPr sz="3600" b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531988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205975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2552FDF-29F0-FEA1-55F4-48C517205ACB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451347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372949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050BD1E-00A9-4F45-5A21-3A16C0123F69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061517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68580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83948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873879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410845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4108450"/>
            <a:ext cx="3968750" cy="27432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0124681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2CF53DD-0966-0BFD-B778-F487FDD28A20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CA6186D-802B-AA5D-226E-496C143AC6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3250" y="4568825"/>
            <a:ext cx="3968750" cy="2289175"/>
          </a:xfrm>
          <a:solidFill>
            <a:schemeClr val="bg2"/>
          </a:solidFill>
        </p:spPr>
        <p:txBody>
          <a:bodyPr lIns="468000" tIns="468000" rIns="36000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Chart Placeholder 12">
            <a:extLst>
              <a:ext uri="{FF2B5EF4-FFF2-40B4-BE49-F238E27FC236}">
                <a16:creationId xmlns:a16="http://schemas.microsoft.com/office/drawing/2014/main" id="{141BAAD1-B2B6-51E6-5B60-1808F5AC81C2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680450" y="457200"/>
            <a:ext cx="3192463" cy="3651250"/>
          </a:xfrm>
        </p:spPr>
        <p:txBody>
          <a:bodyPr/>
          <a:lstStyle/>
          <a:p>
            <a:r>
              <a:rPr lang="en-GB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184660175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8080376" cy="5022849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002528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C38C3D6-67EC-0336-DD99-56DDA5E5271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572000" y="2279650"/>
            <a:ext cx="7300913" cy="3657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3558741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 Grey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1E793E-6791-2D8C-A188-C3A968455668}"/>
              </a:ext>
            </a:extLst>
          </p:cNvPr>
          <p:cNvSpPr/>
          <p:nvPr userDrawn="1"/>
        </p:nvSpPr>
        <p:spPr>
          <a:xfrm>
            <a:off x="0" y="1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11624" y="1828800"/>
            <a:ext cx="4111625" cy="5022849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9586913" cy="9640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2279650"/>
            <a:ext cx="3194049" cy="3657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23250" y="1828800"/>
            <a:ext cx="3968750" cy="502285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855587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68580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261588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5797550" cy="3197225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1658329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4450" y="0"/>
            <a:ext cx="5797550" cy="3654425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4"/>
            <a:ext cx="5480050" cy="1416436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279650"/>
            <a:ext cx="5480050" cy="36576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12E37936-3336-72C8-EF73-12F6B6DA40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94850" y="3654425"/>
            <a:ext cx="2597150" cy="3197225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4450" y="3654425"/>
            <a:ext cx="3200400" cy="3197225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9516971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Numb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82232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802C4B2-937C-CC88-1104-BE3049DA47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80450" y="457200"/>
            <a:ext cx="3192463" cy="137160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##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2279650"/>
            <a:ext cx="3968750" cy="457835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3773728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5DACEBD-5245-2837-AEBA-27A73AD435E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13716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96ACE6D-21DD-9ECC-EBAD-3E0487EFFB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08450" y="2279650"/>
            <a:ext cx="8083550" cy="457835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9ABDF0F-4BA7-B82C-7345-64CE6436A7E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13716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2295722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2552FDF-29F0-FEA1-55F4-48C517205ACB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7BC1DE3-EE83-6842-B054-58DA3F6BFD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59959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70BFD0F-01A4-774A-DFA5-C9069D2CA6D4}"/>
              </a:ext>
            </a:extLst>
          </p:cNvPr>
          <p:cNvSpPr/>
          <p:nvPr userDrawn="1"/>
        </p:nvSpPr>
        <p:spPr>
          <a:xfrm>
            <a:off x="4108450" y="3194050"/>
            <a:ext cx="8083550" cy="36639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5107527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Layou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0C50D2-043C-36A1-1B56-B01E9B75264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46303-E295-386A-942C-82C07C87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98C1C5-D53B-A06A-D3FD-B1ECECF4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AA9D71-ED5F-23BF-5503-5EC87E7997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31ED26-13CF-BB46-91D1-83954E3377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572000" y="457199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B292ED-E6F9-30FB-64C6-A582A0E6EA9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678863" y="457199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7D3303-2815-4B72-8F26-26A9C0519064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572000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2B6807-5104-8F45-629D-98B15B70BE6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678863" y="3649818"/>
            <a:ext cx="3194050" cy="22860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8200449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239128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68580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9307894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3654425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2000" y="3654425"/>
            <a:ext cx="7620000" cy="3197225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28693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108450" cy="6857999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0129604B-34A0-130A-052B-DFDD6B336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80450" y="2743200"/>
            <a:ext cx="3511550" cy="4108451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C9CA1A-678C-B077-A23A-695A7C682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2" name="Picture Placeholder 7">
            <a:extLst>
              <a:ext uri="{FF2B5EF4-FFF2-40B4-BE49-F238E27FC236}">
                <a16:creationId xmlns:a16="http://schemas.microsoft.com/office/drawing/2014/main" id="{15843B81-9280-B787-925B-D94E5BB1E76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680450" y="1"/>
            <a:ext cx="3511550" cy="27432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85514218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B92480-F2BB-6E4D-0B48-BC5E95A85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969909-5E9F-D8E9-99CB-822E1C3E1C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60292F-46E5-7C51-F750-22AAB107E9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723768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D5D703-D8EA-9994-BA95-384890B498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DCE458-D9A3-4DEA-87B5-6B6AE0C5F7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811863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0137FFA-74E5-4522-AFB0-E3E81944A037}"/>
              </a:ext>
            </a:extLst>
          </p:cNvPr>
          <p:cNvSpPr/>
          <p:nvPr userDrawn="1"/>
        </p:nvSpPr>
        <p:spPr>
          <a:xfrm>
            <a:off x="0" y="5686425"/>
            <a:ext cx="12192000" cy="1171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497737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31ED342-3D5F-E744-5C02-ED60F13F3A3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975334"/>
            <a:ext cx="9144000" cy="3439236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F166A59-25A3-3A00-7289-60767DE59A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06813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ivate. In/External use only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736239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or 1 Sent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60ADC76-D61C-14B2-73B6-03136E7AB583}"/>
              </a:ext>
            </a:extLst>
          </p:cNvPr>
          <p:cNvSpPr/>
          <p:nvPr userDrawn="1"/>
        </p:nvSpPr>
        <p:spPr>
          <a:xfrm>
            <a:off x="1" y="0"/>
            <a:ext cx="12192000" cy="38896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8AA187-7FD8-73C7-34D6-69957B1618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3049750"/>
            <a:ext cx="9144000" cy="1083374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F83F86-FA67-F19E-EBB4-28767A4DD3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5909954"/>
            <a:ext cx="9144000" cy="276999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FF554C-1119-C2B8-154F-A19CC55C17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190607"/>
            <a:ext cx="274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577C862B-51AF-22E7-C1C8-B6AB08B7081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3889612"/>
            <a:ext cx="12192000" cy="2968388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6991778-B436-9629-6EC4-E96EA59B0C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74764" y="204120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170962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01E87593-5AB1-A742-817D-C9CC722DF5E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FC5297-363A-7DB8-E10F-5C447164ED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02608"/>
            <a:ext cx="9586913" cy="2852737"/>
          </a:xfrm>
        </p:spPr>
        <p:txBody>
          <a:bodyPr anchor="t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B0A461-379B-6A19-B69E-A04AF5ECEB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1" y="3654426"/>
            <a:ext cx="5937250" cy="914399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BFB576-48D2-B938-362D-C2CA0F65C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44F17B-F1E6-D688-7E7E-CD7675D187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7F1A0222-B118-DD79-00E6-0881AAA2BE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441401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1A26944-9883-9ACF-5400-2F702B82D504}"/>
              </a:ext>
            </a:extLst>
          </p:cNvPr>
          <p:cNvSpPr/>
          <p:nvPr userDrawn="1"/>
        </p:nvSpPr>
        <p:spPr>
          <a:xfrm>
            <a:off x="8223251" y="0"/>
            <a:ext cx="3968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ECD5EDD-F44D-E2A4-B31C-712D8B99E8B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9050"/>
            <a:ext cx="8223250" cy="6877050"/>
          </a:xfrm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r>
              <a:rPr lang="en-GB" dirty="0"/>
              <a:t>After inserting right click on the image and send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35D584-0EEB-DF18-6040-C306755CF2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9225" y="2047164"/>
            <a:ext cx="3651250" cy="2061286"/>
          </a:xfrm>
        </p:spPr>
        <p:txBody>
          <a:bodyPr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AE34A6-9330-09DC-1C21-168B521268C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DBDCCB-998D-EBD0-8BD5-00E7B94ADC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DF72ABF-3158-3C09-4A36-943B3A21C0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29713" y="4339989"/>
            <a:ext cx="2743200" cy="1597261"/>
          </a:xfrm>
        </p:spPr>
        <p:txBody>
          <a:bodyPr>
            <a:no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102714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Font typeface="SLB Sans Light" panose="02000503040000020004" pitchFamily="2" charset="0"/>
              <a:buChar char="→"/>
              <a:defRPr sz="36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830222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Bulle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83C7488-E944-893A-2043-FE9944331A88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71500" indent="-571500">
              <a:spcBef>
                <a:spcPts val="1200"/>
              </a:spcBef>
              <a:spcAft>
                <a:spcPts val="1200"/>
              </a:spcAft>
              <a:buClrTx/>
              <a:buFont typeface="SLB Sans Light" panose="02000503040000020004" pitchFamily="2" charset="0"/>
              <a:buChar char="→"/>
              <a:defRPr sz="3600" b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A8ADEEA-C976-6343-E015-561A866601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46612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440832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2552FDF-29F0-FEA1-55F4-48C517205ACB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2DF58-EADB-C5F8-3EAC-9FF5ADA7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5642E-CCE2-D55D-2F53-B151D5C4D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6042" y="457200"/>
            <a:ext cx="7296870" cy="54800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790F8-CB43-47FE-AE71-AD955D060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5DC8C2-E17A-F7E1-D95A-5F79A6F13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B57FFDA-D27B-2D1D-703B-FAC972FA97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36969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00864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050BD1E-00A9-4F45-5A21-3A16C0123F69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5F5D6F-CBBC-B4EB-BA4B-7A6FF3E287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457199"/>
            <a:ext cx="3187700" cy="54800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0EA85E6-F1EF-96E4-5D58-38735E3A98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23647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D0B571A-0C70-23C3-C005-9DC326B60D1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3250" y="0"/>
            <a:ext cx="396875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4F0725-0679-C9E2-063B-AB1AD5211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23FE1-FF5E-6E81-D07B-CB6ABCE245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0" y="457199"/>
            <a:ext cx="3194050" cy="5480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D1F2A-D0B8-6FFC-2844-97DB08674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74CDDE-1A75-B5EA-8ADD-CDC263CB9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37C662-D0ED-4587-B264-5C4F0D975D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34154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3.sv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1.xml"/><Relationship Id="rId13" Type="http://schemas.openxmlformats.org/officeDocument/2006/relationships/slideLayout" Target="../slideLayouts/slideLayout286.xml"/><Relationship Id="rId18" Type="http://schemas.openxmlformats.org/officeDocument/2006/relationships/slideLayout" Target="../slideLayouts/slideLayout291.xml"/><Relationship Id="rId26" Type="http://schemas.openxmlformats.org/officeDocument/2006/relationships/slideLayout" Target="../slideLayouts/slideLayout299.xml"/><Relationship Id="rId3" Type="http://schemas.openxmlformats.org/officeDocument/2006/relationships/slideLayout" Target="../slideLayouts/slideLayout276.xml"/><Relationship Id="rId21" Type="http://schemas.openxmlformats.org/officeDocument/2006/relationships/slideLayout" Target="../slideLayouts/slideLayout294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280.xml"/><Relationship Id="rId12" Type="http://schemas.openxmlformats.org/officeDocument/2006/relationships/slideLayout" Target="../slideLayouts/slideLayout285.xml"/><Relationship Id="rId17" Type="http://schemas.openxmlformats.org/officeDocument/2006/relationships/slideLayout" Target="../slideLayouts/slideLayout290.xml"/><Relationship Id="rId25" Type="http://schemas.openxmlformats.org/officeDocument/2006/relationships/slideLayout" Target="../slideLayouts/slideLayout298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75.xml"/><Relationship Id="rId16" Type="http://schemas.openxmlformats.org/officeDocument/2006/relationships/slideLayout" Target="../slideLayouts/slideLayout289.xml"/><Relationship Id="rId20" Type="http://schemas.openxmlformats.org/officeDocument/2006/relationships/slideLayout" Target="../slideLayouts/slideLayout293.xml"/><Relationship Id="rId29" Type="http://schemas.openxmlformats.org/officeDocument/2006/relationships/slideLayout" Target="../slideLayouts/slideLayout302.xml"/><Relationship Id="rId1" Type="http://schemas.openxmlformats.org/officeDocument/2006/relationships/slideLayout" Target="../slideLayouts/slideLayout274.xml"/><Relationship Id="rId6" Type="http://schemas.openxmlformats.org/officeDocument/2006/relationships/slideLayout" Target="../slideLayouts/slideLayout279.xml"/><Relationship Id="rId11" Type="http://schemas.openxmlformats.org/officeDocument/2006/relationships/slideLayout" Target="../slideLayouts/slideLayout284.xml"/><Relationship Id="rId24" Type="http://schemas.openxmlformats.org/officeDocument/2006/relationships/slideLayout" Target="../slideLayouts/slideLayout297.xml"/><Relationship Id="rId32" Type="http://schemas.openxmlformats.org/officeDocument/2006/relationships/oleObject" Target="../embeddings/oleObject12.bin"/><Relationship Id="rId5" Type="http://schemas.openxmlformats.org/officeDocument/2006/relationships/slideLayout" Target="../slideLayouts/slideLayout278.xml"/><Relationship Id="rId15" Type="http://schemas.openxmlformats.org/officeDocument/2006/relationships/slideLayout" Target="../slideLayouts/slideLayout288.xml"/><Relationship Id="rId23" Type="http://schemas.openxmlformats.org/officeDocument/2006/relationships/slideLayout" Target="../slideLayouts/slideLayout296.xml"/><Relationship Id="rId28" Type="http://schemas.openxmlformats.org/officeDocument/2006/relationships/slideLayout" Target="../slideLayouts/slideLayout301.xml"/><Relationship Id="rId10" Type="http://schemas.openxmlformats.org/officeDocument/2006/relationships/slideLayout" Target="../slideLayouts/slideLayout283.xml"/><Relationship Id="rId19" Type="http://schemas.openxmlformats.org/officeDocument/2006/relationships/slideLayout" Target="../slideLayouts/slideLayout292.xml"/><Relationship Id="rId31" Type="http://schemas.openxmlformats.org/officeDocument/2006/relationships/tags" Target="../tags/tag14.xml"/><Relationship Id="rId4" Type="http://schemas.openxmlformats.org/officeDocument/2006/relationships/slideLayout" Target="../slideLayouts/slideLayout277.xml"/><Relationship Id="rId9" Type="http://schemas.openxmlformats.org/officeDocument/2006/relationships/slideLayout" Target="../slideLayouts/slideLayout282.xml"/><Relationship Id="rId14" Type="http://schemas.openxmlformats.org/officeDocument/2006/relationships/slideLayout" Target="../slideLayouts/slideLayout287.xml"/><Relationship Id="rId22" Type="http://schemas.openxmlformats.org/officeDocument/2006/relationships/slideLayout" Target="../slideLayouts/slideLayout295.xml"/><Relationship Id="rId27" Type="http://schemas.openxmlformats.org/officeDocument/2006/relationships/slideLayout" Target="../slideLayouts/slideLayout300.xml"/><Relationship Id="rId30" Type="http://schemas.openxmlformats.org/officeDocument/2006/relationships/theme" Target="../theme/theme10.xml"/><Relationship Id="rId35" Type="http://schemas.openxmlformats.org/officeDocument/2006/relationships/image" Target="../media/image3.sv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0.xml"/><Relationship Id="rId13" Type="http://schemas.openxmlformats.org/officeDocument/2006/relationships/slideLayout" Target="../slideLayouts/slideLayout315.xml"/><Relationship Id="rId18" Type="http://schemas.openxmlformats.org/officeDocument/2006/relationships/slideLayout" Target="../slideLayouts/slideLayout320.xml"/><Relationship Id="rId26" Type="http://schemas.openxmlformats.org/officeDocument/2006/relationships/slideLayout" Target="../slideLayouts/slideLayout328.xml"/><Relationship Id="rId3" Type="http://schemas.openxmlformats.org/officeDocument/2006/relationships/slideLayout" Target="../slideLayouts/slideLayout305.xml"/><Relationship Id="rId21" Type="http://schemas.openxmlformats.org/officeDocument/2006/relationships/slideLayout" Target="../slideLayouts/slideLayout323.xml"/><Relationship Id="rId7" Type="http://schemas.openxmlformats.org/officeDocument/2006/relationships/slideLayout" Target="../slideLayouts/slideLayout309.xml"/><Relationship Id="rId12" Type="http://schemas.openxmlformats.org/officeDocument/2006/relationships/slideLayout" Target="../slideLayouts/slideLayout314.xml"/><Relationship Id="rId17" Type="http://schemas.openxmlformats.org/officeDocument/2006/relationships/slideLayout" Target="../slideLayouts/slideLayout319.xml"/><Relationship Id="rId25" Type="http://schemas.openxmlformats.org/officeDocument/2006/relationships/slideLayout" Target="../slideLayouts/slideLayout327.xml"/><Relationship Id="rId2" Type="http://schemas.openxmlformats.org/officeDocument/2006/relationships/slideLayout" Target="../slideLayouts/slideLayout304.xml"/><Relationship Id="rId16" Type="http://schemas.openxmlformats.org/officeDocument/2006/relationships/slideLayout" Target="../slideLayouts/slideLayout318.xml"/><Relationship Id="rId20" Type="http://schemas.openxmlformats.org/officeDocument/2006/relationships/slideLayout" Target="../slideLayouts/slideLayout322.xml"/><Relationship Id="rId29" Type="http://schemas.openxmlformats.org/officeDocument/2006/relationships/slideLayout" Target="../slideLayouts/slideLayout331.xml"/><Relationship Id="rId1" Type="http://schemas.openxmlformats.org/officeDocument/2006/relationships/slideLayout" Target="../slideLayouts/slideLayout303.xml"/><Relationship Id="rId6" Type="http://schemas.openxmlformats.org/officeDocument/2006/relationships/slideLayout" Target="../slideLayouts/slideLayout308.xml"/><Relationship Id="rId11" Type="http://schemas.openxmlformats.org/officeDocument/2006/relationships/slideLayout" Target="../slideLayouts/slideLayout313.xml"/><Relationship Id="rId24" Type="http://schemas.openxmlformats.org/officeDocument/2006/relationships/slideLayout" Target="../slideLayouts/slideLayout326.xml"/><Relationship Id="rId32" Type="http://schemas.openxmlformats.org/officeDocument/2006/relationships/image" Target="../media/image11.svg"/><Relationship Id="rId5" Type="http://schemas.openxmlformats.org/officeDocument/2006/relationships/slideLayout" Target="../slideLayouts/slideLayout307.xml"/><Relationship Id="rId15" Type="http://schemas.openxmlformats.org/officeDocument/2006/relationships/slideLayout" Target="../slideLayouts/slideLayout317.xml"/><Relationship Id="rId23" Type="http://schemas.openxmlformats.org/officeDocument/2006/relationships/slideLayout" Target="../slideLayouts/slideLayout325.xml"/><Relationship Id="rId28" Type="http://schemas.openxmlformats.org/officeDocument/2006/relationships/slideLayout" Target="../slideLayouts/slideLayout330.xml"/><Relationship Id="rId10" Type="http://schemas.openxmlformats.org/officeDocument/2006/relationships/slideLayout" Target="../slideLayouts/slideLayout312.xml"/><Relationship Id="rId19" Type="http://schemas.openxmlformats.org/officeDocument/2006/relationships/slideLayout" Target="../slideLayouts/slideLayout321.xml"/><Relationship Id="rId31" Type="http://schemas.openxmlformats.org/officeDocument/2006/relationships/image" Target="../media/image9.png"/><Relationship Id="rId4" Type="http://schemas.openxmlformats.org/officeDocument/2006/relationships/slideLayout" Target="../slideLayouts/slideLayout306.xml"/><Relationship Id="rId9" Type="http://schemas.openxmlformats.org/officeDocument/2006/relationships/slideLayout" Target="../slideLayouts/slideLayout311.xml"/><Relationship Id="rId14" Type="http://schemas.openxmlformats.org/officeDocument/2006/relationships/slideLayout" Target="../slideLayouts/slideLayout316.xml"/><Relationship Id="rId22" Type="http://schemas.openxmlformats.org/officeDocument/2006/relationships/slideLayout" Target="../slideLayouts/slideLayout324.xml"/><Relationship Id="rId27" Type="http://schemas.openxmlformats.org/officeDocument/2006/relationships/slideLayout" Target="../slideLayouts/slideLayout329.xml"/><Relationship Id="rId30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9.xml"/><Relationship Id="rId13" Type="http://schemas.openxmlformats.org/officeDocument/2006/relationships/slideLayout" Target="../slideLayouts/slideLayout344.xml"/><Relationship Id="rId18" Type="http://schemas.openxmlformats.org/officeDocument/2006/relationships/slideLayout" Target="../slideLayouts/slideLayout349.xml"/><Relationship Id="rId26" Type="http://schemas.openxmlformats.org/officeDocument/2006/relationships/slideLayout" Target="../slideLayouts/slideLayout357.xml"/><Relationship Id="rId3" Type="http://schemas.openxmlformats.org/officeDocument/2006/relationships/slideLayout" Target="../slideLayouts/slideLayout334.xml"/><Relationship Id="rId21" Type="http://schemas.openxmlformats.org/officeDocument/2006/relationships/slideLayout" Target="../slideLayouts/slideLayout352.xml"/><Relationship Id="rId34" Type="http://schemas.openxmlformats.org/officeDocument/2006/relationships/tags" Target="../tags/tag15.xml"/><Relationship Id="rId7" Type="http://schemas.openxmlformats.org/officeDocument/2006/relationships/slideLayout" Target="../slideLayouts/slideLayout338.xml"/><Relationship Id="rId12" Type="http://schemas.openxmlformats.org/officeDocument/2006/relationships/slideLayout" Target="../slideLayouts/slideLayout343.xml"/><Relationship Id="rId17" Type="http://schemas.openxmlformats.org/officeDocument/2006/relationships/slideLayout" Target="../slideLayouts/slideLayout348.xml"/><Relationship Id="rId25" Type="http://schemas.openxmlformats.org/officeDocument/2006/relationships/slideLayout" Target="../slideLayouts/slideLayout356.xml"/><Relationship Id="rId33" Type="http://schemas.openxmlformats.org/officeDocument/2006/relationships/theme" Target="../theme/theme12.xml"/><Relationship Id="rId38" Type="http://schemas.openxmlformats.org/officeDocument/2006/relationships/image" Target="../media/image10.svg"/><Relationship Id="rId2" Type="http://schemas.openxmlformats.org/officeDocument/2006/relationships/slideLayout" Target="../slideLayouts/slideLayout333.xml"/><Relationship Id="rId16" Type="http://schemas.openxmlformats.org/officeDocument/2006/relationships/slideLayout" Target="../slideLayouts/slideLayout347.xml"/><Relationship Id="rId20" Type="http://schemas.openxmlformats.org/officeDocument/2006/relationships/slideLayout" Target="../slideLayouts/slideLayout351.xml"/><Relationship Id="rId29" Type="http://schemas.openxmlformats.org/officeDocument/2006/relationships/slideLayout" Target="../slideLayouts/slideLayout360.xml"/><Relationship Id="rId1" Type="http://schemas.openxmlformats.org/officeDocument/2006/relationships/slideLayout" Target="../slideLayouts/slideLayout332.xml"/><Relationship Id="rId6" Type="http://schemas.openxmlformats.org/officeDocument/2006/relationships/slideLayout" Target="../slideLayouts/slideLayout337.xml"/><Relationship Id="rId11" Type="http://schemas.openxmlformats.org/officeDocument/2006/relationships/slideLayout" Target="../slideLayouts/slideLayout342.xml"/><Relationship Id="rId24" Type="http://schemas.openxmlformats.org/officeDocument/2006/relationships/slideLayout" Target="../slideLayouts/slideLayout355.xml"/><Relationship Id="rId32" Type="http://schemas.openxmlformats.org/officeDocument/2006/relationships/slideLayout" Target="../slideLayouts/slideLayout363.xml"/><Relationship Id="rId37" Type="http://schemas.openxmlformats.org/officeDocument/2006/relationships/image" Target="../media/image9.png"/><Relationship Id="rId5" Type="http://schemas.openxmlformats.org/officeDocument/2006/relationships/slideLayout" Target="../slideLayouts/slideLayout336.xml"/><Relationship Id="rId15" Type="http://schemas.openxmlformats.org/officeDocument/2006/relationships/slideLayout" Target="../slideLayouts/slideLayout346.xml"/><Relationship Id="rId23" Type="http://schemas.openxmlformats.org/officeDocument/2006/relationships/slideLayout" Target="../slideLayouts/slideLayout354.xml"/><Relationship Id="rId28" Type="http://schemas.openxmlformats.org/officeDocument/2006/relationships/slideLayout" Target="../slideLayouts/slideLayout359.xml"/><Relationship Id="rId36" Type="http://schemas.openxmlformats.org/officeDocument/2006/relationships/image" Target="../media/image13.emf"/><Relationship Id="rId10" Type="http://schemas.openxmlformats.org/officeDocument/2006/relationships/slideLayout" Target="../slideLayouts/slideLayout341.xml"/><Relationship Id="rId19" Type="http://schemas.openxmlformats.org/officeDocument/2006/relationships/slideLayout" Target="../slideLayouts/slideLayout350.xml"/><Relationship Id="rId31" Type="http://schemas.openxmlformats.org/officeDocument/2006/relationships/slideLayout" Target="../slideLayouts/slideLayout362.xml"/><Relationship Id="rId4" Type="http://schemas.openxmlformats.org/officeDocument/2006/relationships/slideLayout" Target="../slideLayouts/slideLayout335.xml"/><Relationship Id="rId9" Type="http://schemas.openxmlformats.org/officeDocument/2006/relationships/slideLayout" Target="../slideLayouts/slideLayout340.xml"/><Relationship Id="rId14" Type="http://schemas.openxmlformats.org/officeDocument/2006/relationships/slideLayout" Target="../slideLayouts/slideLayout345.xml"/><Relationship Id="rId22" Type="http://schemas.openxmlformats.org/officeDocument/2006/relationships/slideLayout" Target="../slideLayouts/slideLayout353.xml"/><Relationship Id="rId27" Type="http://schemas.openxmlformats.org/officeDocument/2006/relationships/slideLayout" Target="../slideLayouts/slideLayout358.xml"/><Relationship Id="rId30" Type="http://schemas.openxmlformats.org/officeDocument/2006/relationships/slideLayout" Target="../slideLayouts/slideLayout361.xml"/><Relationship Id="rId35" Type="http://schemas.openxmlformats.org/officeDocument/2006/relationships/oleObject" Target="../embeddings/oleObject13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1.xml"/><Relationship Id="rId13" Type="http://schemas.openxmlformats.org/officeDocument/2006/relationships/slideLayout" Target="../slideLayouts/slideLayout376.xml"/><Relationship Id="rId18" Type="http://schemas.openxmlformats.org/officeDocument/2006/relationships/slideLayout" Target="../slideLayouts/slideLayout381.xml"/><Relationship Id="rId26" Type="http://schemas.openxmlformats.org/officeDocument/2006/relationships/slideLayout" Target="../slideLayouts/slideLayout389.xml"/><Relationship Id="rId3" Type="http://schemas.openxmlformats.org/officeDocument/2006/relationships/slideLayout" Target="../slideLayouts/slideLayout366.xml"/><Relationship Id="rId21" Type="http://schemas.openxmlformats.org/officeDocument/2006/relationships/slideLayout" Target="../slideLayouts/slideLayout384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370.xml"/><Relationship Id="rId12" Type="http://schemas.openxmlformats.org/officeDocument/2006/relationships/slideLayout" Target="../slideLayouts/slideLayout375.xml"/><Relationship Id="rId17" Type="http://schemas.openxmlformats.org/officeDocument/2006/relationships/slideLayout" Target="../slideLayouts/slideLayout380.xml"/><Relationship Id="rId25" Type="http://schemas.openxmlformats.org/officeDocument/2006/relationships/slideLayout" Target="../slideLayouts/slideLayout388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365.xml"/><Relationship Id="rId16" Type="http://schemas.openxmlformats.org/officeDocument/2006/relationships/slideLayout" Target="../slideLayouts/slideLayout379.xml"/><Relationship Id="rId20" Type="http://schemas.openxmlformats.org/officeDocument/2006/relationships/slideLayout" Target="../slideLayouts/slideLayout383.xml"/><Relationship Id="rId29" Type="http://schemas.openxmlformats.org/officeDocument/2006/relationships/slideLayout" Target="../slideLayouts/slideLayout392.xml"/><Relationship Id="rId1" Type="http://schemas.openxmlformats.org/officeDocument/2006/relationships/slideLayout" Target="../slideLayouts/slideLayout364.xml"/><Relationship Id="rId6" Type="http://schemas.openxmlformats.org/officeDocument/2006/relationships/slideLayout" Target="../slideLayouts/slideLayout369.xml"/><Relationship Id="rId11" Type="http://schemas.openxmlformats.org/officeDocument/2006/relationships/slideLayout" Target="../slideLayouts/slideLayout374.xml"/><Relationship Id="rId24" Type="http://schemas.openxmlformats.org/officeDocument/2006/relationships/slideLayout" Target="../slideLayouts/slideLayout387.xml"/><Relationship Id="rId32" Type="http://schemas.openxmlformats.org/officeDocument/2006/relationships/oleObject" Target="../embeddings/oleObject14.bin"/><Relationship Id="rId5" Type="http://schemas.openxmlformats.org/officeDocument/2006/relationships/slideLayout" Target="../slideLayouts/slideLayout368.xml"/><Relationship Id="rId15" Type="http://schemas.openxmlformats.org/officeDocument/2006/relationships/slideLayout" Target="../slideLayouts/slideLayout378.xml"/><Relationship Id="rId23" Type="http://schemas.openxmlformats.org/officeDocument/2006/relationships/slideLayout" Target="../slideLayouts/slideLayout386.xml"/><Relationship Id="rId28" Type="http://schemas.openxmlformats.org/officeDocument/2006/relationships/slideLayout" Target="../slideLayouts/slideLayout391.xml"/><Relationship Id="rId10" Type="http://schemas.openxmlformats.org/officeDocument/2006/relationships/slideLayout" Target="../slideLayouts/slideLayout373.xml"/><Relationship Id="rId19" Type="http://schemas.openxmlformats.org/officeDocument/2006/relationships/slideLayout" Target="../slideLayouts/slideLayout382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367.xml"/><Relationship Id="rId9" Type="http://schemas.openxmlformats.org/officeDocument/2006/relationships/slideLayout" Target="../slideLayouts/slideLayout372.xml"/><Relationship Id="rId14" Type="http://schemas.openxmlformats.org/officeDocument/2006/relationships/slideLayout" Target="../slideLayouts/slideLayout377.xml"/><Relationship Id="rId22" Type="http://schemas.openxmlformats.org/officeDocument/2006/relationships/slideLayout" Target="../slideLayouts/slideLayout385.xml"/><Relationship Id="rId27" Type="http://schemas.openxmlformats.org/officeDocument/2006/relationships/slideLayout" Target="../slideLayouts/slideLayout390.xml"/><Relationship Id="rId30" Type="http://schemas.openxmlformats.org/officeDocument/2006/relationships/theme" Target="../theme/theme13.xml"/><Relationship Id="rId35" Type="http://schemas.openxmlformats.org/officeDocument/2006/relationships/image" Target="../media/image6.sv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0.xml"/><Relationship Id="rId13" Type="http://schemas.openxmlformats.org/officeDocument/2006/relationships/slideLayout" Target="../slideLayouts/slideLayout405.xml"/><Relationship Id="rId18" Type="http://schemas.openxmlformats.org/officeDocument/2006/relationships/slideLayout" Target="../slideLayouts/slideLayout410.xml"/><Relationship Id="rId26" Type="http://schemas.openxmlformats.org/officeDocument/2006/relationships/slideLayout" Target="../slideLayouts/slideLayout418.xml"/><Relationship Id="rId3" Type="http://schemas.openxmlformats.org/officeDocument/2006/relationships/slideLayout" Target="../slideLayouts/slideLayout395.xml"/><Relationship Id="rId21" Type="http://schemas.openxmlformats.org/officeDocument/2006/relationships/slideLayout" Target="../slideLayouts/slideLayout413.xml"/><Relationship Id="rId34" Type="http://schemas.openxmlformats.org/officeDocument/2006/relationships/oleObject" Target="../embeddings/oleObject15.bin"/><Relationship Id="rId7" Type="http://schemas.openxmlformats.org/officeDocument/2006/relationships/slideLayout" Target="../slideLayouts/slideLayout399.xml"/><Relationship Id="rId12" Type="http://schemas.openxmlformats.org/officeDocument/2006/relationships/slideLayout" Target="../slideLayouts/slideLayout404.xml"/><Relationship Id="rId17" Type="http://schemas.openxmlformats.org/officeDocument/2006/relationships/slideLayout" Target="../slideLayouts/slideLayout409.xml"/><Relationship Id="rId25" Type="http://schemas.openxmlformats.org/officeDocument/2006/relationships/slideLayout" Target="../slideLayouts/slideLayout417.xml"/><Relationship Id="rId33" Type="http://schemas.openxmlformats.org/officeDocument/2006/relationships/tags" Target="../tags/tag17.xml"/><Relationship Id="rId2" Type="http://schemas.openxmlformats.org/officeDocument/2006/relationships/slideLayout" Target="../slideLayouts/slideLayout394.xml"/><Relationship Id="rId16" Type="http://schemas.openxmlformats.org/officeDocument/2006/relationships/slideLayout" Target="../slideLayouts/slideLayout408.xml"/><Relationship Id="rId20" Type="http://schemas.openxmlformats.org/officeDocument/2006/relationships/slideLayout" Target="../slideLayouts/slideLayout412.xml"/><Relationship Id="rId29" Type="http://schemas.openxmlformats.org/officeDocument/2006/relationships/slideLayout" Target="../slideLayouts/slideLayout421.xml"/><Relationship Id="rId1" Type="http://schemas.openxmlformats.org/officeDocument/2006/relationships/slideLayout" Target="../slideLayouts/slideLayout393.xml"/><Relationship Id="rId6" Type="http://schemas.openxmlformats.org/officeDocument/2006/relationships/slideLayout" Target="../slideLayouts/slideLayout398.xml"/><Relationship Id="rId11" Type="http://schemas.openxmlformats.org/officeDocument/2006/relationships/slideLayout" Target="../slideLayouts/slideLayout403.xml"/><Relationship Id="rId24" Type="http://schemas.openxmlformats.org/officeDocument/2006/relationships/slideLayout" Target="../slideLayouts/slideLayout416.xml"/><Relationship Id="rId32" Type="http://schemas.openxmlformats.org/officeDocument/2006/relationships/theme" Target="../theme/theme14.xml"/><Relationship Id="rId37" Type="http://schemas.openxmlformats.org/officeDocument/2006/relationships/image" Target="../media/image11.svg"/><Relationship Id="rId5" Type="http://schemas.openxmlformats.org/officeDocument/2006/relationships/slideLayout" Target="../slideLayouts/slideLayout397.xml"/><Relationship Id="rId15" Type="http://schemas.openxmlformats.org/officeDocument/2006/relationships/slideLayout" Target="../slideLayouts/slideLayout407.xml"/><Relationship Id="rId23" Type="http://schemas.openxmlformats.org/officeDocument/2006/relationships/slideLayout" Target="../slideLayouts/slideLayout415.xml"/><Relationship Id="rId28" Type="http://schemas.openxmlformats.org/officeDocument/2006/relationships/slideLayout" Target="../slideLayouts/slideLayout420.xml"/><Relationship Id="rId36" Type="http://schemas.openxmlformats.org/officeDocument/2006/relationships/image" Target="../media/image9.png"/><Relationship Id="rId10" Type="http://schemas.openxmlformats.org/officeDocument/2006/relationships/slideLayout" Target="../slideLayouts/slideLayout402.xml"/><Relationship Id="rId19" Type="http://schemas.openxmlformats.org/officeDocument/2006/relationships/slideLayout" Target="../slideLayouts/slideLayout411.xml"/><Relationship Id="rId31" Type="http://schemas.openxmlformats.org/officeDocument/2006/relationships/slideLayout" Target="../slideLayouts/slideLayout423.xml"/><Relationship Id="rId4" Type="http://schemas.openxmlformats.org/officeDocument/2006/relationships/slideLayout" Target="../slideLayouts/slideLayout396.xml"/><Relationship Id="rId9" Type="http://schemas.openxmlformats.org/officeDocument/2006/relationships/slideLayout" Target="../slideLayouts/slideLayout401.xml"/><Relationship Id="rId14" Type="http://schemas.openxmlformats.org/officeDocument/2006/relationships/slideLayout" Target="../slideLayouts/slideLayout406.xml"/><Relationship Id="rId22" Type="http://schemas.openxmlformats.org/officeDocument/2006/relationships/slideLayout" Target="../slideLayouts/slideLayout414.xml"/><Relationship Id="rId27" Type="http://schemas.openxmlformats.org/officeDocument/2006/relationships/slideLayout" Target="../slideLayouts/slideLayout419.xml"/><Relationship Id="rId30" Type="http://schemas.openxmlformats.org/officeDocument/2006/relationships/slideLayout" Target="../slideLayouts/slideLayout422.xml"/><Relationship Id="rId35" Type="http://schemas.openxmlformats.org/officeDocument/2006/relationships/image" Target="../media/image19.emf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1.xml"/><Relationship Id="rId13" Type="http://schemas.openxmlformats.org/officeDocument/2006/relationships/slideLayout" Target="../slideLayouts/slideLayout436.xml"/><Relationship Id="rId18" Type="http://schemas.openxmlformats.org/officeDocument/2006/relationships/slideLayout" Target="../slideLayouts/slideLayout441.xml"/><Relationship Id="rId26" Type="http://schemas.openxmlformats.org/officeDocument/2006/relationships/slideLayout" Target="../slideLayouts/slideLayout449.xml"/><Relationship Id="rId3" Type="http://schemas.openxmlformats.org/officeDocument/2006/relationships/slideLayout" Target="../slideLayouts/slideLayout426.xml"/><Relationship Id="rId21" Type="http://schemas.openxmlformats.org/officeDocument/2006/relationships/slideLayout" Target="../slideLayouts/slideLayout444.xml"/><Relationship Id="rId34" Type="http://schemas.openxmlformats.org/officeDocument/2006/relationships/oleObject" Target="../embeddings/oleObject18.bin"/><Relationship Id="rId7" Type="http://schemas.openxmlformats.org/officeDocument/2006/relationships/slideLayout" Target="../slideLayouts/slideLayout430.xml"/><Relationship Id="rId12" Type="http://schemas.openxmlformats.org/officeDocument/2006/relationships/slideLayout" Target="../slideLayouts/slideLayout435.xml"/><Relationship Id="rId17" Type="http://schemas.openxmlformats.org/officeDocument/2006/relationships/slideLayout" Target="../slideLayouts/slideLayout440.xml"/><Relationship Id="rId25" Type="http://schemas.openxmlformats.org/officeDocument/2006/relationships/slideLayout" Target="../slideLayouts/slideLayout448.xml"/><Relationship Id="rId33" Type="http://schemas.openxmlformats.org/officeDocument/2006/relationships/tags" Target="../tags/tag20.xml"/><Relationship Id="rId2" Type="http://schemas.openxmlformats.org/officeDocument/2006/relationships/slideLayout" Target="../slideLayouts/slideLayout425.xml"/><Relationship Id="rId16" Type="http://schemas.openxmlformats.org/officeDocument/2006/relationships/slideLayout" Target="../slideLayouts/slideLayout439.xml"/><Relationship Id="rId20" Type="http://schemas.openxmlformats.org/officeDocument/2006/relationships/slideLayout" Target="../slideLayouts/slideLayout443.xml"/><Relationship Id="rId29" Type="http://schemas.openxmlformats.org/officeDocument/2006/relationships/slideLayout" Target="../slideLayouts/slideLayout452.xml"/><Relationship Id="rId1" Type="http://schemas.openxmlformats.org/officeDocument/2006/relationships/slideLayout" Target="../slideLayouts/slideLayout424.xml"/><Relationship Id="rId6" Type="http://schemas.openxmlformats.org/officeDocument/2006/relationships/slideLayout" Target="../slideLayouts/slideLayout429.xml"/><Relationship Id="rId11" Type="http://schemas.openxmlformats.org/officeDocument/2006/relationships/slideLayout" Target="../slideLayouts/slideLayout434.xml"/><Relationship Id="rId24" Type="http://schemas.openxmlformats.org/officeDocument/2006/relationships/slideLayout" Target="../slideLayouts/slideLayout447.xml"/><Relationship Id="rId32" Type="http://schemas.openxmlformats.org/officeDocument/2006/relationships/theme" Target="../theme/theme15.xml"/><Relationship Id="rId37" Type="http://schemas.openxmlformats.org/officeDocument/2006/relationships/image" Target="../media/image10.svg"/><Relationship Id="rId5" Type="http://schemas.openxmlformats.org/officeDocument/2006/relationships/slideLayout" Target="../slideLayouts/slideLayout428.xml"/><Relationship Id="rId15" Type="http://schemas.openxmlformats.org/officeDocument/2006/relationships/slideLayout" Target="../slideLayouts/slideLayout438.xml"/><Relationship Id="rId23" Type="http://schemas.openxmlformats.org/officeDocument/2006/relationships/slideLayout" Target="../slideLayouts/slideLayout446.xml"/><Relationship Id="rId28" Type="http://schemas.openxmlformats.org/officeDocument/2006/relationships/slideLayout" Target="../slideLayouts/slideLayout451.xml"/><Relationship Id="rId36" Type="http://schemas.openxmlformats.org/officeDocument/2006/relationships/image" Target="../media/image9.png"/><Relationship Id="rId10" Type="http://schemas.openxmlformats.org/officeDocument/2006/relationships/slideLayout" Target="../slideLayouts/slideLayout433.xml"/><Relationship Id="rId19" Type="http://schemas.openxmlformats.org/officeDocument/2006/relationships/slideLayout" Target="../slideLayouts/slideLayout442.xml"/><Relationship Id="rId31" Type="http://schemas.openxmlformats.org/officeDocument/2006/relationships/slideLayout" Target="../slideLayouts/slideLayout454.xml"/><Relationship Id="rId4" Type="http://schemas.openxmlformats.org/officeDocument/2006/relationships/slideLayout" Target="../slideLayouts/slideLayout427.xml"/><Relationship Id="rId9" Type="http://schemas.openxmlformats.org/officeDocument/2006/relationships/slideLayout" Target="../slideLayouts/slideLayout432.xml"/><Relationship Id="rId14" Type="http://schemas.openxmlformats.org/officeDocument/2006/relationships/slideLayout" Target="../slideLayouts/slideLayout437.xml"/><Relationship Id="rId22" Type="http://schemas.openxmlformats.org/officeDocument/2006/relationships/slideLayout" Target="../slideLayouts/slideLayout445.xml"/><Relationship Id="rId27" Type="http://schemas.openxmlformats.org/officeDocument/2006/relationships/slideLayout" Target="../slideLayouts/slideLayout450.xml"/><Relationship Id="rId30" Type="http://schemas.openxmlformats.org/officeDocument/2006/relationships/slideLayout" Target="../slideLayouts/slideLayout453.xml"/><Relationship Id="rId35" Type="http://schemas.openxmlformats.org/officeDocument/2006/relationships/image" Target="../media/image19.emf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2.xml"/><Relationship Id="rId13" Type="http://schemas.openxmlformats.org/officeDocument/2006/relationships/slideLayout" Target="../slideLayouts/slideLayout467.xml"/><Relationship Id="rId18" Type="http://schemas.openxmlformats.org/officeDocument/2006/relationships/slideLayout" Target="../slideLayouts/slideLayout472.xml"/><Relationship Id="rId26" Type="http://schemas.openxmlformats.org/officeDocument/2006/relationships/slideLayout" Target="../slideLayouts/slideLayout480.xml"/><Relationship Id="rId3" Type="http://schemas.openxmlformats.org/officeDocument/2006/relationships/slideLayout" Target="../slideLayouts/slideLayout457.xml"/><Relationship Id="rId21" Type="http://schemas.openxmlformats.org/officeDocument/2006/relationships/slideLayout" Target="../slideLayouts/slideLayout475.xml"/><Relationship Id="rId34" Type="http://schemas.openxmlformats.org/officeDocument/2006/relationships/oleObject" Target="../embeddings/oleObject21.bin"/><Relationship Id="rId7" Type="http://schemas.openxmlformats.org/officeDocument/2006/relationships/slideLayout" Target="../slideLayouts/slideLayout461.xml"/><Relationship Id="rId12" Type="http://schemas.openxmlformats.org/officeDocument/2006/relationships/slideLayout" Target="../slideLayouts/slideLayout466.xml"/><Relationship Id="rId17" Type="http://schemas.openxmlformats.org/officeDocument/2006/relationships/slideLayout" Target="../slideLayouts/slideLayout471.xml"/><Relationship Id="rId25" Type="http://schemas.openxmlformats.org/officeDocument/2006/relationships/slideLayout" Target="../slideLayouts/slideLayout479.xml"/><Relationship Id="rId33" Type="http://schemas.openxmlformats.org/officeDocument/2006/relationships/tags" Target="../tags/tag23.xml"/><Relationship Id="rId2" Type="http://schemas.openxmlformats.org/officeDocument/2006/relationships/slideLayout" Target="../slideLayouts/slideLayout456.xml"/><Relationship Id="rId16" Type="http://schemas.openxmlformats.org/officeDocument/2006/relationships/slideLayout" Target="../slideLayouts/slideLayout470.xml"/><Relationship Id="rId20" Type="http://schemas.openxmlformats.org/officeDocument/2006/relationships/slideLayout" Target="../slideLayouts/slideLayout474.xml"/><Relationship Id="rId29" Type="http://schemas.openxmlformats.org/officeDocument/2006/relationships/slideLayout" Target="../slideLayouts/slideLayout483.xml"/><Relationship Id="rId1" Type="http://schemas.openxmlformats.org/officeDocument/2006/relationships/slideLayout" Target="../slideLayouts/slideLayout455.xml"/><Relationship Id="rId6" Type="http://schemas.openxmlformats.org/officeDocument/2006/relationships/slideLayout" Target="../slideLayouts/slideLayout460.xml"/><Relationship Id="rId11" Type="http://schemas.openxmlformats.org/officeDocument/2006/relationships/slideLayout" Target="../slideLayouts/slideLayout465.xml"/><Relationship Id="rId24" Type="http://schemas.openxmlformats.org/officeDocument/2006/relationships/slideLayout" Target="../slideLayouts/slideLayout478.xml"/><Relationship Id="rId32" Type="http://schemas.openxmlformats.org/officeDocument/2006/relationships/theme" Target="../theme/theme16.xml"/><Relationship Id="rId37" Type="http://schemas.openxmlformats.org/officeDocument/2006/relationships/image" Target="../media/image11.svg"/><Relationship Id="rId5" Type="http://schemas.openxmlformats.org/officeDocument/2006/relationships/slideLayout" Target="../slideLayouts/slideLayout459.xml"/><Relationship Id="rId15" Type="http://schemas.openxmlformats.org/officeDocument/2006/relationships/slideLayout" Target="../slideLayouts/slideLayout469.xml"/><Relationship Id="rId23" Type="http://schemas.openxmlformats.org/officeDocument/2006/relationships/slideLayout" Target="../slideLayouts/slideLayout477.xml"/><Relationship Id="rId28" Type="http://schemas.openxmlformats.org/officeDocument/2006/relationships/slideLayout" Target="../slideLayouts/slideLayout482.xml"/><Relationship Id="rId36" Type="http://schemas.openxmlformats.org/officeDocument/2006/relationships/image" Target="../media/image9.png"/><Relationship Id="rId10" Type="http://schemas.openxmlformats.org/officeDocument/2006/relationships/slideLayout" Target="../slideLayouts/slideLayout464.xml"/><Relationship Id="rId19" Type="http://schemas.openxmlformats.org/officeDocument/2006/relationships/slideLayout" Target="../slideLayouts/slideLayout473.xml"/><Relationship Id="rId31" Type="http://schemas.openxmlformats.org/officeDocument/2006/relationships/slideLayout" Target="../slideLayouts/slideLayout485.xml"/><Relationship Id="rId4" Type="http://schemas.openxmlformats.org/officeDocument/2006/relationships/slideLayout" Target="../slideLayouts/slideLayout458.xml"/><Relationship Id="rId9" Type="http://schemas.openxmlformats.org/officeDocument/2006/relationships/slideLayout" Target="../slideLayouts/slideLayout463.xml"/><Relationship Id="rId14" Type="http://schemas.openxmlformats.org/officeDocument/2006/relationships/slideLayout" Target="../slideLayouts/slideLayout468.xml"/><Relationship Id="rId22" Type="http://schemas.openxmlformats.org/officeDocument/2006/relationships/slideLayout" Target="../slideLayouts/slideLayout476.xml"/><Relationship Id="rId27" Type="http://schemas.openxmlformats.org/officeDocument/2006/relationships/slideLayout" Target="../slideLayouts/slideLayout481.xml"/><Relationship Id="rId30" Type="http://schemas.openxmlformats.org/officeDocument/2006/relationships/slideLayout" Target="../slideLayouts/slideLayout484.xml"/><Relationship Id="rId35" Type="http://schemas.openxmlformats.org/officeDocument/2006/relationships/image" Target="../media/image19.emf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3.xml"/><Relationship Id="rId13" Type="http://schemas.openxmlformats.org/officeDocument/2006/relationships/slideLayout" Target="../slideLayouts/slideLayout498.xml"/><Relationship Id="rId18" Type="http://schemas.openxmlformats.org/officeDocument/2006/relationships/slideLayout" Target="../slideLayouts/slideLayout503.xml"/><Relationship Id="rId26" Type="http://schemas.openxmlformats.org/officeDocument/2006/relationships/slideLayout" Target="../slideLayouts/slideLayout511.xml"/><Relationship Id="rId3" Type="http://schemas.openxmlformats.org/officeDocument/2006/relationships/slideLayout" Target="../slideLayouts/slideLayout488.xml"/><Relationship Id="rId21" Type="http://schemas.openxmlformats.org/officeDocument/2006/relationships/slideLayout" Target="../slideLayouts/slideLayout506.xml"/><Relationship Id="rId34" Type="http://schemas.openxmlformats.org/officeDocument/2006/relationships/image" Target="../media/image13.emf"/><Relationship Id="rId7" Type="http://schemas.openxmlformats.org/officeDocument/2006/relationships/slideLayout" Target="../slideLayouts/slideLayout492.xml"/><Relationship Id="rId12" Type="http://schemas.openxmlformats.org/officeDocument/2006/relationships/slideLayout" Target="../slideLayouts/slideLayout497.xml"/><Relationship Id="rId17" Type="http://schemas.openxmlformats.org/officeDocument/2006/relationships/slideLayout" Target="../slideLayouts/slideLayout502.xml"/><Relationship Id="rId25" Type="http://schemas.openxmlformats.org/officeDocument/2006/relationships/slideLayout" Target="../slideLayouts/slideLayout510.xml"/><Relationship Id="rId33" Type="http://schemas.openxmlformats.org/officeDocument/2006/relationships/oleObject" Target="../embeddings/oleObject24.bin"/><Relationship Id="rId2" Type="http://schemas.openxmlformats.org/officeDocument/2006/relationships/slideLayout" Target="../slideLayouts/slideLayout487.xml"/><Relationship Id="rId16" Type="http://schemas.openxmlformats.org/officeDocument/2006/relationships/slideLayout" Target="../slideLayouts/slideLayout501.xml"/><Relationship Id="rId20" Type="http://schemas.openxmlformats.org/officeDocument/2006/relationships/slideLayout" Target="../slideLayouts/slideLayout505.xml"/><Relationship Id="rId29" Type="http://schemas.openxmlformats.org/officeDocument/2006/relationships/slideLayout" Target="../slideLayouts/slideLayout514.xml"/><Relationship Id="rId1" Type="http://schemas.openxmlformats.org/officeDocument/2006/relationships/slideLayout" Target="../slideLayouts/slideLayout486.xml"/><Relationship Id="rId6" Type="http://schemas.openxmlformats.org/officeDocument/2006/relationships/slideLayout" Target="../slideLayouts/slideLayout491.xml"/><Relationship Id="rId11" Type="http://schemas.openxmlformats.org/officeDocument/2006/relationships/slideLayout" Target="../slideLayouts/slideLayout496.xml"/><Relationship Id="rId24" Type="http://schemas.openxmlformats.org/officeDocument/2006/relationships/slideLayout" Target="../slideLayouts/slideLayout509.xml"/><Relationship Id="rId32" Type="http://schemas.openxmlformats.org/officeDocument/2006/relationships/tags" Target="../tags/tag26.xml"/><Relationship Id="rId5" Type="http://schemas.openxmlformats.org/officeDocument/2006/relationships/slideLayout" Target="../slideLayouts/slideLayout490.xml"/><Relationship Id="rId15" Type="http://schemas.openxmlformats.org/officeDocument/2006/relationships/slideLayout" Target="../slideLayouts/slideLayout500.xml"/><Relationship Id="rId23" Type="http://schemas.openxmlformats.org/officeDocument/2006/relationships/slideLayout" Target="../slideLayouts/slideLayout508.xml"/><Relationship Id="rId28" Type="http://schemas.openxmlformats.org/officeDocument/2006/relationships/slideLayout" Target="../slideLayouts/slideLayout513.xml"/><Relationship Id="rId36" Type="http://schemas.openxmlformats.org/officeDocument/2006/relationships/image" Target="../media/image10.svg"/><Relationship Id="rId10" Type="http://schemas.openxmlformats.org/officeDocument/2006/relationships/slideLayout" Target="../slideLayouts/slideLayout495.xml"/><Relationship Id="rId19" Type="http://schemas.openxmlformats.org/officeDocument/2006/relationships/slideLayout" Target="../slideLayouts/slideLayout504.xml"/><Relationship Id="rId31" Type="http://schemas.openxmlformats.org/officeDocument/2006/relationships/theme" Target="../theme/theme17.xml"/><Relationship Id="rId4" Type="http://schemas.openxmlformats.org/officeDocument/2006/relationships/slideLayout" Target="../slideLayouts/slideLayout489.xml"/><Relationship Id="rId9" Type="http://schemas.openxmlformats.org/officeDocument/2006/relationships/slideLayout" Target="../slideLayouts/slideLayout494.xml"/><Relationship Id="rId14" Type="http://schemas.openxmlformats.org/officeDocument/2006/relationships/slideLayout" Target="../slideLayouts/slideLayout499.xml"/><Relationship Id="rId22" Type="http://schemas.openxmlformats.org/officeDocument/2006/relationships/slideLayout" Target="../slideLayouts/slideLayout507.xml"/><Relationship Id="rId27" Type="http://schemas.openxmlformats.org/officeDocument/2006/relationships/slideLayout" Target="../slideLayouts/slideLayout512.xml"/><Relationship Id="rId30" Type="http://schemas.openxmlformats.org/officeDocument/2006/relationships/slideLayout" Target="../slideLayouts/slideLayout515.xml"/><Relationship Id="rId35" Type="http://schemas.openxmlformats.org/officeDocument/2006/relationships/image" Target="../media/image9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3.xml"/><Relationship Id="rId13" Type="http://schemas.openxmlformats.org/officeDocument/2006/relationships/slideLayout" Target="../slideLayouts/slideLayout528.xml"/><Relationship Id="rId18" Type="http://schemas.openxmlformats.org/officeDocument/2006/relationships/slideLayout" Target="../slideLayouts/slideLayout533.xml"/><Relationship Id="rId26" Type="http://schemas.openxmlformats.org/officeDocument/2006/relationships/slideLayout" Target="../slideLayouts/slideLayout541.xml"/><Relationship Id="rId3" Type="http://schemas.openxmlformats.org/officeDocument/2006/relationships/slideLayout" Target="../slideLayouts/slideLayout518.xml"/><Relationship Id="rId21" Type="http://schemas.openxmlformats.org/officeDocument/2006/relationships/slideLayout" Target="../slideLayouts/slideLayout536.xml"/><Relationship Id="rId34" Type="http://schemas.openxmlformats.org/officeDocument/2006/relationships/image" Target="../media/image20.emf"/><Relationship Id="rId7" Type="http://schemas.openxmlformats.org/officeDocument/2006/relationships/slideLayout" Target="../slideLayouts/slideLayout522.xml"/><Relationship Id="rId12" Type="http://schemas.openxmlformats.org/officeDocument/2006/relationships/slideLayout" Target="../slideLayouts/slideLayout527.xml"/><Relationship Id="rId17" Type="http://schemas.openxmlformats.org/officeDocument/2006/relationships/slideLayout" Target="../slideLayouts/slideLayout532.xml"/><Relationship Id="rId25" Type="http://schemas.openxmlformats.org/officeDocument/2006/relationships/slideLayout" Target="../slideLayouts/slideLayout540.xml"/><Relationship Id="rId33" Type="http://schemas.openxmlformats.org/officeDocument/2006/relationships/oleObject" Target="../embeddings/oleObject25.bin"/><Relationship Id="rId2" Type="http://schemas.openxmlformats.org/officeDocument/2006/relationships/slideLayout" Target="../slideLayouts/slideLayout517.xml"/><Relationship Id="rId16" Type="http://schemas.openxmlformats.org/officeDocument/2006/relationships/slideLayout" Target="../slideLayouts/slideLayout531.xml"/><Relationship Id="rId20" Type="http://schemas.openxmlformats.org/officeDocument/2006/relationships/slideLayout" Target="../slideLayouts/slideLayout535.xml"/><Relationship Id="rId29" Type="http://schemas.openxmlformats.org/officeDocument/2006/relationships/slideLayout" Target="../slideLayouts/slideLayout544.xml"/><Relationship Id="rId1" Type="http://schemas.openxmlformats.org/officeDocument/2006/relationships/slideLayout" Target="../slideLayouts/slideLayout516.xml"/><Relationship Id="rId6" Type="http://schemas.openxmlformats.org/officeDocument/2006/relationships/slideLayout" Target="../slideLayouts/slideLayout521.xml"/><Relationship Id="rId11" Type="http://schemas.openxmlformats.org/officeDocument/2006/relationships/slideLayout" Target="../slideLayouts/slideLayout526.xml"/><Relationship Id="rId24" Type="http://schemas.openxmlformats.org/officeDocument/2006/relationships/slideLayout" Target="../slideLayouts/slideLayout539.xml"/><Relationship Id="rId32" Type="http://schemas.openxmlformats.org/officeDocument/2006/relationships/tags" Target="../tags/tag27.xml"/><Relationship Id="rId5" Type="http://schemas.openxmlformats.org/officeDocument/2006/relationships/slideLayout" Target="../slideLayouts/slideLayout520.xml"/><Relationship Id="rId15" Type="http://schemas.openxmlformats.org/officeDocument/2006/relationships/slideLayout" Target="../slideLayouts/slideLayout530.xml"/><Relationship Id="rId23" Type="http://schemas.openxmlformats.org/officeDocument/2006/relationships/slideLayout" Target="../slideLayouts/slideLayout538.xml"/><Relationship Id="rId28" Type="http://schemas.openxmlformats.org/officeDocument/2006/relationships/slideLayout" Target="../slideLayouts/slideLayout543.xml"/><Relationship Id="rId36" Type="http://schemas.openxmlformats.org/officeDocument/2006/relationships/image" Target="../media/image10.svg"/><Relationship Id="rId10" Type="http://schemas.openxmlformats.org/officeDocument/2006/relationships/slideLayout" Target="../slideLayouts/slideLayout525.xml"/><Relationship Id="rId19" Type="http://schemas.openxmlformats.org/officeDocument/2006/relationships/slideLayout" Target="../slideLayouts/slideLayout534.xml"/><Relationship Id="rId31" Type="http://schemas.openxmlformats.org/officeDocument/2006/relationships/theme" Target="../theme/theme18.xml"/><Relationship Id="rId4" Type="http://schemas.openxmlformats.org/officeDocument/2006/relationships/slideLayout" Target="../slideLayouts/slideLayout519.xml"/><Relationship Id="rId9" Type="http://schemas.openxmlformats.org/officeDocument/2006/relationships/slideLayout" Target="../slideLayouts/slideLayout524.xml"/><Relationship Id="rId14" Type="http://schemas.openxmlformats.org/officeDocument/2006/relationships/slideLayout" Target="../slideLayouts/slideLayout529.xml"/><Relationship Id="rId22" Type="http://schemas.openxmlformats.org/officeDocument/2006/relationships/slideLayout" Target="../slideLayouts/slideLayout537.xml"/><Relationship Id="rId27" Type="http://schemas.openxmlformats.org/officeDocument/2006/relationships/slideLayout" Target="../slideLayouts/slideLayout542.xml"/><Relationship Id="rId30" Type="http://schemas.openxmlformats.org/officeDocument/2006/relationships/slideLayout" Target="../slideLayouts/slideLayout545.xml"/><Relationship Id="rId35" Type="http://schemas.openxmlformats.org/officeDocument/2006/relationships/image" Target="../media/image9.pn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3.xml"/><Relationship Id="rId13" Type="http://schemas.openxmlformats.org/officeDocument/2006/relationships/slideLayout" Target="../slideLayouts/slideLayout558.xml"/><Relationship Id="rId18" Type="http://schemas.openxmlformats.org/officeDocument/2006/relationships/oleObject" Target="../embeddings/oleObject26.bin"/><Relationship Id="rId3" Type="http://schemas.openxmlformats.org/officeDocument/2006/relationships/slideLayout" Target="../slideLayouts/slideLayout548.xml"/><Relationship Id="rId7" Type="http://schemas.openxmlformats.org/officeDocument/2006/relationships/slideLayout" Target="../slideLayouts/slideLayout552.xml"/><Relationship Id="rId12" Type="http://schemas.openxmlformats.org/officeDocument/2006/relationships/slideLayout" Target="../slideLayouts/slideLayout557.xml"/><Relationship Id="rId17" Type="http://schemas.openxmlformats.org/officeDocument/2006/relationships/tags" Target="../tags/tag28.xml"/><Relationship Id="rId2" Type="http://schemas.openxmlformats.org/officeDocument/2006/relationships/slideLayout" Target="../slideLayouts/slideLayout547.xml"/><Relationship Id="rId16" Type="http://schemas.openxmlformats.org/officeDocument/2006/relationships/theme" Target="../theme/theme19.xml"/><Relationship Id="rId1" Type="http://schemas.openxmlformats.org/officeDocument/2006/relationships/slideLayout" Target="../slideLayouts/slideLayout546.xml"/><Relationship Id="rId6" Type="http://schemas.openxmlformats.org/officeDocument/2006/relationships/slideLayout" Target="../slideLayouts/slideLayout551.xml"/><Relationship Id="rId11" Type="http://schemas.openxmlformats.org/officeDocument/2006/relationships/slideLayout" Target="../slideLayouts/slideLayout556.xml"/><Relationship Id="rId5" Type="http://schemas.openxmlformats.org/officeDocument/2006/relationships/slideLayout" Target="../slideLayouts/slideLayout550.xml"/><Relationship Id="rId15" Type="http://schemas.openxmlformats.org/officeDocument/2006/relationships/slideLayout" Target="../slideLayouts/slideLayout560.xml"/><Relationship Id="rId10" Type="http://schemas.openxmlformats.org/officeDocument/2006/relationships/slideLayout" Target="../slideLayouts/slideLayout555.xml"/><Relationship Id="rId19" Type="http://schemas.openxmlformats.org/officeDocument/2006/relationships/image" Target="../media/image13.emf"/><Relationship Id="rId4" Type="http://schemas.openxmlformats.org/officeDocument/2006/relationships/slideLayout" Target="../slideLayouts/slideLayout549.xml"/><Relationship Id="rId9" Type="http://schemas.openxmlformats.org/officeDocument/2006/relationships/slideLayout" Target="../slideLayouts/slideLayout554.xml"/><Relationship Id="rId14" Type="http://schemas.openxmlformats.org/officeDocument/2006/relationships/slideLayout" Target="../slideLayouts/slideLayout55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33" Type="http://schemas.openxmlformats.org/officeDocument/2006/relationships/image" Target="../media/image4.emf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slideLayout" Target="../slideLayouts/slideLayout58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32" Type="http://schemas.openxmlformats.org/officeDocument/2006/relationships/oleObject" Target="../embeddings/oleObject2.bin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31" Type="http://schemas.openxmlformats.org/officeDocument/2006/relationships/tags" Target="../tags/tag3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Relationship Id="rId30" Type="http://schemas.openxmlformats.org/officeDocument/2006/relationships/theme" Target="../theme/theme2.xml"/><Relationship Id="rId35" Type="http://schemas.openxmlformats.org/officeDocument/2006/relationships/image" Target="../media/image5.sv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26" Type="http://schemas.openxmlformats.org/officeDocument/2006/relationships/slideLayout" Target="../slideLayouts/slideLayout84.xml"/><Relationship Id="rId3" Type="http://schemas.openxmlformats.org/officeDocument/2006/relationships/slideLayout" Target="../slideLayouts/slideLayout61.xml"/><Relationship Id="rId21" Type="http://schemas.openxmlformats.org/officeDocument/2006/relationships/slideLayout" Target="../slideLayouts/slideLayout79.xml"/><Relationship Id="rId34" Type="http://schemas.openxmlformats.org/officeDocument/2006/relationships/image" Target="../media/image7.emf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slideLayout" Target="../slideLayouts/slideLayout83.xml"/><Relationship Id="rId33" Type="http://schemas.openxmlformats.org/officeDocument/2006/relationships/oleObject" Target="../embeddings/oleObject3.bin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78.xml"/><Relationship Id="rId29" Type="http://schemas.openxmlformats.org/officeDocument/2006/relationships/slideLayout" Target="../slideLayouts/slideLayout87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slideLayout" Target="../slideLayouts/slideLayout82.xml"/><Relationship Id="rId32" Type="http://schemas.openxmlformats.org/officeDocument/2006/relationships/tags" Target="../tags/tag4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slideLayout" Target="../slideLayouts/slideLayout81.xml"/><Relationship Id="rId28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31" Type="http://schemas.openxmlformats.org/officeDocument/2006/relationships/theme" Target="../theme/theme3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Relationship Id="rId27" Type="http://schemas.openxmlformats.org/officeDocument/2006/relationships/slideLayout" Target="../slideLayouts/slideLayout85.xml"/><Relationship Id="rId30" Type="http://schemas.openxmlformats.org/officeDocument/2006/relationships/slideLayout" Target="../slideLayouts/slideLayout8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slideLayout" Target="../slideLayouts/slideLayout101.xml"/><Relationship Id="rId18" Type="http://schemas.openxmlformats.org/officeDocument/2006/relationships/slideLayout" Target="../slideLayouts/slideLayout106.xml"/><Relationship Id="rId26" Type="http://schemas.openxmlformats.org/officeDocument/2006/relationships/slideLayout" Target="../slideLayouts/slideLayout114.xml"/><Relationship Id="rId39" Type="http://schemas.openxmlformats.org/officeDocument/2006/relationships/image" Target="../media/image10.svg"/><Relationship Id="rId3" Type="http://schemas.openxmlformats.org/officeDocument/2006/relationships/slideLayout" Target="../slideLayouts/slideLayout91.xml"/><Relationship Id="rId21" Type="http://schemas.openxmlformats.org/officeDocument/2006/relationships/slideLayout" Target="../slideLayouts/slideLayout109.xml"/><Relationship Id="rId34" Type="http://schemas.openxmlformats.org/officeDocument/2006/relationships/theme" Target="../theme/theme4.xml"/><Relationship Id="rId7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100.xml"/><Relationship Id="rId17" Type="http://schemas.openxmlformats.org/officeDocument/2006/relationships/slideLayout" Target="../slideLayouts/slideLayout105.xml"/><Relationship Id="rId25" Type="http://schemas.openxmlformats.org/officeDocument/2006/relationships/slideLayout" Target="../slideLayouts/slideLayout113.xml"/><Relationship Id="rId33" Type="http://schemas.openxmlformats.org/officeDocument/2006/relationships/slideLayout" Target="../slideLayouts/slideLayout121.xml"/><Relationship Id="rId38" Type="http://schemas.openxmlformats.org/officeDocument/2006/relationships/image" Target="../media/image9.png"/><Relationship Id="rId2" Type="http://schemas.openxmlformats.org/officeDocument/2006/relationships/slideLayout" Target="../slideLayouts/slideLayout90.xml"/><Relationship Id="rId16" Type="http://schemas.openxmlformats.org/officeDocument/2006/relationships/slideLayout" Target="../slideLayouts/slideLayout104.xml"/><Relationship Id="rId20" Type="http://schemas.openxmlformats.org/officeDocument/2006/relationships/slideLayout" Target="../slideLayouts/slideLayout108.xml"/><Relationship Id="rId29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24" Type="http://schemas.openxmlformats.org/officeDocument/2006/relationships/slideLayout" Target="../slideLayouts/slideLayout112.xml"/><Relationship Id="rId32" Type="http://schemas.openxmlformats.org/officeDocument/2006/relationships/slideLayout" Target="../slideLayouts/slideLayout120.xml"/><Relationship Id="rId37" Type="http://schemas.openxmlformats.org/officeDocument/2006/relationships/image" Target="../media/image8.emf"/><Relationship Id="rId5" Type="http://schemas.openxmlformats.org/officeDocument/2006/relationships/slideLayout" Target="../slideLayouts/slideLayout93.xml"/><Relationship Id="rId15" Type="http://schemas.openxmlformats.org/officeDocument/2006/relationships/slideLayout" Target="../slideLayouts/slideLayout103.xml"/><Relationship Id="rId23" Type="http://schemas.openxmlformats.org/officeDocument/2006/relationships/slideLayout" Target="../slideLayouts/slideLayout111.xml"/><Relationship Id="rId28" Type="http://schemas.openxmlformats.org/officeDocument/2006/relationships/slideLayout" Target="../slideLayouts/slideLayout116.xml"/><Relationship Id="rId36" Type="http://schemas.openxmlformats.org/officeDocument/2006/relationships/oleObject" Target="../embeddings/oleObject4.bin"/><Relationship Id="rId10" Type="http://schemas.openxmlformats.org/officeDocument/2006/relationships/slideLayout" Target="../slideLayouts/slideLayout98.xml"/><Relationship Id="rId19" Type="http://schemas.openxmlformats.org/officeDocument/2006/relationships/slideLayout" Target="../slideLayouts/slideLayout107.xml"/><Relationship Id="rId31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slideLayout" Target="../slideLayouts/slideLayout102.xml"/><Relationship Id="rId22" Type="http://schemas.openxmlformats.org/officeDocument/2006/relationships/slideLayout" Target="../slideLayouts/slideLayout110.xml"/><Relationship Id="rId27" Type="http://schemas.openxmlformats.org/officeDocument/2006/relationships/slideLayout" Target="../slideLayouts/slideLayout115.xml"/><Relationship Id="rId30" Type="http://schemas.openxmlformats.org/officeDocument/2006/relationships/slideLayout" Target="../slideLayouts/slideLayout118.xml"/><Relationship Id="rId35" Type="http://schemas.openxmlformats.org/officeDocument/2006/relationships/tags" Target="../tags/tag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13" Type="http://schemas.openxmlformats.org/officeDocument/2006/relationships/slideLayout" Target="../slideLayouts/slideLayout134.xml"/><Relationship Id="rId18" Type="http://schemas.openxmlformats.org/officeDocument/2006/relationships/slideLayout" Target="../slideLayouts/slideLayout139.xml"/><Relationship Id="rId26" Type="http://schemas.openxmlformats.org/officeDocument/2006/relationships/slideLayout" Target="../slideLayouts/slideLayout147.xml"/><Relationship Id="rId3" Type="http://schemas.openxmlformats.org/officeDocument/2006/relationships/slideLayout" Target="../slideLayouts/slideLayout124.xml"/><Relationship Id="rId21" Type="http://schemas.openxmlformats.org/officeDocument/2006/relationships/slideLayout" Target="../slideLayouts/slideLayout142.xml"/><Relationship Id="rId34" Type="http://schemas.openxmlformats.org/officeDocument/2006/relationships/image" Target="../media/image9.png"/><Relationship Id="rId7" Type="http://schemas.openxmlformats.org/officeDocument/2006/relationships/slideLayout" Target="../slideLayouts/slideLayout128.xml"/><Relationship Id="rId12" Type="http://schemas.openxmlformats.org/officeDocument/2006/relationships/slideLayout" Target="../slideLayouts/slideLayout133.xml"/><Relationship Id="rId17" Type="http://schemas.openxmlformats.org/officeDocument/2006/relationships/slideLayout" Target="../slideLayouts/slideLayout138.xml"/><Relationship Id="rId25" Type="http://schemas.openxmlformats.org/officeDocument/2006/relationships/slideLayout" Target="../slideLayouts/slideLayout146.xml"/><Relationship Id="rId33" Type="http://schemas.openxmlformats.org/officeDocument/2006/relationships/image" Target="../media/image7.emf"/><Relationship Id="rId2" Type="http://schemas.openxmlformats.org/officeDocument/2006/relationships/slideLayout" Target="../slideLayouts/slideLayout123.xml"/><Relationship Id="rId16" Type="http://schemas.openxmlformats.org/officeDocument/2006/relationships/slideLayout" Target="../slideLayouts/slideLayout137.xml"/><Relationship Id="rId20" Type="http://schemas.openxmlformats.org/officeDocument/2006/relationships/slideLayout" Target="../slideLayouts/slideLayout141.xml"/><Relationship Id="rId29" Type="http://schemas.openxmlformats.org/officeDocument/2006/relationships/slideLayout" Target="../slideLayouts/slideLayout150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24" Type="http://schemas.openxmlformats.org/officeDocument/2006/relationships/slideLayout" Target="../slideLayouts/slideLayout145.xml"/><Relationship Id="rId32" Type="http://schemas.openxmlformats.org/officeDocument/2006/relationships/oleObject" Target="../embeddings/oleObject5.bin"/><Relationship Id="rId5" Type="http://schemas.openxmlformats.org/officeDocument/2006/relationships/slideLayout" Target="../slideLayouts/slideLayout126.xml"/><Relationship Id="rId15" Type="http://schemas.openxmlformats.org/officeDocument/2006/relationships/slideLayout" Target="../slideLayouts/slideLayout136.xml"/><Relationship Id="rId23" Type="http://schemas.openxmlformats.org/officeDocument/2006/relationships/slideLayout" Target="../slideLayouts/slideLayout144.xml"/><Relationship Id="rId28" Type="http://schemas.openxmlformats.org/officeDocument/2006/relationships/slideLayout" Target="../slideLayouts/slideLayout149.xml"/><Relationship Id="rId10" Type="http://schemas.openxmlformats.org/officeDocument/2006/relationships/slideLayout" Target="../slideLayouts/slideLayout131.xml"/><Relationship Id="rId19" Type="http://schemas.openxmlformats.org/officeDocument/2006/relationships/slideLayout" Target="../slideLayouts/slideLayout140.xml"/><Relationship Id="rId31" Type="http://schemas.openxmlformats.org/officeDocument/2006/relationships/tags" Target="../tags/tag6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Relationship Id="rId14" Type="http://schemas.openxmlformats.org/officeDocument/2006/relationships/slideLayout" Target="../slideLayouts/slideLayout135.xml"/><Relationship Id="rId22" Type="http://schemas.openxmlformats.org/officeDocument/2006/relationships/slideLayout" Target="../slideLayouts/slideLayout143.xml"/><Relationship Id="rId27" Type="http://schemas.openxmlformats.org/officeDocument/2006/relationships/slideLayout" Target="../slideLayouts/slideLayout148.xml"/><Relationship Id="rId30" Type="http://schemas.openxmlformats.org/officeDocument/2006/relationships/theme" Target="../theme/theme5.xml"/><Relationship Id="rId35" Type="http://schemas.openxmlformats.org/officeDocument/2006/relationships/image" Target="../media/image11.sv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8.xml"/><Relationship Id="rId13" Type="http://schemas.openxmlformats.org/officeDocument/2006/relationships/slideLayout" Target="../slideLayouts/slideLayout163.xml"/><Relationship Id="rId18" Type="http://schemas.openxmlformats.org/officeDocument/2006/relationships/slideLayout" Target="../slideLayouts/slideLayout168.xml"/><Relationship Id="rId26" Type="http://schemas.openxmlformats.org/officeDocument/2006/relationships/slideLayout" Target="../slideLayouts/slideLayout176.xml"/><Relationship Id="rId39" Type="http://schemas.openxmlformats.org/officeDocument/2006/relationships/image" Target="../media/image9.png"/><Relationship Id="rId3" Type="http://schemas.openxmlformats.org/officeDocument/2006/relationships/slideLayout" Target="../slideLayouts/slideLayout153.xml"/><Relationship Id="rId21" Type="http://schemas.openxmlformats.org/officeDocument/2006/relationships/slideLayout" Target="../slideLayouts/slideLayout171.xml"/><Relationship Id="rId34" Type="http://schemas.openxmlformats.org/officeDocument/2006/relationships/slideLayout" Target="../slideLayouts/slideLayout184.xml"/><Relationship Id="rId7" Type="http://schemas.openxmlformats.org/officeDocument/2006/relationships/slideLayout" Target="../slideLayouts/slideLayout157.xml"/><Relationship Id="rId12" Type="http://schemas.openxmlformats.org/officeDocument/2006/relationships/slideLayout" Target="../slideLayouts/slideLayout162.xml"/><Relationship Id="rId17" Type="http://schemas.openxmlformats.org/officeDocument/2006/relationships/slideLayout" Target="../slideLayouts/slideLayout167.xml"/><Relationship Id="rId25" Type="http://schemas.openxmlformats.org/officeDocument/2006/relationships/slideLayout" Target="../slideLayouts/slideLayout175.xml"/><Relationship Id="rId33" Type="http://schemas.openxmlformats.org/officeDocument/2006/relationships/slideLayout" Target="../slideLayouts/slideLayout183.xml"/><Relationship Id="rId38" Type="http://schemas.openxmlformats.org/officeDocument/2006/relationships/image" Target="../media/image8.emf"/><Relationship Id="rId2" Type="http://schemas.openxmlformats.org/officeDocument/2006/relationships/slideLayout" Target="../slideLayouts/slideLayout152.xml"/><Relationship Id="rId16" Type="http://schemas.openxmlformats.org/officeDocument/2006/relationships/slideLayout" Target="../slideLayouts/slideLayout166.xml"/><Relationship Id="rId20" Type="http://schemas.openxmlformats.org/officeDocument/2006/relationships/slideLayout" Target="../slideLayouts/slideLayout170.xml"/><Relationship Id="rId29" Type="http://schemas.openxmlformats.org/officeDocument/2006/relationships/slideLayout" Target="../slideLayouts/slideLayout179.xml"/><Relationship Id="rId1" Type="http://schemas.openxmlformats.org/officeDocument/2006/relationships/slideLayout" Target="../slideLayouts/slideLayout151.xml"/><Relationship Id="rId6" Type="http://schemas.openxmlformats.org/officeDocument/2006/relationships/slideLayout" Target="../slideLayouts/slideLayout156.xml"/><Relationship Id="rId11" Type="http://schemas.openxmlformats.org/officeDocument/2006/relationships/slideLayout" Target="../slideLayouts/slideLayout161.xml"/><Relationship Id="rId24" Type="http://schemas.openxmlformats.org/officeDocument/2006/relationships/slideLayout" Target="../slideLayouts/slideLayout174.xml"/><Relationship Id="rId32" Type="http://schemas.openxmlformats.org/officeDocument/2006/relationships/slideLayout" Target="../slideLayouts/slideLayout182.xml"/><Relationship Id="rId37" Type="http://schemas.openxmlformats.org/officeDocument/2006/relationships/oleObject" Target="../embeddings/oleObject6.bin"/><Relationship Id="rId40" Type="http://schemas.openxmlformats.org/officeDocument/2006/relationships/image" Target="../media/image11.svg"/><Relationship Id="rId5" Type="http://schemas.openxmlformats.org/officeDocument/2006/relationships/slideLayout" Target="../slideLayouts/slideLayout155.xml"/><Relationship Id="rId15" Type="http://schemas.openxmlformats.org/officeDocument/2006/relationships/slideLayout" Target="../slideLayouts/slideLayout165.xml"/><Relationship Id="rId23" Type="http://schemas.openxmlformats.org/officeDocument/2006/relationships/slideLayout" Target="../slideLayouts/slideLayout173.xml"/><Relationship Id="rId28" Type="http://schemas.openxmlformats.org/officeDocument/2006/relationships/slideLayout" Target="../slideLayouts/slideLayout178.xml"/><Relationship Id="rId36" Type="http://schemas.openxmlformats.org/officeDocument/2006/relationships/tags" Target="../tags/tag7.xml"/><Relationship Id="rId10" Type="http://schemas.openxmlformats.org/officeDocument/2006/relationships/slideLayout" Target="../slideLayouts/slideLayout160.xml"/><Relationship Id="rId19" Type="http://schemas.openxmlformats.org/officeDocument/2006/relationships/slideLayout" Target="../slideLayouts/slideLayout169.xml"/><Relationship Id="rId31" Type="http://schemas.openxmlformats.org/officeDocument/2006/relationships/slideLayout" Target="../slideLayouts/slideLayout181.xml"/><Relationship Id="rId4" Type="http://schemas.openxmlformats.org/officeDocument/2006/relationships/slideLayout" Target="../slideLayouts/slideLayout154.xml"/><Relationship Id="rId9" Type="http://schemas.openxmlformats.org/officeDocument/2006/relationships/slideLayout" Target="../slideLayouts/slideLayout159.xml"/><Relationship Id="rId14" Type="http://schemas.openxmlformats.org/officeDocument/2006/relationships/slideLayout" Target="../slideLayouts/slideLayout164.xml"/><Relationship Id="rId22" Type="http://schemas.openxmlformats.org/officeDocument/2006/relationships/slideLayout" Target="../slideLayouts/slideLayout172.xml"/><Relationship Id="rId27" Type="http://schemas.openxmlformats.org/officeDocument/2006/relationships/slideLayout" Target="../slideLayouts/slideLayout177.xml"/><Relationship Id="rId30" Type="http://schemas.openxmlformats.org/officeDocument/2006/relationships/slideLayout" Target="../slideLayouts/slideLayout180.xml"/><Relationship Id="rId35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2.xml"/><Relationship Id="rId13" Type="http://schemas.openxmlformats.org/officeDocument/2006/relationships/slideLayout" Target="../slideLayouts/slideLayout197.xml"/><Relationship Id="rId18" Type="http://schemas.openxmlformats.org/officeDocument/2006/relationships/slideLayout" Target="../slideLayouts/slideLayout202.xml"/><Relationship Id="rId26" Type="http://schemas.openxmlformats.org/officeDocument/2006/relationships/slideLayout" Target="../slideLayouts/slideLayout210.xml"/><Relationship Id="rId3" Type="http://schemas.openxmlformats.org/officeDocument/2006/relationships/slideLayout" Target="../slideLayouts/slideLayout187.xml"/><Relationship Id="rId21" Type="http://schemas.openxmlformats.org/officeDocument/2006/relationships/slideLayout" Target="../slideLayouts/slideLayout205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191.xml"/><Relationship Id="rId12" Type="http://schemas.openxmlformats.org/officeDocument/2006/relationships/slideLayout" Target="../slideLayouts/slideLayout196.xml"/><Relationship Id="rId17" Type="http://schemas.openxmlformats.org/officeDocument/2006/relationships/slideLayout" Target="../slideLayouts/slideLayout201.xml"/><Relationship Id="rId25" Type="http://schemas.openxmlformats.org/officeDocument/2006/relationships/slideLayout" Target="../slideLayouts/slideLayout209.xml"/><Relationship Id="rId33" Type="http://schemas.openxmlformats.org/officeDocument/2006/relationships/image" Target="../media/image15.emf"/><Relationship Id="rId2" Type="http://schemas.openxmlformats.org/officeDocument/2006/relationships/slideLayout" Target="../slideLayouts/slideLayout186.xml"/><Relationship Id="rId16" Type="http://schemas.openxmlformats.org/officeDocument/2006/relationships/slideLayout" Target="../slideLayouts/slideLayout200.xml"/><Relationship Id="rId20" Type="http://schemas.openxmlformats.org/officeDocument/2006/relationships/slideLayout" Target="../slideLayouts/slideLayout204.xml"/><Relationship Id="rId29" Type="http://schemas.openxmlformats.org/officeDocument/2006/relationships/slideLayout" Target="../slideLayouts/slideLayout213.xml"/><Relationship Id="rId1" Type="http://schemas.openxmlformats.org/officeDocument/2006/relationships/slideLayout" Target="../slideLayouts/slideLayout185.xml"/><Relationship Id="rId6" Type="http://schemas.openxmlformats.org/officeDocument/2006/relationships/slideLayout" Target="../slideLayouts/slideLayout190.xml"/><Relationship Id="rId11" Type="http://schemas.openxmlformats.org/officeDocument/2006/relationships/slideLayout" Target="../slideLayouts/slideLayout195.xml"/><Relationship Id="rId24" Type="http://schemas.openxmlformats.org/officeDocument/2006/relationships/slideLayout" Target="../slideLayouts/slideLayout208.xml"/><Relationship Id="rId32" Type="http://schemas.openxmlformats.org/officeDocument/2006/relationships/oleObject" Target="../embeddings/oleObject8.bin"/><Relationship Id="rId5" Type="http://schemas.openxmlformats.org/officeDocument/2006/relationships/slideLayout" Target="../slideLayouts/slideLayout189.xml"/><Relationship Id="rId15" Type="http://schemas.openxmlformats.org/officeDocument/2006/relationships/slideLayout" Target="../slideLayouts/slideLayout199.xml"/><Relationship Id="rId23" Type="http://schemas.openxmlformats.org/officeDocument/2006/relationships/slideLayout" Target="../slideLayouts/slideLayout207.xml"/><Relationship Id="rId28" Type="http://schemas.openxmlformats.org/officeDocument/2006/relationships/slideLayout" Target="../slideLayouts/slideLayout212.xml"/><Relationship Id="rId10" Type="http://schemas.openxmlformats.org/officeDocument/2006/relationships/slideLayout" Target="../slideLayouts/slideLayout194.xml"/><Relationship Id="rId19" Type="http://schemas.openxmlformats.org/officeDocument/2006/relationships/slideLayout" Target="../slideLayouts/slideLayout203.xml"/><Relationship Id="rId31" Type="http://schemas.openxmlformats.org/officeDocument/2006/relationships/tags" Target="../tags/tag9.xml"/><Relationship Id="rId4" Type="http://schemas.openxmlformats.org/officeDocument/2006/relationships/slideLayout" Target="../slideLayouts/slideLayout188.xml"/><Relationship Id="rId9" Type="http://schemas.openxmlformats.org/officeDocument/2006/relationships/slideLayout" Target="../slideLayouts/slideLayout193.xml"/><Relationship Id="rId14" Type="http://schemas.openxmlformats.org/officeDocument/2006/relationships/slideLayout" Target="../slideLayouts/slideLayout198.xml"/><Relationship Id="rId22" Type="http://schemas.openxmlformats.org/officeDocument/2006/relationships/slideLayout" Target="../slideLayouts/slideLayout206.xml"/><Relationship Id="rId27" Type="http://schemas.openxmlformats.org/officeDocument/2006/relationships/slideLayout" Target="../slideLayouts/slideLayout211.xml"/><Relationship Id="rId30" Type="http://schemas.openxmlformats.org/officeDocument/2006/relationships/theme" Target="../theme/theme7.xml"/><Relationship Id="rId35" Type="http://schemas.openxmlformats.org/officeDocument/2006/relationships/image" Target="../media/image3.sv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1.xml"/><Relationship Id="rId13" Type="http://schemas.openxmlformats.org/officeDocument/2006/relationships/slideLayout" Target="../slideLayouts/slideLayout226.xml"/><Relationship Id="rId18" Type="http://schemas.openxmlformats.org/officeDocument/2006/relationships/slideLayout" Target="../slideLayouts/slideLayout231.xml"/><Relationship Id="rId26" Type="http://schemas.openxmlformats.org/officeDocument/2006/relationships/slideLayout" Target="../slideLayouts/slideLayout239.xml"/><Relationship Id="rId3" Type="http://schemas.openxmlformats.org/officeDocument/2006/relationships/slideLayout" Target="../slideLayouts/slideLayout216.xml"/><Relationship Id="rId21" Type="http://schemas.openxmlformats.org/officeDocument/2006/relationships/slideLayout" Target="../slideLayouts/slideLayout234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220.xml"/><Relationship Id="rId12" Type="http://schemas.openxmlformats.org/officeDocument/2006/relationships/slideLayout" Target="../slideLayouts/slideLayout225.xml"/><Relationship Id="rId17" Type="http://schemas.openxmlformats.org/officeDocument/2006/relationships/slideLayout" Target="../slideLayouts/slideLayout230.xml"/><Relationship Id="rId25" Type="http://schemas.openxmlformats.org/officeDocument/2006/relationships/slideLayout" Target="../slideLayouts/slideLayout238.xml"/><Relationship Id="rId33" Type="http://schemas.openxmlformats.org/officeDocument/2006/relationships/image" Target="../media/image15.emf"/><Relationship Id="rId2" Type="http://schemas.openxmlformats.org/officeDocument/2006/relationships/slideLayout" Target="../slideLayouts/slideLayout215.xml"/><Relationship Id="rId16" Type="http://schemas.openxmlformats.org/officeDocument/2006/relationships/slideLayout" Target="../slideLayouts/slideLayout229.xml"/><Relationship Id="rId20" Type="http://schemas.openxmlformats.org/officeDocument/2006/relationships/slideLayout" Target="../slideLayouts/slideLayout233.xml"/><Relationship Id="rId29" Type="http://schemas.openxmlformats.org/officeDocument/2006/relationships/slideLayout" Target="../slideLayouts/slideLayout242.xml"/><Relationship Id="rId1" Type="http://schemas.openxmlformats.org/officeDocument/2006/relationships/slideLayout" Target="../slideLayouts/slideLayout214.xml"/><Relationship Id="rId6" Type="http://schemas.openxmlformats.org/officeDocument/2006/relationships/slideLayout" Target="../slideLayouts/slideLayout219.xml"/><Relationship Id="rId11" Type="http://schemas.openxmlformats.org/officeDocument/2006/relationships/slideLayout" Target="../slideLayouts/slideLayout224.xml"/><Relationship Id="rId24" Type="http://schemas.openxmlformats.org/officeDocument/2006/relationships/slideLayout" Target="../slideLayouts/slideLayout237.xml"/><Relationship Id="rId32" Type="http://schemas.openxmlformats.org/officeDocument/2006/relationships/oleObject" Target="../embeddings/oleObject9.bin"/><Relationship Id="rId5" Type="http://schemas.openxmlformats.org/officeDocument/2006/relationships/slideLayout" Target="../slideLayouts/slideLayout218.xml"/><Relationship Id="rId15" Type="http://schemas.openxmlformats.org/officeDocument/2006/relationships/slideLayout" Target="../slideLayouts/slideLayout228.xml"/><Relationship Id="rId23" Type="http://schemas.openxmlformats.org/officeDocument/2006/relationships/slideLayout" Target="../slideLayouts/slideLayout236.xml"/><Relationship Id="rId28" Type="http://schemas.openxmlformats.org/officeDocument/2006/relationships/slideLayout" Target="../slideLayouts/slideLayout241.xml"/><Relationship Id="rId10" Type="http://schemas.openxmlformats.org/officeDocument/2006/relationships/slideLayout" Target="../slideLayouts/slideLayout223.xml"/><Relationship Id="rId19" Type="http://schemas.openxmlformats.org/officeDocument/2006/relationships/slideLayout" Target="../slideLayouts/slideLayout232.xml"/><Relationship Id="rId31" Type="http://schemas.openxmlformats.org/officeDocument/2006/relationships/tags" Target="../tags/tag10.xml"/><Relationship Id="rId4" Type="http://schemas.openxmlformats.org/officeDocument/2006/relationships/slideLayout" Target="../slideLayouts/slideLayout217.xml"/><Relationship Id="rId9" Type="http://schemas.openxmlformats.org/officeDocument/2006/relationships/slideLayout" Target="../slideLayouts/slideLayout222.xml"/><Relationship Id="rId14" Type="http://schemas.openxmlformats.org/officeDocument/2006/relationships/slideLayout" Target="../slideLayouts/slideLayout227.xml"/><Relationship Id="rId22" Type="http://schemas.openxmlformats.org/officeDocument/2006/relationships/slideLayout" Target="../slideLayouts/slideLayout235.xml"/><Relationship Id="rId27" Type="http://schemas.openxmlformats.org/officeDocument/2006/relationships/slideLayout" Target="../slideLayouts/slideLayout240.xml"/><Relationship Id="rId30" Type="http://schemas.openxmlformats.org/officeDocument/2006/relationships/theme" Target="../theme/theme8.xml"/><Relationship Id="rId35" Type="http://schemas.openxmlformats.org/officeDocument/2006/relationships/image" Target="../media/image6.sv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0.xml"/><Relationship Id="rId13" Type="http://schemas.openxmlformats.org/officeDocument/2006/relationships/slideLayout" Target="../slideLayouts/slideLayout255.xml"/><Relationship Id="rId18" Type="http://schemas.openxmlformats.org/officeDocument/2006/relationships/slideLayout" Target="../slideLayouts/slideLayout260.xml"/><Relationship Id="rId26" Type="http://schemas.openxmlformats.org/officeDocument/2006/relationships/slideLayout" Target="../slideLayouts/slideLayout268.xml"/><Relationship Id="rId3" Type="http://schemas.openxmlformats.org/officeDocument/2006/relationships/slideLayout" Target="../slideLayouts/slideLayout245.xml"/><Relationship Id="rId21" Type="http://schemas.openxmlformats.org/officeDocument/2006/relationships/slideLayout" Target="../slideLayouts/slideLayout263.xml"/><Relationship Id="rId34" Type="http://schemas.openxmlformats.org/officeDocument/2006/relationships/oleObject" Target="../embeddings/oleObject10.bin"/><Relationship Id="rId7" Type="http://schemas.openxmlformats.org/officeDocument/2006/relationships/slideLayout" Target="../slideLayouts/slideLayout249.xml"/><Relationship Id="rId12" Type="http://schemas.openxmlformats.org/officeDocument/2006/relationships/slideLayout" Target="../slideLayouts/slideLayout254.xml"/><Relationship Id="rId17" Type="http://schemas.openxmlformats.org/officeDocument/2006/relationships/slideLayout" Target="../slideLayouts/slideLayout259.xml"/><Relationship Id="rId25" Type="http://schemas.openxmlformats.org/officeDocument/2006/relationships/slideLayout" Target="../slideLayouts/slideLayout267.xml"/><Relationship Id="rId33" Type="http://schemas.openxmlformats.org/officeDocument/2006/relationships/tags" Target="../tags/tag11.xml"/><Relationship Id="rId2" Type="http://schemas.openxmlformats.org/officeDocument/2006/relationships/slideLayout" Target="../slideLayouts/slideLayout244.xml"/><Relationship Id="rId16" Type="http://schemas.openxmlformats.org/officeDocument/2006/relationships/slideLayout" Target="../slideLayouts/slideLayout258.xml"/><Relationship Id="rId20" Type="http://schemas.openxmlformats.org/officeDocument/2006/relationships/slideLayout" Target="../slideLayouts/slideLayout262.xml"/><Relationship Id="rId29" Type="http://schemas.openxmlformats.org/officeDocument/2006/relationships/slideLayout" Target="../slideLayouts/slideLayout271.xml"/><Relationship Id="rId1" Type="http://schemas.openxmlformats.org/officeDocument/2006/relationships/slideLayout" Target="../slideLayouts/slideLayout243.xml"/><Relationship Id="rId6" Type="http://schemas.openxmlformats.org/officeDocument/2006/relationships/slideLayout" Target="../slideLayouts/slideLayout248.xml"/><Relationship Id="rId11" Type="http://schemas.openxmlformats.org/officeDocument/2006/relationships/slideLayout" Target="../slideLayouts/slideLayout253.xml"/><Relationship Id="rId24" Type="http://schemas.openxmlformats.org/officeDocument/2006/relationships/slideLayout" Target="../slideLayouts/slideLayout266.xml"/><Relationship Id="rId32" Type="http://schemas.openxmlformats.org/officeDocument/2006/relationships/theme" Target="../theme/theme9.xml"/><Relationship Id="rId37" Type="http://schemas.openxmlformats.org/officeDocument/2006/relationships/image" Target="../media/image10.svg"/><Relationship Id="rId5" Type="http://schemas.openxmlformats.org/officeDocument/2006/relationships/slideLayout" Target="../slideLayouts/slideLayout247.xml"/><Relationship Id="rId15" Type="http://schemas.openxmlformats.org/officeDocument/2006/relationships/slideLayout" Target="../slideLayouts/slideLayout257.xml"/><Relationship Id="rId23" Type="http://schemas.openxmlformats.org/officeDocument/2006/relationships/slideLayout" Target="../slideLayouts/slideLayout265.xml"/><Relationship Id="rId28" Type="http://schemas.openxmlformats.org/officeDocument/2006/relationships/slideLayout" Target="../slideLayouts/slideLayout270.xml"/><Relationship Id="rId36" Type="http://schemas.openxmlformats.org/officeDocument/2006/relationships/image" Target="../media/image9.png"/><Relationship Id="rId10" Type="http://schemas.openxmlformats.org/officeDocument/2006/relationships/slideLayout" Target="../slideLayouts/slideLayout252.xml"/><Relationship Id="rId19" Type="http://schemas.openxmlformats.org/officeDocument/2006/relationships/slideLayout" Target="../slideLayouts/slideLayout261.xml"/><Relationship Id="rId31" Type="http://schemas.openxmlformats.org/officeDocument/2006/relationships/slideLayout" Target="../slideLayouts/slideLayout273.xml"/><Relationship Id="rId4" Type="http://schemas.openxmlformats.org/officeDocument/2006/relationships/slideLayout" Target="../slideLayouts/slideLayout246.xml"/><Relationship Id="rId9" Type="http://schemas.openxmlformats.org/officeDocument/2006/relationships/slideLayout" Target="../slideLayouts/slideLayout251.xml"/><Relationship Id="rId14" Type="http://schemas.openxmlformats.org/officeDocument/2006/relationships/slideLayout" Target="../slideLayouts/slideLayout256.xml"/><Relationship Id="rId22" Type="http://schemas.openxmlformats.org/officeDocument/2006/relationships/slideLayout" Target="../slideLayouts/slideLayout264.xml"/><Relationship Id="rId27" Type="http://schemas.openxmlformats.org/officeDocument/2006/relationships/slideLayout" Target="../slideLayouts/slideLayout269.xml"/><Relationship Id="rId30" Type="http://schemas.openxmlformats.org/officeDocument/2006/relationships/slideLayout" Target="../slideLayouts/slideLayout272.xml"/><Relationship Id="rId35" Type="http://schemas.openxmlformats.org/officeDocument/2006/relationships/image" Target="../media/image17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CC18B158-C4E7-4F3D-BED6-A008018631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624436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60" imgH="360" progId="TCLayout.ActiveDocument.1">
                  <p:embed/>
                </p:oleObj>
              </mc:Choice>
              <mc:Fallback>
                <p:oleObj name="think-cell Slide" r:id="rId32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CC18B158-C4E7-4F3D-BED6-A008018631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49EABB9-5766-FE25-E328-FE5B7131BF60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DE3E0C-92A3-427B-ED53-25D02A3C95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3"/>
            <a:ext cx="3200400" cy="36960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8FA5F5-A6F4-83D6-C2D2-CBF04F8F21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6042" y="422313"/>
            <a:ext cx="7296870" cy="55149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12F1DC-96E6-798D-E5E3-433DC019F1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GB"/>
              <a:t>Private. In/Ex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6CEF17-E52C-6D06-E631-5CAE767304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8701" y="6411198"/>
            <a:ext cx="684212" cy="23024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6A9A6DF-3763-3CCF-90BF-390EEEDB4D55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4AB4B91-0CC9-4D6F-A1AE-0A92E1DEAC7A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712587" y="6705600"/>
            <a:ext cx="6111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ctr"/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B-Private</a:t>
            </a:r>
          </a:p>
        </p:txBody>
      </p:sp>
    </p:spTree>
    <p:extLst>
      <p:ext uri="{BB962C8B-B14F-4D97-AF65-F5344CB8AC3E}">
        <p14:creationId xmlns:p14="http://schemas.microsoft.com/office/powerpoint/2010/main" val="3523229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1" r:id="rId3"/>
    <p:sldLayoutId id="2147483661" r:id="rId4"/>
    <p:sldLayoutId id="2147483662" r:id="rId5"/>
    <p:sldLayoutId id="2147483663" r:id="rId6"/>
    <p:sldLayoutId id="2147483650" r:id="rId7"/>
    <p:sldLayoutId id="2147483664" r:id="rId8"/>
    <p:sldLayoutId id="2147483652" r:id="rId9"/>
    <p:sldLayoutId id="2147483665" r:id="rId10"/>
    <p:sldLayoutId id="2147483666" r:id="rId11"/>
    <p:sldLayoutId id="2147483667" r:id="rId12"/>
    <p:sldLayoutId id="2147483673" r:id="rId13"/>
    <p:sldLayoutId id="2147483669" r:id="rId14"/>
    <p:sldLayoutId id="2147483676" r:id="rId15"/>
    <p:sldLayoutId id="2147483668" r:id="rId16"/>
    <p:sldLayoutId id="2147483671" r:id="rId17"/>
    <p:sldLayoutId id="2147483672" r:id="rId18"/>
    <p:sldLayoutId id="2147483670" r:id="rId19"/>
    <p:sldLayoutId id="2147483674" r:id="rId20"/>
    <p:sldLayoutId id="2147483675" r:id="rId21"/>
    <p:sldLayoutId id="2147483679" r:id="rId22"/>
    <p:sldLayoutId id="2147483681" r:id="rId23"/>
    <p:sldLayoutId id="2147483682" r:id="rId24"/>
    <p:sldLayoutId id="2147483680" r:id="rId25"/>
    <p:sldLayoutId id="2147483677" r:id="rId26"/>
    <p:sldLayoutId id="2147483678" r:id="rId27"/>
    <p:sldLayoutId id="2147483654" r:id="rId28"/>
    <p:sldLayoutId id="2147483655" r:id="rId2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1" i="0" kern="1200">
          <a:solidFill>
            <a:schemeClr val="accent1"/>
          </a:solidFill>
          <a:latin typeface="SLB Sans" panose="02000503040000020004" pitchFamily="2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accent1"/>
          </a:solidFill>
          <a:latin typeface="SLB Sans Book" panose="02000503040000020004" pitchFamily="2" charset="0"/>
          <a:ea typeface="+mn-ea"/>
          <a:cs typeface="+mn-cs"/>
        </a:defRPr>
      </a:lvl2pPr>
      <a:lvl3pPr marL="342900" indent="-3429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→"/>
        <a:defRPr sz="2000" b="0" kern="1200">
          <a:solidFill>
            <a:schemeClr val="accent1"/>
          </a:solidFill>
          <a:latin typeface="SLB Sans Book" panose="02000503040000020004" pitchFamily="2" charset="0"/>
          <a:ea typeface="+mn-ea"/>
          <a:cs typeface="+mn-cs"/>
        </a:defRPr>
      </a:lvl3pPr>
      <a:lvl4pPr marL="684000" indent="-3420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−"/>
        <a:tabLst/>
        <a:defRPr sz="1800" b="0" kern="1200">
          <a:solidFill>
            <a:schemeClr val="accent1"/>
          </a:solidFill>
          <a:latin typeface="SLB Sans Book" panose="02000503040000020004" pitchFamily="2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accent1"/>
          </a:solidFill>
          <a:latin typeface="SLB Sans Book" panose="0200050304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12" userDrawn="1">
          <p15:clr>
            <a:srgbClr val="F26B43"/>
          </p15:clr>
        </p15:guide>
        <p15:guide id="2" pos="288" userDrawn="1">
          <p15:clr>
            <a:srgbClr val="F26B43"/>
          </p15:clr>
        </p15:guide>
        <p15:guide id="3" pos="7479" userDrawn="1">
          <p15:clr>
            <a:srgbClr val="F26B43"/>
          </p15:clr>
        </p15:guide>
        <p15:guide id="4" pos="4028" userDrawn="1">
          <p15:clr>
            <a:srgbClr val="F26B43"/>
          </p15:clr>
        </p15:guide>
        <p15:guide id="5" pos="2588" userDrawn="1">
          <p15:clr>
            <a:srgbClr val="F26B43"/>
          </p15:clr>
        </p15:guide>
        <p15:guide id="6" pos="5180" userDrawn="1">
          <p15:clr>
            <a:srgbClr val="F26B43"/>
          </p15:clr>
        </p15:guide>
        <p15:guide id="7" orient="horz" pos="288" userDrawn="1">
          <p15:clr>
            <a:srgbClr val="F26B43"/>
          </p15:clr>
        </p15:guide>
        <p15:guide id="10" orient="horz" pos="4028" userDrawn="1">
          <p15:clr>
            <a:srgbClr val="F26B43"/>
          </p15:clr>
        </p15:guide>
        <p15:guide id="11" orient="horz" pos="1436" userDrawn="1">
          <p15:clr>
            <a:srgbClr val="F26B43"/>
          </p15:clr>
        </p15:guide>
        <p15:guide id="12" orient="horz" pos="1152" userDrawn="1">
          <p15:clr>
            <a:srgbClr val="F26B43"/>
          </p15:clr>
        </p15:guide>
        <p15:guide id="13" orient="horz" pos="867" userDrawn="1">
          <p15:clr>
            <a:srgbClr val="F26B43"/>
          </p15:clr>
        </p15:guide>
        <p15:guide id="14" orient="horz" pos="576" userDrawn="1">
          <p15:clr>
            <a:srgbClr val="F26B43"/>
          </p15:clr>
        </p15:guide>
        <p15:guide id="15" orient="horz" pos="1728" userDrawn="1">
          <p15:clr>
            <a:srgbClr val="F26B43"/>
          </p15:clr>
        </p15:guide>
        <p15:guide id="16" orient="horz" pos="2302" userDrawn="1">
          <p15:clr>
            <a:srgbClr val="F26B43"/>
          </p15:clr>
        </p15:guide>
        <p15:guide id="17" orient="horz" pos="2588" userDrawn="1">
          <p15:clr>
            <a:srgbClr val="F26B43"/>
          </p15:clr>
        </p15:guide>
        <p15:guide id="18" orient="horz" pos="2878" userDrawn="1">
          <p15:clr>
            <a:srgbClr val="F26B43"/>
          </p15:clr>
        </p15:guide>
        <p15:guide id="19" orient="horz" pos="3164" userDrawn="1">
          <p15:clr>
            <a:srgbClr val="F26B43"/>
          </p15:clr>
        </p15:guide>
        <p15:guide id="20" orient="horz" pos="3454" userDrawn="1">
          <p15:clr>
            <a:srgbClr val="F26B43"/>
          </p15:clr>
        </p15:guide>
        <p15:guide id="21" orient="horz" pos="3740" userDrawn="1">
          <p15:clr>
            <a:srgbClr val="F26B43"/>
          </p15:clr>
        </p15:guide>
        <p15:guide id="22" pos="6903" userDrawn="1">
          <p15:clr>
            <a:srgbClr val="F26B43"/>
          </p15:clr>
        </p15:guide>
        <p15:guide id="23" pos="6620" userDrawn="1">
          <p15:clr>
            <a:srgbClr val="F26B43"/>
          </p15:clr>
        </p15:guide>
        <p15:guide id="24" pos="6327" userDrawn="1">
          <p15:clr>
            <a:srgbClr val="F26B43"/>
          </p15:clr>
        </p15:guide>
        <p15:guide id="25" pos="6044" userDrawn="1">
          <p15:clr>
            <a:srgbClr val="F26B43"/>
          </p15:clr>
        </p15:guide>
        <p15:guide id="26" pos="5751" userDrawn="1">
          <p15:clr>
            <a:srgbClr val="F26B43"/>
          </p15:clr>
        </p15:guide>
        <p15:guide id="27" pos="5468" userDrawn="1">
          <p15:clr>
            <a:srgbClr val="F26B43"/>
          </p15:clr>
        </p15:guide>
        <p15:guide id="28" pos="576" userDrawn="1">
          <p15:clr>
            <a:srgbClr val="F26B43"/>
          </p15:clr>
        </p15:guide>
        <p15:guide id="29" pos="864" userDrawn="1">
          <p15:clr>
            <a:srgbClr val="F26B43"/>
          </p15:clr>
        </p15:guide>
        <p15:guide id="30" pos="1152" userDrawn="1">
          <p15:clr>
            <a:srgbClr val="F26B43"/>
          </p15:clr>
        </p15:guide>
        <p15:guide id="31" pos="1436" userDrawn="1">
          <p15:clr>
            <a:srgbClr val="F26B43"/>
          </p15:clr>
        </p15:guide>
        <p15:guide id="32" pos="1728" userDrawn="1">
          <p15:clr>
            <a:srgbClr val="F26B43"/>
          </p15:clr>
        </p15:guide>
        <p15:guide id="33" pos="2012" userDrawn="1">
          <p15:clr>
            <a:srgbClr val="F26B43"/>
          </p15:clr>
        </p15:guide>
        <p15:guide id="34" pos="2304" userDrawn="1">
          <p15:clr>
            <a:srgbClr val="F26B43"/>
          </p15:clr>
        </p15:guide>
        <p15:guide id="35" pos="2880" userDrawn="1">
          <p15:clr>
            <a:srgbClr val="F26B43"/>
          </p15:clr>
        </p15:guide>
        <p15:guide id="36" pos="3164" userDrawn="1">
          <p15:clr>
            <a:srgbClr val="F26B43"/>
          </p15:clr>
        </p15:guide>
        <p15:guide id="37" pos="3454" userDrawn="1">
          <p15:clr>
            <a:srgbClr val="F26B43"/>
          </p15:clr>
        </p15:guide>
        <p15:guide id="38" pos="3740" userDrawn="1">
          <p15:clr>
            <a:srgbClr val="F26B43"/>
          </p15:clr>
        </p15:guide>
        <p15:guide id="39" pos="4316" userDrawn="1">
          <p15:clr>
            <a:srgbClr val="F26B43"/>
          </p15:clr>
        </p15:guide>
        <p15:guide id="40" pos="4599" userDrawn="1">
          <p15:clr>
            <a:srgbClr val="F26B43"/>
          </p15:clr>
        </p15:guide>
        <p15:guide id="41" pos="4892" userDrawn="1">
          <p15:clr>
            <a:srgbClr val="F26B43"/>
          </p15:clr>
        </p15:guide>
        <p15:guide id="42" pos="7192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330D6FB-CB52-4B93-A5F6-7D599242D7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391506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60" imgH="360" progId="TCLayout.ActiveDocument.1">
                  <p:embed/>
                </p:oleObj>
              </mc:Choice>
              <mc:Fallback>
                <p:oleObj name="think-cell Slide" r:id="rId32" imgW="360" imgH="36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330D6FB-CB52-4B93-A5F6-7D599242D7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49EABB9-5766-FE25-E328-FE5B7131BF60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DE3E0C-92A3-427B-ED53-25D02A3C95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3"/>
            <a:ext cx="3200400" cy="36960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8FA5F5-A6F4-83D6-C2D2-CBF04F8F21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6042" y="422313"/>
            <a:ext cx="7296870" cy="55149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12F1DC-96E6-798D-E5E3-433DC019F1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GB"/>
              <a:t>Private. In/Ex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6CEF17-E52C-6D06-E631-5CAE767304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8701" y="6411198"/>
            <a:ext cx="684212" cy="23024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6A9A6DF-3763-3CCF-90BF-390EEEDB4D55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223A246-B222-A48F-E6AA-D034286B03A0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04662" y="6705600"/>
            <a:ext cx="6111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B-Private</a:t>
            </a:r>
          </a:p>
        </p:txBody>
      </p:sp>
    </p:spTree>
    <p:extLst>
      <p:ext uri="{BB962C8B-B14F-4D97-AF65-F5344CB8AC3E}">
        <p14:creationId xmlns:p14="http://schemas.microsoft.com/office/powerpoint/2010/main" val="1734696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8" r:id="rId1"/>
    <p:sldLayoutId id="2147483969" r:id="rId2"/>
    <p:sldLayoutId id="2147483970" r:id="rId3"/>
    <p:sldLayoutId id="2147483971" r:id="rId4"/>
    <p:sldLayoutId id="2147483972" r:id="rId5"/>
    <p:sldLayoutId id="2147483973" r:id="rId6"/>
    <p:sldLayoutId id="2147483974" r:id="rId7"/>
    <p:sldLayoutId id="2147483975" r:id="rId8"/>
    <p:sldLayoutId id="2147483976" r:id="rId9"/>
    <p:sldLayoutId id="2147483977" r:id="rId10"/>
    <p:sldLayoutId id="2147483978" r:id="rId11"/>
    <p:sldLayoutId id="2147483979" r:id="rId12"/>
    <p:sldLayoutId id="2147483980" r:id="rId13"/>
    <p:sldLayoutId id="2147483981" r:id="rId14"/>
    <p:sldLayoutId id="2147483982" r:id="rId15"/>
    <p:sldLayoutId id="2147483983" r:id="rId16"/>
    <p:sldLayoutId id="2147483984" r:id="rId17"/>
    <p:sldLayoutId id="2147483985" r:id="rId18"/>
    <p:sldLayoutId id="2147483986" r:id="rId19"/>
    <p:sldLayoutId id="2147483987" r:id="rId20"/>
    <p:sldLayoutId id="2147483988" r:id="rId21"/>
    <p:sldLayoutId id="2147483989" r:id="rId22"/>
    <p:sldLayoutId id="2147483990" r:id="rId23"/>
    <p:sldLayoutId id="2147483991" r:id="rId24"/>
    <p:sldLayoutId id="2147483992" r:id="rId25"/>
    <p:sldLayoutId id="2147483993" r:id="rId26"/>
    <p:sldLayoutId id="2147483994" r:id="rId27"/>
    <p:sldLayoutId id="2147483995" r:id="rId28"/>
    <p:sldLayoutId id="2147483996" r:id="rId2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1" i="0" kern="1200">
          <a:solidFill>
            <a:schemeClr val="accent1"/>
          </a:solidFill>
          <a:latin typeface="SLB Sans" panose="02000503040000020004" pitchFamily="2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accent1"/>
          </a:solidFill>
          <a:latin typeface="SLB Sans Book" panose="02000503040000020004" pitchFamily="2" charset="0"/>
          <a:ea typeface="+mn-ea"/>
          <a:cs typeface="+mn-cs"/>
        </a:defRPr>
      </a:lvl2pPr>
      <a:lvl3pPr marL="342900" indent="-3429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→"/>
        <a:defRPr sz="2000" b="0" kern="1200">
          <a:solidFill>
            <a:schemeClr val="accent1"/>
          </a:solidFill>
          <a:latin typeface="SLB Sans Book" panose="02000503040000020004" pitchFamily="2" charset="0"/>
          <a:ea typeface="+mn-ea"/>
          <a:cs typeface="+mn-cs"/>
        </a:defRPr>
      </a:lvl3pPr>
      <a:lvl4pPr marL="684000" indent="-3420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−"/>
        <a:tabLst/>
        <a:defRPr sz="1800" b="0" kern="1200">
          <a:solidFill>
            <a:schemeClr val="accent1"/>
          </a:solidFill>
          <a:latin typeface="SLB Sans Book" panose="02000503040000020004" pitchFamily="2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accent1"/>
          </a:solidFill>
          <a:latin typeface="SLB Sans Book" panose="0200050304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12">
          <p15:clr>
            <a:srgbClr val="F26B43"/>
          </p15:clr>
        </p15:guide>
        <p15:guide id="2" pos="288">
          <p15:clr>
            <a:srgbClr val="F26B43"/>
          </p15:clr>
        </p15:guide>
        <p15:guide id="3" pos="7479">
          <p15:clr>
            <a:srgbClr val="F26B43"/>
          </p15:clr>
        </p15:guide>
        <p15:guide id="4" pos="4028">
          <p15:clr>
            <a:srgbClr val="F26B43"/>
          </p15:clr>
        </p15:guide>
        <p15:guide id="5" pos="2588">
          <p15:clr>
            <a:srgbClr val="F26B43"/>
          </p15:clr>
        </p15:guide>
        <p15:guide id="6" pos="5180">
          <p15:clr>
            <a:srgbClr val="F26B43"/>
          </p15:clr>
        </p15:guide>
        <p15:guide id="7" orient="horz" pos="288">
          <p15:clr>
            <a:srgbClr val="F26B43"/>
          </p15:clr>
        </p15:guide>
        <p15:guide id="10" orient="horz" pos="4028">
          <p15:clr>
            <a:srgbClr val="F26B43"/>
          </p15:clr>
        </p15:guide>
        <p15:guide id="11" orient="horz" pos="1436">
          <p15:clr>
            <a:srgbClr val="F26B43"/>
          </p15:clr>
        </p15:guide>
        <p15:guide id="12" orient="horz" pos="1152">
          <p15:clr>
            <a:srgbClr val="F26B43"/>
          </p15:clr>
        </p15:guide>
        <p15:guide id="13" orient="horz" pos="867">
          <p15:clr>
            <a:srgbClr val="F26B43"/>
          </p15:clr>
        </p15:guide>
        <p15:guide id="14" orient="horz" pos="576">
          <p15:clr>
            <a:srgbClr val="F26B43"/>
          </p15:clr>
        </p15:guide>
        <p15:guide id="15" orient="horz" pos="1728">
          <p15:clr>
            <a:srgbClr val="F26B43"/>
          </p15:clr>
        </p15:guide>
        <p15:guide id="16" orient="horz" pos="2302">
          <p15:clr>
            <a:srgbClr val="F26B43"/>
          </p15:clr>
        </p15:guide>
        <p15:guide id="17" orient="horz" pos="2588">
          <p15:clr>
            <a:srgbClr val="F26B43"/>
          </p15:clr>
        </p15:guide>
        <p15:guide id="18" orient="horz" pos="2878">
          <p15:clr>
            <a:srgbClr val="F26B43"/>
          </p15:clr>
        </p15:guide>
        <p15:guide id="19" orient="horz" pos="3164">
          <p15:clr>
            <a:srgbClr val="F26B43"/>
          </p15:clr>
        </p15:guide>
        <p15:guide id="20" orient="horz" pos="3454">
          <p15:clr>
            <a:srgbClr val="F26B43"/>
          </p15:clr>
        </p15:guide>
        <p15:guide id="21" orient="horz" pos="3740">
          <p15:clr>
            <a:srgbClr val="F26B43"/>
          </p15:clr>
        </p15:guide>
        <p15:guide id="22" pos="6903">
          <p15:clr>
            <a:srgbClr val="F26B43"/>
          </p15:clr>
        </p15:guide>
        <p15:guide id="23" pos="6620">
          <p15:clr>
            <a:srgbClr val="F26B43"/>
          </p15:clr>
        </p15:guide>
        <p15:guide id="24" pos="6327">
          <p15:clr>
            <a:srgbClr val="F26B43"/>
          </p15:clr>
        </p15:guide>
        <p15:guide id="25" pos="6044">
          <p15:clr>
            <a:srgbClr val="F26B43"/>
          </p15:clr>
        </p15:guide>
        <p15:guide id="26" pos="5751">
          <p15:clr>
            <a:srgbClr val="F26B43"/>
          </p15:clr>
        </p15:guide>
        <p15:guide id="27" pos="5468">
          <p15:clr>
            <a:srgbClr val="F26B43"/>
          </p15:clr>
        </p15:guide>
        <p15:guide id="28" pos="576">
          <p15:clr>
            <a:srgbClr val="F26B43"/>
          </p15:clr>
        </p15:guide>
        <p15:guide id="29" pos="864">
          <p15:clr>
            <a:srgbClr val="F26B43"/>
          </p15:clr>
        </p15:guide>
        <p15:guide id="30" pos="1152">
          <p15:clr>
            <a:srgbClr val="F26B43"/>
          </p15:clr>
        </p15:guide>
        <p15:guide id="31" pos="1436">
          <p15:clr>
            <a:srgbClr val="F26B43"/>
          </p15:clr>
        </p15:guide>
        <p15:guide id="32" pos="1728">
          <p15:clr>
            <a:srgbClr val="F26B43"/>
          </p15:clr>
        </p15:guide>
        <p15:guide id="33" pos="2012">
          <p15:clr>
            <a:srgbClr val="F26B43"/>
          </p15:clr>
        </p15:guide>
        <p15:guide id="34" pos="2304">
          <p15:clr>
            <a:srgbClr val="F26B43"/>
          </p15:clr>
        </p15:guide>
        <p15:guide id="35" pos="2880">
          <p15:clr>
            <a:srgbClr val="F26B43"/>
          </p15:clr>
        </p15:guide>
        <p15:guide id="36" pos="3164">
          <p15:clr>
            <a:srgbClr val="F26B43"/>
          </p15:clr>
        </p15:guide>
        <p15:guide id="37" pos="3454">
          <p15:clr>
            <a:srgbClr val="F26B43"/>
          </p15:clr>
        </p15:guide>
        <p15:guide id="38" pos="3740">
          <p15:clr>
            <a:srgbClr val="F26B43"/>
          </p15:clr>
        </p15:guide>
        <p15:guide id="39" pos="4316">
          <p15:clr>
            <a:srgbClr val="F26B43"/>
          </p15:clr>
        </p15:guide>
        <p15:guide id="40" pos="4599">
          <p15:clr>
            <a:srgbClr val="F26B43"/>
          </p15:clr>
        </p15:guide>
        <p15:guide id="41" pos="4892">
          <p15:clr>
            <a:srgbClr val="F26B43"/>
          </p15:clr>
        </p15:guide>
        <p15:guide id="42" pos="719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49EABB9-5766-FE25-E328-FE5B7131BF60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DE3E0C-92A3-427B-ED53-25D02A3C95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3"/>
            <a:ext cx="3200400" cy="36960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8FA5F5-A6F4-83D6-C2D2-CBF04F8F21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6042" y="422313"/>
            <a:ext cx="7296870" cy="55149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6CEF17-E52C-6D06-E631-5CAE767304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8701" y="6411198"/>
            <a:ext cx="684212" cy="23024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9DCADAA-AE45-1053-A04D-8E58E58654FE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3ADE2CC-82A6-F70B-AEC6-67E62ABD2A8A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04662" y="6642100"/>
            <a:ext cx="6111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B-Private</a:t>
            </a:r>
          </a:p>
        </p:txBody>
      </p:sp>
    </p:spTree>
    <p:extLst>
      <p:ext uri="{BB962C8B-B14F-4D97-AF65-F5344CB8AC3E}">
        <p14:creationId xmlns:p14="http://schemas.microsoft.com/office/powerpoint/2010/main" val="1751007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8" r:id="rId1"/>
    <p:sldLayoutId id="2147484029" r:id="rId2"/>
    <p:sldLayoutId id="2147484030" r:id="rId3"/>
    <p:sldLayoutId id="2147484031" r:id="rId4"/>
    <p:sldLayoutId id="2147484032" r:id="rId5"/>
    <p:sldLayoutId id="2147484033" r:id="rId6"/>
    <p:sldLayoutId id="2147484034" r:id="rId7"/>
    <p:sldLayoutId id="2147484035" r:id="rId8"/>
    <p:sldLayoutId id="2147484036" r:id="rId9"/>
    <p:sldLayoutId id="2147484037" r:id="rId10"/>
    <p:sldLayoutId id="2147484038" r:id="rId11"/>
    <p:sldLayoutId id="2147484039" r:id="rId12"/>
    <p:sldLayoutId id="2147484040" r:id="rId13"/>
    <p:sldLayoutId id="2147484041" r:id="rId14"/>
    <p:sldLayoutId id="2147484042" r:id="rId15"/>
    <p:sldLayoutId id="2147484043" r:id="rId16"/>
    <p:sldLayoutId id="2147484044" r:id="rId17"/>
    <p:sldLayoutId id="2147484045" r:id="rId18"/>
    <p:sldLayoutId id="2147484046" r:id="rId19"/>
    <p:sldLayoutId id="2147484047" r:id="rId20"/>
    <p:sldLayoutId id="2147484048" r:id="rId21"/>
    <p:sldLayoutId id="2147484049" r:id="rId22"/>
    <p:sldLayoutId id="2147484050" r:id="rId23"/>
    <p:sldLayoutId id="2147484051" r:id="rId24"/>
    <p:sldLayoutId id="2147484052" r:id="rId25"/>
    <p:sldLayoutId id="2147484053" r:id="rId26"/>
    <p:sldLayoutId id="2147484054" r:id="rId27"/>
    <p:sldLayoutId id="2147484055" r:id="rId28"/>
    <p:sldLayoutId id="2147484056" r:id="rId2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1" i="0" kern="1200">
          <a:solidFill>
            <a:schemeClr val="tx1"/>
          </a:solidFill>
          <a:latin typeface="SLB Sans" panose="02000503040000020004" pitchFamily="2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2pPr>
      <a:lvl3pPr marL="342900" indent="-3429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→"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3pPr>
      <a:lvl4pPr marL="684000" indent="-3420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−"/>
        <a:tabLst/>
        <a:defRPr sz="18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12">
          <p15:clr>
            <a:srgbClr val="F26B43"/>
          </p15:clr>
        </p15:guide>
        <p15:guide id="2" pos="288">
          <p15:clr>
            <a:srgbClr val="F26B43"/>
          </p15:clr>
        </p15:guide>
        <p15:guide id="3" pos="7479">
          <p15:clr>
            <a:srgbClr val="F26B43"/>
          </p15:clr>
        </p15:guide>
        <p15:guide id="4" pos="4028">
          <p15:clr>
            <a:srgbClr val="F26B43"/>
          </p15:clr>
        </p15:guide>
        <p15:guide id="5" pos="2588">
          <p15:clr>
            <a:srgbClr val="F26B43"/>
          </p15:clr>
        </p15:guide>
        <p15:guide id="6" pos="5180">
          <p15:clr>
            <a:srgbClr val="F26B43"/>
          </p15:clr>
        </p15:guide>
        <p15:guide id="7" orient="horz" pos="288">
          <p15:clr>
            <a:srgbClr val="F26B43"/>
          </p15:clr>
        </p15:guide>
        <p15:guide id="10" orient="horz" pos="4028">
          <p15:clr>
            <a:srgbClr val="F26B43"/>
          </p15:clr>
        </p15:guide>
        <p15:guide id="11" orient="horz" pos="1436">
          <p15:clr>
            <a:srgbClr val="F26B43"/>
          </p15:clr>
        </p15:guide>
        <p15:guide id="12" orient="horz" pos="1152">
          <p15:clr>
            <a:srgbClr val="F26B43"/>
          </p15:clr>
        </p15:guide>
        <p15:guide id="13" orient="horz" pos="867">
          <p15:clr>
            <a:srgbClr val="F26B43"/>
          </p15:clr>
        </p15:guide>
        <p15:guide id="14" orient="horz" pos="576">
          <p15:clr>
            <a:srgbClr val="F26B43"/>
          </p15:clr>
        </p15:guide>
        <p15:guide id="15" orient="horz" pos="1728">
          <p15:clr>
            <a:srgbClr val="F26B43"/>
          </p15:clr>
        </p15:guide>
        <p15:guide id="16" orient="horz" pos="2302">
          <p15:clr>
            <a:srgbClr val="F26B43"/>
          </p15:clr>
        </p15:guide>
        <p15:guide id="17" orient="horz" pos="2588">
          <p15:clr>
            <a:srgbClr val="F26B43"/>
          </p15:clr>
        </p15:guide>
        <p15:guide id="18" orient="horz" pos="2878">
          <p15:clr>
            <a:srgbClr val="F26B43"/>
          </p15:clr>
        </p15:guide>
        <p15:guide id="19" orient="horz" pos="3164">
          <p15:clr>
            <a:srgbClr val="F26B43"/>
          </p15:clr>
        </p15:guide>
        <p15:guide id="20" orient="horz" pos="3454">
          <p15:clr>
            <a:srgbClr val="F26B43"/>
          </p15:clr>
        </p15:guide>
        <p15:guide id="21" orient="horz" pos="3740">
          <p15:clr>
            <a:srgbClr val="F26B43"/>
          </p15:clr>
        </p15:guide>
        <p15:guide id="22" pos="6903">
          <p15:clr>
            <a:srgbClr val="F26B43"/>
          </p15:clr>
        </p15:guide>
        <p15:guide id="23" pos="6620">
          <p15:clr>
            <a:srgbClr val="F26B43"/>
          </p15:clr>
        </p15:guide>
        <p15:guide id="24" pos="6327">
          <p15:clr>
            <a:srgbClr val="F26B43"/>
          </p15:clr>
        </p15:guide>
        <p15:guide id="25" pos="6044">
          <p15:clr>
            <a:srgbClr val="F26B43"/>
          </p15:clr>
        </p15:guide>
        <p15:guide id="26" pos="5751">
          <p15:clr>
            <a:srgbClr val="F26B43"/>
          </p15:clr>
        </p15:guide>
        <p15:guide id="27" pos="5468">
          <p15:clr>
            <a:srgbClr val="F26B43"/>
          </p15:clr>
        </p15:guide>
        <p15:guide id="28" pos="576">
          <p15:clr>
            <a:srgbClr val="F26B43"/>
          </p15:clr>
        </p15:guide>
        <p15:guide id="29" pos="864">
          <p15:clr>
            <a:srgbClr val="F26B43"/>
          </p15:clr>
        </p15:guide>
        <p15:guide id="30" pos="1152">
          <p15:clr>
            <a:srgbClr val="F26B43"/>
          </p15:clr>
        </p15:guide>
        <p15:guide id="31" pos="1436">
          <p15:clr>
            <a:srgbClr val="F26B43"/>
          </p15:clr>
        </p15:guide>
        <p15:guide id="32" pos="1728">
          <p15:clr>
            <a:srgbClr val="F26B43"/>
          </p15:clr>
        </p15:guide>
        <p15:guide id="33" pos="2012">
          <p15:clr>
            <a:srgbClr val="F26B43"/>
          </p15:clr>
        </p15:guide>
        <p15:guide id="34" pos="2304">
          <p15:clr>
            <a:srgbClr val="F26B43"/>
          </p15:clr>
        </p15:guide>
        <p15:guide id="35" pos="2880">
          <p15:clr>
            <a:srgbClr val="F26B43"/>
          </p15:clr>
        </p15:guide>
        <p15:guide id="36" pos="3164">
          <p15:clr>
            <a:srgbClr val="F26B43"/>
          </p15:clr>
        </p15:guide>
        <p15:guide id="37" pos="3454">
          <p15:clr>
            <a:srgbClr val="F26B43"/>
          </p15:clr>
        </p15:guide>
        <p15:guide id="38" pos="3740">
          <p15:clr>
            <a:srgbClr val="F26B43"/>
          </p15:clr>
        </p15:guide>
        <p15:guide id="39" pos="4316">
          <p15:clr>
            <a:srgbClr val="F26B43"/>
          </p15:clr>
        </p15:guide>
        <p15:guide id="40" pos="4599">
          <p15:clr>
            <a:srgbClr val="F26B43"/>
          </p15:clr>
        </p15:guide>
        <p15:guide id="41" pos="4892">
          <p15:clr>
            <a:srgbClr val="F26B43"/>
          </p15:clr>
        </p15:guide>
        <p15:guide id="42" pos="719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149A1D0-8C37-4EAD-9A7F-79DCDAF3ED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533611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306" imgH="306" progId="TCLayout.ActiveDocument.1">
                  <p:embed/>
                </p:oleObj>
              </mc:Choice>
              <mc:Fallback>
                <p:oleObj name="think-cell Slide" r:id="rId35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149A1D0-8C37-4EAD-9A7F-79DCDAF3ED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49EABB9-5766-FE25-E328-FE5B7131BF60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DE3E0C-92A3-427B-ED53-25D02A3C95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3"/>
            <a:ext cx="3200400" cy="36960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8FA5F5-A6F4-83D6-C2D2-CBF04F8F21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6042" y="422313"/>
            <a:ext cx="7296870" cy="55149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12F1DC-96E6-798D-E5E3-433DC019F1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GB"/>
              <a:t>In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6CEF17-E52C-6D06-E631-5CAE767304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8701" y="6411198"/>
            <a:ext cx="684212" cy="23024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2737C662-D0ED-4587-B264-5C4F0D975D18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9DCADAA-AE45-1053-A04D-8E58E58654FE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790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8" r:id="rId1"/>
    <p:sldLayoutId id="2147484059" r:id="rId2"/>
    <p:sldLayoutId id="2147484060" r:id="rId3"/>
    <p:sldLayoutId id="2147484061" r:id="rId4"/>
    <p:sldLayoutId id="2147484062" r:id="rId5"/>
    <p:sldLayoutId id="2147484063" r:id="rId6"/>
    <p:sldLayoutId id="2147484064" r:id="rId7"/>
    <p:sldLayoutId id="2147484065" r:id="rId8"/>
    <p:sldLayoutId id="2147484066" r:id="rId9"/>
    <p:sldLayoutId id="2147484067" r:id="rId10"/>
    <p:sldLayoutId id="2147484068" r:id="rId11"/>
    <p:sldLayoutId id="2147484069" r:id="rId12"/>
    <p:sldLayoutId id="2147484070" r:id="rId13"/>
    <p:sldLayoutId id="2147484071" r:id="rId14"/>
    <p:sldLayoutId id="2147484072" r:id="rId15"/>
    <p:sldLayoutId id="2147484073" r:id="rId16"/>
    <p:sldLayoutId id="2147484074" r:id="rId17"/>
    <p:sldLayoutId id="2147484075" r:id="rId18"/>
    <p:sldLayoutId id="2147484076" r:id="rId19"/>
    <p:sldLayoutId id="2147484077" r:id="rId20"/>
    <p:sldLayoutId id="2147484078" r:id="rId21"/>
    <p:sldLayoutId id="2147484079" r:id="rId22"/>
    <p:sldLayoutId id="2147484080" r:id="rId23"/>
    <p:sldLayoutId id="2147484081" r:id="rId24"/>
    <p:sldLayoutId id="2147484082" r:id="rId25"/>
    <p:sldLayoutId id="2147484083" r:id="rId26"/>
    <p:sldLayoutId id="2147484084" r:id="rId27"/>
    <p:sldLayoutId id="2147484085" r:id="rId28"/>
    <p:sldLayoutId id="2147484086" r:id="rId29"/>
    <p:sldLayoutId id="2147484087" r:id="rId30"/>
    <p:sldLayoutId id="2147484088" r:id="rId31"/>
    <p:sldLayoutId id="2147484089" r:id="rId3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1" i="0" kern="1200">
          <a:solidFill>
            <a:schemeClr val="tx1"/>
          </a:solidFill>
          <a:latin typeface="SLB Sans" panose="02000503040000020004" pitchFamily="2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2pPr>
      <a:lvl3pPr marL="342900" indent="-3429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→"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3pPr>
      <a:lvl4pPr marL="684000" indent="-3420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−"/>
        <a:tabLst/>
        <a:defRPr sz="18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12">
          <p15:clr>
            <a:srgbClr val="F26B43"/>
          </p15:clr>
        </p15:guide>
        <p15:guide id="2" pos="288">
          <p15:clr>
            <a:srgbClr val="F26B43"/>
          </p15:clr>
        </p15:guide>
        <p15:guide id="3" pos="7479">
          <p15:clr>
            <a:srgbClr val="F26B43"/>
          </p15:clr>
        </p15:guide>
        <p15:guide id="4" pos="4028">
          <p15:clr>
            <a:srgbClr val="F26B43"/>
          </p15:clr>
        </p15:guide>
        <p15:guide id="5" pos="2588">
          <p15:clr>
            <a:srgbClr val="F26B43"/>
          </p15:clr>
        </p15:guide>
        <p15:guide id="6" pos="5180">
          <p15:clr>
            <a:srgbClr val="F26B43"/>
          </p15:clr>
        </p15:guide>
        <p15:guide id="7" orient="horz" pos="288">
          <p15:clr>
            <a:srgbClr val="F26B43"/>
          </p15:clr>
        </p15:guide>
        <p15:guide id="10" orient="horz" pos="4028">
          <p15:clr>
            <a:srgbClr val="F26B43"/>
          </p15:clr>
        </p15:guide>
        <p15:guide id="11" orient="horz" pos="1436">
          <p15:clr>
            <a:srgbClr val="F26B43"/>
          </p15:clr>
        </p15:guide>
        <p15:guide id="12" orient="horz" pos="1152">
          <p15:clr>
            <a:srgbClr val="F26B43"/>
          </p15:clr>
        </p15:guide>
        <p15:guide id="13" orient="horz" pos="867">
          <p15:clr>
            <a:srgbClr val="F26B43"/>
          </p15:clr>
        </p15:guide>
        <p15:guide id="14" orient="horz" pos="576">
          <p15:clr>
            <a:srgbClr val="F26B43"/>
          </p15:clr>
        </p15:guide>
        <p15:guide id="15" orient="horz" pos="1728">
          <p15:clr>
            <a:srgbClr val="F26B43"/>
          </p15:clr>
        </p15:guide>
        <p15:guide id="16" orient="horz" pos="2302">
          <p15:clr>
            <a:srgbClr val="F26B43"/>
          </p15:clr>
        </p15:guide>
        <p15:guide id="17" orient="horz" pos="2588">
          <p15:clr>
            <a:srgbClr val="F26B43"/>
          </p15:clr>
        </p15:guide>
        <p15:guide id="18" orient="horz" pos="2878">
          <p15:clr>
            <a:srgbClr val="F26B43"/>
          </p15:clr>
        </p15:guide>
        <p15:guide id="19" orient="horz" pos="3164">
          <p15:clr>
            <a:srgbClr val="F26B43"/>
          </p15:clr>
        </p15:guide>
        <p15:guide id="20" orient="horz" pos="3454">
          <p15:clr>
            <a:srgbClr val="F26B43"/>
          </p15:clr>
        </p15:guide>
        <p15:guide id="21" orient="horz" pos="3740">
          <p15:clr>
            <a:srgbClr val="F26B43"/>
          </p15:clr>
        </p15:guide>
        <p15:guide id="22" pos="6903">
          <p15:clr>
            <a:srgbClr val="F26B43"/>
          </p15:clr>
        </p15:guide>
        <p15:guide id="23" pos="6620">
          <p15:clr>
            <a:srgbClr val="F26B43"/>
          </p15:clr>
        </p15:guide>
        <p15:guide id="24" pos="6327">
          <p15:clr>
            <a:srgbClr val="F26B43"/>
          </p15:clr>
        </p15:guide>
        <p15:guide id="25" pos="6044">
          <p15:clr>
            <a:srgbClr val="F26B43"/>
          </p15:clr>
        </p15:guide>
        <p15:guide id="26" pos="5751">
          <p15:clr>
            <a:srgbClr val="F26B43"/>
          </p15:clr>
        </p15:guide>
        <p15:guide id="27" pos="5468">
          <p15:clr>
            <a:srgbClr val="F26B43"/>
          </p15:clr>
        </p15:guide>
        <p15:guide id="28" pos="576">
          <p15:clr>
            <a:srgbClr val="F26B43"/>
          </p15:clr>
        </p15:guide>
        <p15:guide id="29" pos="864">
          <p15:clr>
            <a:srgbClr val="F26B43"/>
          </p15:clr>
        </p15:guide>
        <p15:guide id="30" pos="1152">
          <p15:clr>
            <a:srgbClr val="F26B43"/>
          </p15:clr>
        </p15:guide>
        <p15:guide id="31" pos="1436">
          <p15:clr>
            <a:srgbClr val="F26B43"/>
          </p15:clr>
        </p15:guide>
        <p15:guide id="32" pos="1728">
          <p15:clr>
            <a:srgbClr val="F26B43"/>
          </p15:clr>
        </p15:guide>
        <p15:guide id="33" pos="2012">
          <p15:clr>
            <a:srgbClr val="F26B43"/>
          </p15:clr>
        </p15:guide>
        <p15:guide id="34" pos="2304">
          <p15:clr>
            <a:srgbClr val="F26B43"/>
          </p15:clr>
        </p15:guide>
        <p15:guide id="35" pos="2880">
          <p15:clr>
            <a:srgbClr val="F26B43"/>
          </p15:clr>
        </p15:guide>
        <p15:guide id="36" pos="3164">
          <p15:clr>
            <a:srgbClr val="F26B43"/>
          </p15:clr>
        </p15:guide>
        <p15:guide id="37" pos="3454">
          <p15:clr>
            <a:srgbClr val="F26B43"/>
          </p15:clr>
        </p15:guide>
        <p15:guide id="38" pos="3740">
          <p15:clr>
            <a:srgbClr val="F26B43"/>
          </p15:clr>
        </p15:guide>
        <p15:guide id="39" pos="4316">
          <p15:clr>
            <a:srgbClr val="F26B43"/>
          </p15:clr>
        </p15:guide>
        <p15:guide id="40" pos="4599">
          <p15:clr>
            <a:srgbClr val="F26B43"/>
          </p15:clr>
        </p15:guide>
        <p15:guide id="41" pos="4892">
          <p15:clr>
            <a:srgbClr val="F26B43"/>
          </p15:clr>
        </p15:guide>
        <p15:guide id="42" pos="7192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330D6FB-CB52-4B93-A5F6-7D599242D7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391506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60" imgH="360" progId="TCLayout.ActiveDocument.1">
                  <p:embed/>
                </p:oleObj>
              </mc:Choice>
              <mc:Fallback>
                <p:oleObj name="think-cell Slide" r:id="rId32" imgW="360" imgH="36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330D6FB-CB52-4B93-A5F6-7D599242D7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49EABB9-5766-FE25-E328-FE5B7131BF60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DE3E0C-92A3-427B-ED53-25D02A3C95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3"/>
            <a:ext cx="3200400" cy="36960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8FA5F5-A6F4-83D6-C2D2-CBF04F8F21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6042" y="422313"/>
            <a:ext cx="7296870" cy="55149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12F1DC-96E6-798D-E5E3-433DC019F1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GB"/>
              <a:t>Private. In/Ex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6CEF17-E52C-6D06-E631-5CAE767304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8701" y="6411198"/>
            <a:ext cx="684212" cy="23024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6A9A6DF-3763-3CCF-90BF-390EEEDB4D55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223A246-B222-A48F-E6AA-D034286B03A0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04662" y="6705600"/>
            <a:ext cx="6111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B-Private</a:t>
            </a:r>
          </a:p>
        </p:txBody>
      </p:sp>
    </p:spTree>
    <p:extLst>
      <p:ext uri="{BB962C8B-B14F-4D97-AF65-F5344CB8AC3E}">
        <p14:creationId xmlns:p14="http://schemas.microsoft.com/office/powerpoint/2010/main" val="7696378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1" r:id="rId1"/>
    <p:sldLayoutId id="2147484092" r:id="rId2"/>
    <p:sldLayoutId id="2147484093" r:id="rId3"/>
    <p:sldLayoutId id="2147484094" r:id="rId4"/>
    <p:sldLayoutId id="2147484095" r:id="rId5"/>
    <p:sldLayoutId id="2147484096" r:id="rId6"/>
    <p:sldLayoutId id="2147484097" r:id="rId7"/>
    <p:sldLayoutId id="2147484098" r:id="rId8"/>
    <p:sldLayoutId id="2147484099" r:id="rId9"/>
    <p:sldLayoutId id="2147484100" r:id="rId10"/>
    <p:sldLayoutId id="2147484101" r:id="rId11"/>
    <p:sldLayoutId id="2147484102" r:id="rId12"/>
    <p:sldLayoutId id="2147484103" r:id="rId13"/>
    <p:sldLayoutId id="2147484104" r:id="rId14"/>
    <p:sldLayoutId id="2147484105" r:id="rId15"/>
    <p:sldLayoutId id="2147484106" r:id="rId16"/>
    <p:sldLayoutId id="2147484107" r:id="rId17"/>
    <p:sldLayoutId id="2147484108" r:id="rId18"/>
    <p:sldLayoutId id="2147484109" r:id="rId19"/>
    <p:sldLayoutId id="2147484110" r:id="rId20"/>
    <p:sldLayoutId id="2147484111" r:id="rId21"/>
    <p:sldLayoutId id="2147484112" r:id="rId22"/>
    <p:sldLayoutId id="2147484113" r:id="rId23"/>
    <p:sldLayoutId id="2147484114" r:id="rId24"/>
    <p:sldLayoutId id="2147484115" r:id="rId25"/>
    <p:sldLayoutId id="2147484116" r:id="rId26"/>
    <p:sldLayoutId id="2147484117" r:id="rId27"/>
    <p:sldLayoutId id="2147484118" r:id="rId28"/>
    <p:sldLayoutId id="2147484119" r:id="rId2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1" i="0" kern="1200">
          <a:solidFill>
            <a:schemeClr val="accent1"/>
          </a:solidFill>
          <a:latin typeface="SLB Sans" panose="02000503040000020004" pitchFamily="2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accent1"/>
          </a:solidFill>
          <a:latin typeface="SLB Sans Book" panose="02000503040000020004" pitchFamily="2" charset="0"/>
          <a:ea typeface="+mn-ea"/>
          <a:cs typeface="+mn-cs"/>
        </a:defRPr>
      </a:lvl2pPr>
      <a:lvl3pPr marL="342900" indent="-3429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→"/>
        <a:defRPr sz="2000" b="0" kern="1200">
          <a:solidFill>
            <a:schemeClr val="accent1"/>
          </a:solidFill>
          <a:latin typeface="SLB Sans Book" panose="02000503040000020004" pitchFamily="2" charset="0"/>
          <a:ea typeface="+mn-ea"/>
          <a:cs typeface="+mn-cs"/>
        </a:defRPr>
      </a:lvl3pPr>
      <a:lvl4pPr marL="684000" indent="-3420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−"/>
        <a:tabLst/>
        <a:defRPr sz="1800" b="0" kern="1200">
          <a:solidFill>
            <a:schemeClr val="accent1"/>
          </a:solidFill>
          <a:latin typeface="SLB Sans Book" panose="02000503040000020004" pitchFamily="2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accent1"/>
          </a:solidFill>
          <a:latin typeface="SLB Sans Book" panose="0200050304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12">
          <p15:clr>
            <a:srgbClr val="F26B43"/>
          </p15:clr>
        </p15:guide>
        <p15:guide id="2" pos="288">
          <p15:clr>
            <a:srgbClr val="F26B43"/>
          </p15:clr>
        </p15:guide>
        <p15:guide id="3" pos="7479">
          <p15:clr>
            <a:srgbClr val="F26B43"/>
          </p15:clr>
        </p15:guide>
        <p15:guide id="4" pos="4028">
          <p15:clr>
            <a:srgbClr val="F26B43"/>
          </p15:clr>
        </p15:guide>
        <p15:guide id="5" pos="2588">
          <p15:clr>
            <a:srgbClr val="F26B43"/>
          </p15:clr>
        </p15:guide>
        <p15:guide id="6" pos="5180">
          <p15:clr>
            <a:srgbClr val="F26B43"/>
          </p15:clr>
        </p15:guide>
        <p15:guide id="7" orient="horz" pos="288">
          <p15:clr>
            <a:srgbClr val="F26B43"/>
          </p15:clr>
        </p15:guide>
        <p15:guide id="10" orient="horz" pos="4028">
          <p15:clr>
            <a:srgbClr val="F26B43"/>
          </p15:clr>
        </p15:guide>
        <p15:guide id="11" orient="horz" pos="1436">
          <p15:clr>
            <a:srgbClr val="F26B43"/>
          </p15:clr>
        </p15:guide>
        <p15:guide id="12" orient="horz" pos="1152">
          <p15:clr>
            <a:srgbClr val="F26B43"/>
          </p15:clr>
        </p15:guide>
        <p15:guide id="13" orient="horz" pos="867">
          <p15:clr>
            <a:srgbClr val="F26B43"/>
          </p15:clr>
        </p15:guide>
        <p15:guide id="14" orient="horz" pos="576">
          <p15:clr>
            <a:srgbClr val="F26B43"/>
          </p15:clr>
        </p15:guide>
        <p15:guide id="15" orient="horz" pos="1728">
          <p15:clr>
            <a:srgbClr val="F26B43"/>
          </p15:clr>
        </p15:guide>
        <p15:guide id="16" orient="horz" pos="2302">
          <p15:clr>
            <a:srgbClr val="F26B43"/>
          </p15:clr>
        </p15:guide>
        <p15:guide id="17" orient="horz" pos="2588">
          <p15:clr>
            <a:srgbClr val="F26B43"/>
          </p15:clr>
        </p15:guide>
        <p15:guide id="18" orient="horz" pos="2878">
          <p15:clr>
            <a:srgbClr val="F26B43"/>
          </p15:clr>
        </p15:guide>
        <p15:guide id="19" orient="horz" pos="3164">
          <p15:clr>
            <a:srgbClr val="F26B43"/>
          </p15:clr>
        </p15:guide>
        <p15:guide id="20" orient="horz" pos="3454">
          <p15:clr>
            <a:srgbClr val="F26B43"/>
          </p15:clr>
        </p15:guide>
        <p15:guide id="21" orient="horz" pos="3740">
          <p15:clr>
            <a:srgbClr val="F26B43"/>
          </p15:clr>
        </p15:guide>
        <p15:guide id="22" pos="6903">
          <p15:clr>
            <a:srgbClr val="F26B43"/>
          </p15:clr>
        </p15:guide>
        <p15:guide id="23" pos="6620">
          <p15:clr>
            <a:srgbClr val="F26B43"/>
          </p15:clr>
        </p15:guide>
        <p15:guide id="24" pos="6327">
          <p15:clr>
            <a:srgbClr val="F26B43"/>
          </p15:clr>
        </p15:guide>
        <p15:guide id="25" pos="6044">
          <p15:clr>
            <a:srgbClr val="F26B43"/>
          </p15:clr>
        </p15:guide>
        <p15:guide id="26" pos="5751">
          <p15:clr>
            <a:srgbClr val="F26B43"/>
          </p15:clr>
        </p15:guide>
        <p15:guide id="27" pos="5468">
          <p15:clr>
            <a:srgbClr val="F26B43"/>
          </p15:clr>
        </p15:guide>
        <p15:guide id="28" pos="576">
          <p15:clr>
            <a:srgbClr val="F26B43"/>
          </p15:clr>
        </p15:guide>
        <p15:guide id="29" pos="864">
          <p15:clr>
            <a:srgbClr val="F26B43"/>
          </p15:clr>
        </p15:guide>
        <p15:guide id="30" pos="1152">
          <p15:clr>
            <a:srgbClr val="F26B43"/>
          </p15:clr>
        </p15:guide>
        <p15:guide id="31" pos="1436">
          <p15:clr>
            <a:srgbClr val="F26B43"/>
          </p15:clr>
        </p15:guide>
        <p15:guide id="32" pos="1728">
          <p15:clr>
            <a:srgbClr val="F26B43"/>
          </p15:clr>
        </p15:guide>
        <p15:guide id="33" pos="2012">
          <p15:clr>
            <a:srgbClr val="F26B43"/>
          </p15:clr>
        </p15:guide>
        <p15:guide id="34" pos="2304">
          <p15:clr>
            <a:srgbClr val="F26B43"/>
          </p15:clr>
        </p15:guide>
        <p15:guide id="35" pos="2880">
          <p15:clr>
            <a:srgbClr val="F26B43"/>
          </p15:clr>
        </p15:guide>
        <p15:guide id="36" pos="3164">
          <p15:clr>
            <a:srgbClr val="F26B43"/>
          </p15:clr>
        </p15:guide>
        <p15:guide id="37" pos="3454">
          <p15:clr>
            <a:srgbClr val="F26B43"/>
          </p15:clr>
        </p15:guide>
        <p15:guide id="38" pos="3740">
          <p15:clr>
            <a:srgbClr val="F26B43"/>
          </p15:clr>
        </p15:guide>
        <p15:guide id="39" pos="4316">
          <p15:clr>
            <a:srgbClr val="F26B43"/>
          </p15:clr>
        </p15:guide>
        <p15:guide id="40" pos="4599">
          <p15:clr>
            <a:srgbClr val="F26B43"/>
          </p15:clr>
        </p15:guide>
        <p15:guide id="41" pos="4892">
          <p15:clr>
            <a:srgbClr val="F26B43"/>
          </p15:clr>
        </p15:guide>
        <p15:guide id="42" pos="719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5F2BAE42-EB5D-F365-F269-23665CEA5B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1467999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347" imgH="346" progId="TCLayout.ActiveDocument.1">
                  <p:embed/>
                </p:oleObj>
              </mc:Choice>
              <mc:Fallback>
                <p:oleObj name="think-cell Slide" r:id="rId34" imgW="347" imgH="34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5F2BAE42-EB5D-F365-F269-23665CEA5B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49EABB9-5766-FE25-E328-FE5B7131BF60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DE3E0C-92A3-427B-ED53-25D02A3C95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3"/>
            <a:ext cx="3200400" cy="36960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8FA5F5-A6F4-83D6-C2D2-CBF04F8F21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6042" y="422313"/>
            <a:ext cx="7296870" cy="55149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12F1DC-96E6-798D-E5E3-433DC019F1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6CEF17-E52C-6D06-E631-5CAE767304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8701" y="6411198"/>
            <a:ext cx="684212" cy="23024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9DCADAA-AE45-1053-A04D-8E58E58654FE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074209A-8DB1-0889-7C45-03E903E9E66B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04662" y="6705600"/>
            <a:ext cx="6111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B-Private</a:t>
            </a:r>
          </a:p>
        </p:txBody>
      </p:sp>
    </p:spTree>
    <p:extLst>
      <p:ext uri="{BB962C8B-B14F-4D97-AF65-F5344CB8AC3E}">
        <p14:creationId xmlns:p14="http://schemas.microsoft.com/office/powerpoint/2010/main" val="3411983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1" r:id="rId1"/>
    <p:sldLayoutId id="2147484122" r:id="rId2"/>
    <p:sldLayoutId id="2147484123" r:id="rId3"/>
    <p:sldLayoutId id="2147484124" r:id="rId4"/>
    <p:sldLayoutId id="2147484125" r:id="rId5"/>
    <p:sldLayoutId id="2147484126" r:id="rId6"/>
    <p:sldLayoutId id="2147484127" r:id="rId7"/>
    <p:sldLayoutId id="2147484128" r:id="rId8"/>
    <p:sldLayoutId id="2147484129" r:id="rId9"/>
    <p:sldLayoutId id="2147484130" r:id="rId10"/>
    <p:sldLayoutId id="2147484131" r:id="rId11"/>
    <p:sldLayoutId id="2147484132" r:id="rId12"/>
    <p:sldLayoutId id="2147484133" r:id="rId13"/>
    <p:sldLayoutId id="2147484134" r:id="rId14"/>
    <p:sldLayoutId id="2147484135" r:id="rId15"/>
    <p:sldLayoutId id="2147484136" r:id="rId16"/>
    <p:sldLayoutId id="2147484137" r:id="rId17"/>
    <p:sldLayoutId id="2147484138" r:id="rId18"/>
    <p:sldLayoutId id="2147484139" r:id="rId19"/>
    <p:sldLayoutId id="2147484140" r:id="rId20"/>
    <p:sldLayoutId id="2147484141" r:id="rId21"/>
    <p:sldLayoutId id="2147484142" r:id="rId22"/>
    <p:sldLayoutId id="2147484143" r:id="rId23"/>
    <p:sldLayoutId id="2147484144" r:id="rId24"/>
    <p:sldLayoutId id="2147484145" r:id="rId25"/>
    <p:sldLayoutId id="2147484146" r:id="rId26"/>
    <p:sldLayoutId id="2147484147" r:id="rId27"/>
    <p:sldLayoutId id="2147484148" r:id="rId28"/>
    <p:sldLayoutId id="2147484149" r:id="rId29"/>
    <p:sldLayoutId id="2147484150" r:id="rId30"/>
    <p:sldLayoutId id="2147484151" r:id="rId3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1" i="0" kern="1200">
          <a:solidFill>
            <a:schemeClr val="tx1"/>
          </a:solidFill>
          <a:latin typeface="SLB Sans" panose="02000503040000020004" pitchFamily="2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2pPr>
      <a:lvl3pPr marL="342900" indent="-3429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→"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3pPr>
      <a:lvl4pPr marL="684000" indent="-3420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−"/>
        <a:tabLst/>
        <a:defRPr sz="18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12">
          <p15:clr>
            <a:srgbClr val="F26B43"/>
          </p15:clr>
        </p15:guide>
        <p15:guide id="2" pos="288">
          <p15:clr>
            <a:srgbClr val="F26B43"/>
          </p15:clr>
        </p15:guide>
        <p15:guide id="3" pos="7479">
          <p15:clr>
            <a:srgbClr val="F26B43"/>
          </p15:clr>
        </p15:guide>
        <p15:guide id="4" pos="4028">
          <p15:clr>
            <a:srgbClr val="F26B43"/>
          </p15:clr>
        </p15:guide>
        <p15:guide id="5" pos="2588">
          <p15:clr>
            <a:srgbClr val="F26B43"/>
          </p15:clr>
        </p15:guide>
        <p15:guide id="6" pos="5180">
          <p15:clr>
            <a:srgbClr val="F26B43"/>
          </p15:clr>
        </p15:guide>
        <p15:guide id="7" orient="horz" pos="288">
          <p15:clr>
            <a:srgbClr val="F26B43"/>
          </p15:clr>
        </p15:guide>
        <p15:guide id="10" orient="horz" pos="4028">
          <p15:clr>
            <a:srgbClr val="F26B43"/>
          </p15:clr>
        </p15:guide>
        <p15:guide id="11" orient="horz" pos="1436">
          <p15:clr>
            <a:srgbClr val="F26B43"/>
          </p15:clr>
        </p15:guide>
        <p15:guide id="12" orient="horz" pos="1152">
          <p15:clr>
            <a:srgbClr val="F26B43"/>
          </p15:clr>
        </p15:guide>
        <p15:guide id="13" orient="horz" pos="867">
          <p15:clr>
            <a:srgbClr val="F26B43"/>
          </p15:clr>
        </p15:guide>
        <p15:guide id="14" orient="horz" pos="576">
          <p15:clr>
            <a:srgbClr val="F26B43"/>
          </p15:clr>
        </p15:guide>
        <p15:guide id="15" orient="horz" pos="1728">
          <p15:clr>
            <a:srgbClr val="F26B43"/>
          </p15:clr>
        </p15:guide>
        <p15:guide id="16" orient="horz" pos="2302">
          <p15:clr>
            <a:srgbClr val="F26B43"/>
          </p15:clr>
        </p15:guide>
        <p15:guide id="17" orient="horz" pos="2588">
          <p15:clr>
            <a:srgbClr val="F26B43"/>
          </p15:clr>
        </p15:guide>
        <p15:guide id="18" orient="horz" pos="2878">
          <p15:clr>
            <a:srgbClr val="F26B43"/>
          </p15:clr>
        </p15:guide>
        <p15:guide id="19" orient="horz" pos="3164">
          <p15:clr>
            <a:srgbClr val="F26B43"/>
          </p15:clr>
        </p15:guide>
        <p15:guide id="20" orient="horz" pos="3454">
          <p15:clr>
            <a:srgbClr val="F26B43"/>
          </p15:clr>
        </p15:guide>
        <p15:guide id="21" orient="horz" pos="3740">
          <p15:clr>
            <a:srgbClr val="F26B43"/>
          </p15:clr>
        </p15:guide>
        <p15:guide id="22" pos="6903">
          <p15:clr>
            <a:srgbClr val="F26B43"/>
          </p15:clr>
        </p15:guide>
        <p15:guide id="23" pos="6620">
          <p15:clr>
            <a:srgbClr val="F26B43"/>
          </p15:clr>
        </p15:guide>
        <p15:guide id="24" pos="6327">
          <p15:clr>
            <a:srgbClr val="F26B43"/>
          </p15:clr>
        </p15:guide>
        <p15:guide id="25" pos="6044">
          <p15:clr>
            <a:srgbClr val="F26B43"/>
          </p15:clr>
        </p15:guide>
        <p15:guide id="26" pos="5751">
          <p15:clr>
            <a:srgbClr val="F26B43"/>
          </p15:clr>
        </p15:guide>
        <p15:guide id="27" pos="5468">
          <p15:clr>
            <a:srgbClr val="F26B43"/>
          </p15:clr>
        </p15:guide>
        <p15:guide id="28" pos="576">
          <p15:clr>
            <a:srgbClr val="F26B43"/>
          </p15:clr>
        </p15:guide>
        <p15:guide id="29" pos="864">
          <p15:clr>
            <a:srgbClr val="F26B43"/>
          </p15:clr>
        </p15:guide>
        <p15:guide id="30" pos="1152">
          <p15:clr>
            <a:srgbClr val="F26B43"/>
          </p15:clr>
        </p15:guide>
        <p15:guide id="31" pos="1436">
          <p15:clr>
            <a:srgbClr val="F26B43"/>
          </p15:clr>
        </p15:guide>
        <p15:guide id="32" pos="1728">
          <p15:clr>
            <a:srgbClr val="F26B43"/>
          </p15:clr>
        </p15:guide>
        <p15:guide id="33" pos="2012">
          <p15:clr>
            <a:srgbClr val="F26B43"/>
          </p15:clr>
        </p15:guide>
        <p15:guide id="34" pos="2304">
          <p15:clr>
            <a:srgbClr val="F26B43"/>
          </p15:clr>
        </p15:guide>
        <p15:guide id="35" pos="2880">
          <p15:clr>
            <a:srgbClr val="F26B43"/>
          </p15:clr>
        </p15:guide>
        <p15:guide id="36" pos="3164">
          <p15:clr>
            <a:srgbClr val="F26B43"/>
          </p15:clr>
        </p15:guide>
        <p15:guide id="37" pos="3454">
          <p15:clr>
            <a:srgbClr val="F26B43"/>
          </p15:clr>
        </p15:guide>
        <p15:guide id="38" pos="3740">
          <p15:clr>
            <a:srgbClr val="F26B43"/>
          </p15:clr>
        </p15:guide>
        <p15:guide id="39" pos="4316">
          <p15:clr>
            <a:srgbClr val="F26B43"/>
          </p15:clr>
        </p15:guide>
        <p15:guide id="40" pos="4599">
          <p15:clr>
            <a:srgbClr val="F26B43"/>
          </p15:clr>
        </p15:guide>
        <p15:guide id="41" pos="4892">
          <p15:clr>
            <a:srgbClr val="F26B43"/>
          </p15:clr>
        </p15:guide>
        <p15:guide id="42" pos="7192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5F2BAE42-EB5D-F365-F269-23665CEA5B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1467999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347" imgH="346" progId="TCLayout.ActiveDocument.1">
                  <p:embed/>
                </p:oleObj>
              </mc:Choice>
              <mc:Fallback>
                <p:oleObj name="think-cell Slide" r:id="rId34" imgW="347" imgH="34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5F2BAE42-EB5D-F365-F269-23665CEA5B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49EABB9-5766-FE25-E328-FE5B7131BF60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DE3E0C-92A3-427B-ED53-25D02A3C95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3"/>
            <a:ext cx="3200400" cy="36960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8FA5F5-A6F4-83D6-C2D2-CBF04F8F21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6042" y="422313"/>
            <a:ext cx="7296870" cy="55149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12F1DC-96E6-798D-E5E3-433DC019F1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6CEF17-E52C-6D06-E631-5CAE767304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8701" y="6411198"/>
            <a:ext cx="684212" cy="23024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9DCADAA-AE45-1053-A04D-8E58E58654FE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074209A-8DB1-0889-7C45-03E903E9E66B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04662" y="6705600"/>
            <a:ext cx="6111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B-Private</a:t>
            </a:r>
          </a:p>
        </p:txBody>
      </p:sp>
    </p:spTree>
    <p:extLst>
      <p:ext uri="{BB962C8B-B14F-4D97-AF65-F5344CB8AC3E}">
        <p14:creationId xmlns:p14="http://schemas.microsoft.com/office/powerpoint/2010/main" val="40865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3" r:id="rId1"/>
    <p:sldLayoutId id="2147484154" r:id="rId2"/>
    <p:sldLayoutId id="2147484155" r:id="rId3"/>
    <p:sldLayoutId id="2147484156" r:id="rId4"/>
    <p:sldLayoutId id="2147484157" r:id="rId5"/>
    <p:sldLayoutId id="2147484158" r:id="rId6"/>
    <p:sldLayoutId id="2147484159" r:id="rId7"/>
    <p:sldLayoutId id="2147484160" r:id="rId8"/>
    <p:sldLayoutId id="2147484161" r:id="rId9"/>
    <p:sldLayoutId id="2147484162" r:id="rId10"/>
    <p:sldLayoutId id="2147484163" r:id="rId11"/>
    <p:sldLayoutId id="2147484164" r:id="rId12"/>
    <p:sldLayoutId id="2147484165" r:id="rId13"/>
    <p:sldLayoutId id="2147484166" r:id="rId14"/>
    <p:sldLayoutId id="2147484167" r:id="rId15"/>
    <p:sldLayoutId id="2147484168" r:id="rId16"/>
    <p:sldLayoutId id="2147484169" r:id="rId17"/>
    <p:sldLayoutId id="2147484170" r:id="rId18"/>
    <p:sldLayoutId id="2147484171" r:id="rId19"/>
    <p:sldLayoutId id="2147484172" r:id="rId20"/>
    <p:sldLayoutId id="2147484173" r:id="rId21"/>
    <p:sldLayoutId id="2147484174" r:id="rId22"/>
    <p:sldLayoutId id="2147484175" r:id="rId23"/>
    <p:sldLayoutId id="2147484176" r:id="rId24"/>
    <p:sldLayoutId id="2147484177" r:id="rId25"/>
    <p:sldLayoutId id="2147484178" r:id="rId26"/>
    <p:sldLayoutId id="2147484179" r:id="rId27"/>
    <p:sldLayoutId id="2147484180" r:id="rId28"/>
    <p:sldLayoutId id="2147484181" r:id="rId29"/>
    <p:sldLayoutId id="2147484182" r:id="rId30"/>
    <p:sldLayoutId id="2147484183" r:id="rId3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1" i="0" kern="1200">
          <a:solidFill>
            <a:schemeClr val="tx1"/>
          </a:solidFill>
          <a:latin typeface="SLB Sans" panose="02000503040000020004" pitchFamily="2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2pPr>
      <a:lvl3pPr marL="342900" indent="-3429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→"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3pPr>
      <a:lvl4pPr marL="684000" indent="-3420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−"/>
        <a:tabLst/>
        <a:defRPr sz="18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12">
          <p15:clr>
            <a:srgbClr val="F26B43"/>
          </p15:clr>
        </p15:guide>
        <p15:guide id="2" pos="288">
          <p15:clr>
            <a:srgbClr val="F26B43"/>
          </p15:clr>
        </p15:guide>
        <p15:guide id="3" pos="7479">
          <p15:clr>
            <a:srgbClr val="F26B43"/>
          </p15:clr>
        </p15:guide>
        <p15:guide id="4" pos="4028">
          <p15:clr>
            <a:srgbClr val="F26B43"/>
          </p15:clr>
        </p15:guide>
        <p15:guide id="5" pos="2588">
          <p15:clr>
            <a:srgbClr val="F26B43"/>
          </p15:clr>
        </p15:guide>
        <p15:guide id="6" pos="5180">
          <p15:clr>
            <a:srgbClr val="F26B43"/>
          </p15:clr>
        </p15:guide>
        <p15:guide id="7" orient="horz" pos="288">
          <p15:clr>
            <a:srgbClr val="F26B43"/>
          </p15:clr>
        </p15:guide>
        <p15:guide id="10" orient="horz" pos="4028">
          <p15:clr>
            <a:srgbClr val="F26B43"/>
          </p15:clr>
        </p15:guide>
        <p15:guide id="11" orient="horz" pos="1436">
          <p15:clr>
            <a:srgbClr val="F26B43"/>
          </p15:clr>
        </p15:guide>
        <p15:guide id="12" orient="horz" pos="1152">
          <p15:clr>
            <a:srgbClr val="F26B43"/>
          </p15:clr>
        </p15:guide>
        <p15:guide id="13" orient="horz" pos="867">
          <p15:clr>
            <a:srgbClr val="F26B43"/>
          </p15:clr>
        </p15:guide>
        <p15:guide id="14" orient="horz" pos="576">
          <p15:clr>
            <a:srgbClr val="F26B43"/>
          </p15:clr>
        </p15:guide>
        <p15:guide id="15" orient="horz" pos="1728">
          <p15:clr>
            <a:srgbClr val="F26B43"/>
          </p15:clr>
        </p15:guide>
        <p15:guide id="16" orient="horz" pos="2302">
          <p15:clr>
            <a:srgbClr val="F26B43"/>
          </p15:clr>
        </p15:guide>
        <p15:guide id="17" orient="horz" pos="2588">
          <p15:clr>
            <a:srgbClr val="F26B43"/>
          </p15:clr>
        </p15:guide>
        <p15:guide id="18" orient="horz" pos="2878">
          <p15:clr>
            <a:srgbClr val="F26B43"/>
          </p15:clr>
        </p15:guide>
        <p15:guide id="19" orient="horz" pos="3164">
          <p15:clr>
            <a:srgbClr val="F26B43"/>
          </p15:clr>
        </p15:guide>
        <p15:guide id="20" orient="horz" pos="3454">
          <p15:clr>
            <a:srgbClr val="F26B43"/>
          </p15:clr>
        </p15:guide>
        <p15:guide id="21" orient="horz" pos="3740">
          <p15:clr>
            <a:srgbClr val="F26B43"/>
          </p15:clr>
        </p15:guide>
        <p15:guide id="22" pos="6903">
          <p15:clr>
            <a:srgbClr val="F26B43"/>
          </p15:clr>
        </p15:guide>
        <p15:guide id="23" pos="6620">
          <p15:clr>
            <a:srgbClr val="F26B43"/>
          </p15:clr>
        </p15:guide>
        <p15:guide id="24" pos="6327">
          <p15:clr>
            <a:srgbClr val="F26B43"/>
          </p15:clr>
        </p15:guide>
        <p15:guide id="25" pos="6044">
          <p15:clr>
            <a:srgbClr val="F26B43"/>
          </p15:clr>
        </p15:guide>
        <p15:guide id="26" pos="5751">
          <p15:clr>
            <a:srgbClr val="F26B43"/>
          </p15:clr>
        </p15:guide>
        <p15:guide id="27" pos="5468">
          <p15:clr>
            <a:srgbClr val="F26B43"/>
          </p15:clr>
        </p15:guide>
        <p15:guide id="28" pos="576">
          <p15:clr>
            <a:srgbClr val="F26B43"/>
          </p15:clr>
        </p15:guide>
        <p15:guide id="29" pos="864">
          <p15:clr>
            <a:srgbClr val="F26B43"/>
          </p15:clr>
        </p15:guide>
        <p15:guide id="30" pos="1152">
          <p15:clr>
            <a:srgbClr val="F26B43"/>
          </p15:clr>
        </p15:guide>
        <p15:guide id="31" pos="1436">
          <p15:clr>
            <a:srgbClr val="F26B43"/>
          </p15:clr>
        </p15:guide>
        <p15:guide id="32" pos="1728">
          <p15:clr>
            <a:srgbClr val="F26B43"/>
          </p15:clr>
        </p15:guide>
        <p15:guide id="33" pos="2012">
          <p15:clr>
            <a:srgbClr val="F26B43"/>
          </p15:clr>
        </p15:guide>
        <p15:guide id="34" pos="2304">
          <p15:clr>
            <a:srgbClr val="F26B43"/>
          </p15:clr>
        </p15:guide>
        <p15:guide id="35" pos="2880">
          <p15:clr>
            <a:srgbClr val="F26B43"/>
          </p15:clr>
        </p15:guide>
        <p15:guide id="36" pos="3164">
          <p15:clr>
            <a:srgbClr val="F26B43"/>
          </p15:clr>
        </p15:guide>
        <p15:guide id="37" pos="3454">
          <p15:clr>
            <a:srgbClr val="F26B43"/>
          </p15:clr>
        </p15:guide>
        <p15:guide id="38" pos="3740">
          <p15:clr>
            <a:srgbClr val="F26B43"/>
          </p15:clr>
        </p15:guide>
        <p15:guide id="39" pos="4316">
          <p15:clr>
            <a:srgbClr val="F26B43"/>
          </p15:clr>
        </p15:guide>
        <p15:guide id="40" pos="4599">
          <p15:clr>
            <a:srgbClr val="F26B43"/>
          </p15:clr>
        </p15:guide>
        <p15:guide id="41" pos="4892">
          <p15:clr>
            <a:srgbClr val="F26B43"/>
          </p15:clr>
        </p15:guide>
        <p15:guide id="42" pos="7192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5F2BAE42-EB5D-F365-F269-23665CEA5B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1467999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347" imgH="346" progId="TCLayout.ActiveDocument.1">
                  <p:embed/>
                </p:oleObj>
              </mc:Choice>
              <mc:Fallback>
                <p:oleObj name="think-cell Slide" r:id="rId34" imgW="347" imgH="34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5F2BAE42-EB5D-F365-F269-23665CEA5B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49EABB9-5766-FE25-E328-FE5B7131BF60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DE3E0C-92A3-427B-ED53-25D02A3C95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3"/>
            <a:ext cx="3200400" cy="36960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8FA5F5-A6F4-83D6-C2D2-CBF04F8F21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6042" y="422313"/>
            <a:ext cx="7296870" cy="55149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12F1DC-96E6-798D-E5E3-433DC019F1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6CEF17-E52C-6D06-E631-5CAE767304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8701" y="6411198"/>
            <a:ext cx="684212" cy="23024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9DCADAA-AE45-1053-A04D-8E58E58654FE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074209A-8DB1-0889-7C45-03E903E9E66B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04662" y="6705600"/>
            <a:ext cx="6111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B-Private</a:t>
            </a:r>
          </a:p>
        </p:txBody>
      </p:sp>
    </p:spTree>
    <p:extLst>
      <p:ext uri="{BB962C8B-B14F-4D97-AF65-F5344CB8AC3E}">
        <p14:creationId xmlns:p14="http://schemas.microsoft.com/office/powerpoint/2010/main" val="2949908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5" r:id="rId1"/>
    <p:sldLayoutId id="2147484186" r:id="rId2"/>
    <p:sldLayoutId id="2147484187" r:id="rId3"/>
    <p:sldLayoutId id="2147484188" r:id="rId4"/>
    <p:sldLayoutId id="2147484189" r:id="rId5"/>
    <p:sldLayoutId id="2147484190" r:id="rId6"/>
    <p:sldLayoutId id="2147484191" r:id="rId7"/>
    <p:sldLayoutId id="2147484192" r:id="rId8"/>
    <p:sldLayoutId id="2147484193" r:id="rId9"/>
    <p:sldLayoutId id="2147484194" r:id="rId10"/>
    <p:sldLayoutId id="2147484195" r:id="rId11"/>
    <p:sldLayoutId id="2147484196" r:id="rId12"/>
    <p:sldLayoutId id="2147484197" r:id="rId13"/>
    <p:sldLayoutId id="2147484198" r:id="rId14"/>
    <p:sldLayoutId id="2147484199" r:id="rId15"/>
    <p:sldLayoutId id="2147484200" r:id="rId16"/>
    <p:sldLayoutId id="2147484201" r:id="rId17"/>
    <p:sldLayoutId id="2147484202" r:id="rId18"/>
    <p:sldLayoutId id="2147484203" r:id="rId19"/>
    <p:sldLayoutId id="2147484204" r:id="rId20"/>
    <p:sldLayoutId id="2147484205" r:id="rId21"/>
    <p:sldLayoutId id="2147484206" r:id="rId22"/>
    <p:sldLayoutId id="2147484207" r:id="rId23"/>
    <p:sldLayoutId id="2147484208" r:id="rId24"/>
    <p:sldLayoutId id="2147484209" r:id="rId25"/>
    <p:sldLayoutId id="2147484210" r:id="rId26"/>
    <p:sldLayoutId id="2147484211" r:id="rId27"/>
    <p:sldLayoutId id="2147484212" r:id="rId28"/>
    <p:sldLayoutId id="2147484213" r:id="rId29"/>
    <p:sldLayoutId id="2147484214" r:id="rId30"/>
    <p:sldLayoutId id="2147484215" r:id="rId3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1" i="0" kern="1200">
          <a:solidFill>
            <a:schemeClr val="tx1"/>
          </a:solidFill>
          <a:latin typeface="SLB Sans" panose="02000503040000020004" pitchFamily="2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2pPr>
      <a:lvl3pPr marL="342900" indent="-3429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→"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3pPr>
      <a:lvl4pPr marL="684000" indent="-3420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−"/>
        <a:tabLst/>
        <a:defRPr sz="18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12">
          <p15:clr>
            <a:srgbClr val="F26B43"/>
          </p15:clr>
        </p15:guide>
        <p15:guide id="2" pos="288">
          <p15:clr>
            <a:srgbClr val="F26B43"/>
          </p15:clr>
        </p15:guide>
        <p15:guide id="3" pos="7479">
          <p15:clr>
            <a:srgbClr val="F26B43"/>
          </p15:clr>
        </p15:guide>
        <p15:guide id="4" pos="4028">
          <p15:clr>
            <a:srgbClr val="F26B43"/>
          </p15:clr>
        </p15:guide>
        <p15:guide id="5" pos="2588">
          <p15:clr>
            <a:srgbClr val="F26B43"/>
          </p15:clr>
        </p15:guide>
        <p15:guide id="6" pos="5180">
          <p15:clr>
            <a:srgbClr val="F26B43"/>
          </p15:clr>
        </p15:guide>
        <p15:guide id="7" orient="horz" pos="288">
          <p15:clr>
            <a:srgbClr val="F26B43"/>
          </p15:clr>
        </p15:guide>
        <p15:guide id="10" orient="horz" pos="4028">
          <p15:clr>
            <a:srgbClr val="F26B43"/>
          </p15:clr>
        </p15:guide>
        <p15:guide id="11" orient="horz" pos="1436">
          <p15:clr>
            <a:srgbClr val="F26B43"/>
          </p15:clr>
        </p15:guide>
        <p15:guide id="12" orient="horz" pos="1152">
          <p15:clr>
            <a:srgbClr val="F26B43"/>
          </p15:clr>
        </p15:guide>
        <p15:guide id="13" orient="horz" pos="867">
          <p15:clr>
            <a:srgbClr val="F26B43"/>
          </p15:clr>
        </p15:guide>
        <p15:guide id="14" orient="horz" pos="576">
          <p15:clr>
            <a:srgbClr val="F26B43"/>
          </p15:clr>
        </p15:guide>
        <p15:guide id="15" orient="horz" pos="1728">
          <p15:clr>
            <a:srgbClr val="F26B43"/>
          </p15:clr>
        </p15:guide>
        <p15:guide id="16" orient="horz" pos="2302">
          <p15:clr>
            <a:srgbClr val="F26B43"/>
          </p15:clr>
        </p15:guide>
        <p15:guide id="17" orient="horz" pos="2588">
          <p15:clr>
            <a:srgbClr val="F26B43"/>
          </p15:clr>
        </p15:guide>
        <p15:guide id="18" orient="horz" pos="2878">
          <p15:clr>
            <a:srgbClr val="F26B43"/>
          </p15:clr>
        </p15:guide>
        <p15:guide id="19" orient="horz" pos="3164">
          <p15:clr>
            <a:srgbClr val="F26B43"/>
          </p15:clr>
        </p15:guide>
        <p15:guide id="20" orient="horz" pos="3454">
          <p15:clr>
            <a:srgbClr val="F26B43"/>
          </p15:clr>
        </p15:guide>
        <p15:guide id="21" orient="horz" pos="3740">
          <p15:clr>
            <a:srgbClr val="F26B43"/>
          </p15:clr>
        </p15:guide>
        <p15:guide id="22" pos="6903">
          <p15:clr>
            <a:srgbClr val="F26B43"/>
          </p15:clr>
        </p15:guide>
        <p15:guide id="23" pos="6620">
          <p15:clr>
            <a:srgbClr val="F26B43"/>
          </p15:clr>
        </p15:guide>
        <p15:guide id="24" pos="6327">
          <p15:clr>
            <a:srgbClr val="F26B43"/>
          </p15:clr>
        </p15:guide>
        <p15:guide id="25" pos="6044">
          <p15:clr>
            <a:srgbClr val="F26B43"/>
          </p15:clr>
        </p15:guide>
        <p15:guide id="26" pos="5751">
          <p15:clr>
            <a:srgbClr val="F26B43"/>
          </p15:clr>
        </p15:guide>
        <p15:guide id="27" pos="5468">
          <p15:clr>
            <a:srgbClr val="F26B43"/>
          </p15:clr>
        </p15:guide>
        <p15:guide id="28" pos="576">
          <p15:clr>
            <a:srgbClr val="F26B43"/>
          </p15:clr>
        </p15:guide>
        <p15:guide id="29" pos="864">
          <p15:clr>
            <a:srgbClr val="F26B43"/>
          </p15:clr>
        </p15:guide>
        <p15:guide id="30" pos="1152">
          <p15:clr>
            <a:srgbClr val="F26B43"/>
          </p15:clr>
        </p15:guide>
        <p15:guide id="31" pos="1436">
          <p15:clr>
            <a:srgbClr val="F26B43"/>
          </p15:clr>
        </p15:guide>
        <p15:guide id="32" pos="1728">
          <p15:clr>
            <a:srgbClr val="F26B43"/>
          </p15:clr>
        </p15:guide>
        <p15:guide id="33" pos="2012">
          <p15:clr>
            <a:srgbClr val="F26B43"/>
          </p15:clr>
        </p15:guide>
        <p15:guide id="34" pos="2304">
          <p15:clr>
            <a:srgbClr val="F26B43"/>
          </p15:clr>
        </p15:guide>
        <p15:guide id="35" pos="2880">
          <p15:clr>
            <a:srgbClr val="F26B43"/>
          </p15:clr>
        </p15:guide>
        <p15:guide id="36" pos="3164">
          <p15:clr>
            <a:srgbClr val="F26B43"/>
          </p15:clr>
        </p15:guide>
        <p15:guide id="37" pos="3454">
          <p15:clr>
            <a:srgbClr val="F26B43"/>
          </p15:clr>
        </p15:guide>
        <p15:guide id="38" pos="3740">
          <p15:clr>
            <a:srgbClr val="F26B43"/>
          </p15:clr>
        </p15:guide>
        <p15:guide id="39" pos="4316">
          <p15:clr>
            <a:srgbClr val="F26B43"/>
          </p15:clr>
        </p15:guide>
        <p15:guide id="40" pos="4599">
          <p15:clr>
            <a:srgbClr val="F26B43"/>
          </p15:clr>
        </p15:guide>
        <p15:guide id="41" pos="4892">
          <p15:clr>
            <a:srgbClr val="F26B43"/>
          </p15:clr>
        </p15:guide>
        <p15:guide id="42" pos="7192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149A1D0-8C37-4EAD-9A7F-79DCDAF3ED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533611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306" imgH="306" progId="TCLayout.ActiveDocument.1">
                  <p:embed/>
                </p:oleObj>
              </mc:Choice>
              <mc:Fallback>
                <p:oleObj name="think-cell Slide" r:id="rId33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149A1D0-8C37-4EAD-9A7F-79DCDAF3ED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49EABB9-5766-FE25-E328-FE5B7131BF60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DE3E0C-92A3-427B-ED53-25D02A3C95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3"/>
            <a:ext cx="3200400" cy="36960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8FA5F5-A6F4-83D6-C2D2-CBF04F8F21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6042" y="422313"/>
            <a:ext cx="7296870" cy="55149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12F1DC-96E6-798D-E5E3-433DC019F1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GB"/>
              <a:t>In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6CEF17-E52C-6D06-E631-5CAE767304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8701" y="6411198"/>
            <a:ext cx="684212" cy="23024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2737C662-D0ED-4587-B264-5C4F0D975D18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9DCADAA-AE45-1053-A04D-8E58E58654FE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5165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7" r:id="rId1"/>
    <p:sldLayoutId id="2147484218" r:id="rId2"/>
    <p:sldLayoutId id="2147484219" r:id="rId3"/>
    <p:sldLayoutId id="2147484220" r:id="rId4"/>
    <p:sldLayoutId id="2147484221" r:id="rId5"/>
    <p:sldLayoutId id="2147484222" r:id="rId6"/>
    <p:sldLayoutId id="2147484223" r:id="rId7"/>
    <p:sldLayoutId id="2147484224" r:id="rId8"/>
    <p:sldLayoutId id="2147484225" r:id="rId9"/>
    <p:sldLayoutId id="2147484226" r:id="rId10"/>
    <p:sldLayoutId id="2147484227" r:id="rId11"/>
    <p:sldLayoutId id="2147484228" r:id="rId12"/>
    <p:sldLayoutId id="2147484229" r:id="rId13"/>
    <p:sldLayoutId id="2147484230" r:id="rId14"/>
    <p:sldLayoutId id="2147484231" r:id="rId15"/>
    <p:sldLayoutId id="2147484232" r:id="rId16"/>
    <p:sldLayoutId id="2147484233" r:id="rId17"/>
    <p:sldLayoutId id="2147484234" r:id="rId18"/>
    <p:sldLayoutId id="2147484235" r:id="rId19"/>
    <p:sldLayoutId id="2147484236" r:id="rId20"/>
    <p:sldLayoutId id="2147484237" r:id="rId21"/>
    <p:sldLayoutId id="2147484238" r:id="rId22"/>
    <p:sldLayoutId id="2147484239" r:id="rId23"/>
    <p:sldLayoutId id="2147484240" r:id="rId24"/>
    <p:sldLayoutId id="2147484241" r:id="rId25"/>
    <p:sldLayoutId id="2147484242" r:id="rId26"/>
    <p:sldLayoutId id="2147484243" r:id="rId27"/>
    <p:sldLayoutId id="2147484244" r:id="rId28"/>
    <p:sldLayoutId id="2147484245" r:id="rId29"/>
    <p:sldLayoutId id="2147484246" r:id="rId3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1" i="0" kern="1200">
          <a:solidFill>
            <a:schemeClr val="tx1"/>
          </a:solidFill>
          <a:latin typeface="SLB Sans" panose="02000503040000020004" pitchFamily="2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2pPr>
      <a:lvl3pPr marL="342900" indent="-3429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→"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3pPr>
      <a:lvl4pPr marL="684000" indent="-3420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−"/>
        <a:tabLst/>
        <a:defRPr sz="18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12">
          <p15:clr>
            <a:srgbClr val="F26B43"/>
          </p15:clr>
        </p15:guide>
        <p15:guide id="2" pos="288">
          <p15:clr>
            <a:srgbClr val="F26B43"/>
          </p15:clr>
        </p15:guide>
        <p15:guide id="3" pos="7479">
          <p15:clr>
            <a:srgbClr val="F26B43"/>
          </p15:clr>
        </p15:guide>
        <p15:guide id="4" pos="4028">
          <p15:clr>
            <a:srgbClr val="F26B43"/>
          </p15:clr>
        </p15:guide>
        <p15:guide id="5" pos="2588">
          <p15:clr>
            <a:srgbClr val="F26B43"/>
          </p15:clr>
        </p15:guide>
        <p15:guide id="6" pos="5180">
          <p15:clr>
            <a:srgbClr val="F26B43"/>
          </p15:clr>
        </p15:guide>
        <p15:guide id="7" orient="horz" pos="288">
          <p15:clr>
            <a:srgbClr val="F26B43"/>
          </p15:clr>
        </p15:guide>
        <p15:guide id="10" orient="horz" pos="4028">
          <p15:clr>
            <a:srgbClr val="F26B43"/>
          </p15:clr>
        </p15:guide>
        <p15:guide id="11" orient="horz" pos="1436">
          <p15:clr>
            <a:srgbClr val="F26B43"/>
          </p15:clr>
        </p15:guide>
        <p15:guide id="12" orient="horz" pos="1152">
          <p15:clr>
            <a:srgbClr val="F26B43"/>
          </p15:clr>
        </p15:guide>
        <p15:guide id="13" orient="horz" pos="867">
          <p15:clr>
            <a:srgbClr val="F26B43"/>
          </p15:clr>
        </p15:guide>
        <p15:guide id="14" orient="horz" pos="576">
          <p15:clr>
            <a:srgbClr val="F26B43"/>
          </p15:clr>
        </p15:guide>
        <p15:guide id="15" orient="horz" pos="1728">
          <p15:clr>
            <a:srgbClr val="F26B43"/>
          </p15:clr>
        </p15:guide>
        <p15:guide id="16" orient="horz" pos="2302">
          <p15:clr>
            <a:srgbClr val="F26B43"/>
          </p15:clr>
        </p15:guide>
        <p15:guide id="17" orient="horz" pos="2588">
          <p15:clr>
            <a:srgbClr val="F26B43"/>
          </p15:clr>
        </p15:guide>
        <p15:guide id="18" orient="horz" pos="2878">
          <p15:clr>
            <a:srgbClr val="F26B43"/>
          </p15:clr>
        </p15:guide>
        <p15:guide id="19" orient="horz" pos="3164">
          <p15:clr>
            <a:srgbClr val="F26B43"/>
          </p15:clr>
        </p15:guide>
        <p15:guide id="20" orient="horz" pos="3454">
          <p15:clr>
            <a:srgbClr val="F26B43"/>
          </p15:clr>
        </p15:guide>
        <p15:guide id="21" orient="horz" pos="3740">
          <p15:clr>
            <a:srgbClr val="F26B43"/>
          </p15:clr>
        </p15:guide>
        <p15:guide id="22" pos="6903">
          <p15:clr>
            <a:srgbClr val="F26B43"/>
          </p15:clr>
        </p15:guide>
        <p15:guide id="23" pos="6620">
          <p15:clr>
            <a:srgbClr val="F26B43"/>
          </p15:clr>
        </p15:guide>
        <p15:guide id="24" pos="6327">
          <p15:clr>
            <a:srgbClr val="F26B43"/>
          </p15:clr>
        </p15:guide>
        <p15:guide id="25" pos="6044">
          <p15:clr>
            <a:srgbClr val="F26B43"/>
          </p15:clr>
        </p15:guide>
        <p15:guide id="26" pos="5751">
          <p15:clr>
            <a:srgbClr val="F26B43"/>
          </p15:clr>
        </p15:guide>
        <p15:guide id="27" pos="5468">
          <p15:clr>
            <a:srgbClr val="F26B43"/>
          </p15:clr>
        </p15:guide>
        <p15:guide id="28" pos="576">
          <p15:clr>
            <a:srgbClr val="F26B43"/>
          </p15:clr>
        </p15:guide>
        <p15:guide id="29" pos="864">
          <p15:clr>
            <a:srgbClr val="F26B43"/>
          </p15:clr>
        </p15:guide>
        <p15:guide id="30" pos="1152">
          <p15:clr>
            <a:srgbClr val="F26B43"/>
          </p15:clr>
        </p15:guide>
        <p15:guide id="31" pos="1436">
          <p15:clr>
            <a:srgbClr val="F26B43"/>
          </p15:clr>
        </p15:guide>
        <p15:guide id="32" pos="1728">
          <p15:clr>
            <a:srgbClr val="F26B43"/>
          </p15:clr>
        </p15:guide>
        <p15:guide id="33" pos="2012">
          <p15:clr>
            <a:srgbClr val="F26B43"/>
          </p15:clr>
        </p15:guide>
        <p15:guide id="34" pos="2304">
          <p15:clr>
            <a:srgbClr val="F26B43"/>
          </p15:clr>
        </p15:guide>
        <p15:guide id="35" pos="2880">
          <p15:clr>
            <a:srgbClr val="F26B43"/>
          </p15:clr>
        </p15:guide>
        <p15:guide id="36" pos="3164">
          <p15:clr>
            <a:srgbClr val="F26B43"/>
          </p15:clr>
        </p15:guide>
        <p15:guide id="37" pos="3454">
          <p15:clr>
            <a:srgbClr val="F26B43"/>
          </p15:clr>
        </p15:guide>
        <p15:guide id="38" pos="3740">
          <p15:clr>
            <a:srgbClr val="F26B43"/>
          </p15:clr>
        </p15:guide>
        <p15:guide id="39" pos="4316">
          <p15:clr>
            <a:srgbClr val="F26B43"/>
          </p15:clr>
        </p15:guide>
        <p15:guide id="40" pos="4599">
          <p15:clr>
            <a:srgbClr val="F26B43"/>
          </p15:clr>
        </p15:guide>
        <p15:guide id="41" pos="4892">
          <p15:clr>
            <a:srgbClr val="F26B43"/>
          </p15:clr>
        </p15:guide>
        <p15:guide id="42" pos="7192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F866DA7-810E-41F4-B306-CDE8A410C6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431760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471" imgH="470" progId="TCLayout.ActiveDocument.1">
                  <p:embed/>
                </p:oleObj>
              </mc:Choice>
              <mc:Fallback>
                <p:oleObj name="think-cell Slide" r:id="rId33" imgW="471" imgH="47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6F866DA7-810E-41F4-B306-CDE8A410C6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49EABB9-5766-FE25-E328-FE5B7131BF60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DE3E0C-92A3-427B-ED53-25D02A3C95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3"/>
            <a:ext cx="3200400" cy="36960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8FA5F5-A6F4-83D6-C2D2-CBF04F8F21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6042" y="422313"/>
            <a:ext cx="7296870" cy="55149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12F1DC-96E6-798D-E5E3-433DC019F1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6CEF17-E52C-6D06-E631-5CAE767304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8701" y="6411198"/>
            <a:ext cx="684212" cy="23024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2737C662-D0ED-4587-B264-5C4F0D975D18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9DCADAA-AE45-1053-A04D-8E58E58654FE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5E29A85-2E2D-4879-B4D2-035C8590CC0C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04662" y="6705600"/>
            <a:ext cx="6111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B-Private</a:t>
            </a:r>
          </a:p>
        </p:txBody>
      </p:sp>
    </p:spTree>
    <p:extLst>
      <p:ext uri="{BB962C8B-B14F-4D97-AF65-F5344CB8AC3E}">
        <p14:creationId xmlns:p14="http://schemas.microsoft.com/office/powerpoint/2010/main" val="4020008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8" r:id="rId1"/>
    <p:sldLayoutId id="2147484249" r:id="rId2"/>
    <p:sldLayoutId id="2147484250" r:id="rId3"/>
    <p:sldLayoutId id="2147484251" r:id="rId4"/>
    <p:sldLayoutId id="2147484252" r:id="rId5"/>
    <p:sldLayoutId id="2147484253" r:id="rId6"/>
    <p:sldLayoutId id="2147484254" r:id="rId7"/>
    <p:sldLayoutId id="2147484255" r:id="rId8"/>
    <p:sldLayoutId id="2147484256" r:id="rId9"/>
    <p:sldLayoutId id="2147484257" r:id="rId10"/>
    <p:sldLayoutId id="2147484258" r:id="rId11"/>
    <p:sldLayoutId id="2147484259" r:id="rId12"/>
    <p:sldLayoutId id="2147484260" r:id="rId13"/>
    <p:sldLayoutId id="2147484261" r:id="rId14"/>
    <p:sldLayoutId id="2147484262" r:id="rId15"/>
    <p:sldLayoutId id="2147484263" r:id="rId16"/>
    <p:sldLayoutId id="2147484264" r:id="rId17"/>
    <p:sldLayoutId id="2147484265" r:id="rId18"/>
    <p:sldLayoutId id="2147484266" r:id="rId19"/>
    <p:sldLayoutId id="2147484267" r:id="rId20"/>
    <p:sldLayoutId id="2147484268" r:id="rId21"/>
    <p:sldLayoutId id="2147484269" r:id="rId22"/>
    <p:sldLayoutId id="2147484270" r:id="rId23"/>
    <p:sldLayoutId id="2147484271" r:id="rId24"/>
    <p:sldLayoutId id="2147484272" r:id="rId25"/>
    <p:sldLayoutId id="2147484273" r:id="rId26"/>
    <p:sldLayoutId id="2147484274" r:id="rId27"/>
    <p:sldLayoutId id="2147484275" r:id="rId28"/>
    <p:sldLayoutId id="2147484276" r:id="rId29"/>
    <p:sldLayoutId id="2147484277" r:id="rId3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1" i="0" kern="1200">
          <a:solidFill>
            <a:schemeClr val="tx1"/>
          </a:solidFill>
          <a:latin typeface="SLB Sans" panose="02000503040000020004" pitchFamily="2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2pPr>
      <a:lvl3pPr marL="342900" indent="-3429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→"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3pPr>
      <a:lvl4pPr marL="684000" indent="-3420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−"/>
        <a:tabLst/>
        <a:defRPr sz="18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12">
          <p15:clr>
            <a:srgbClr val="F26B43"/>
          </p15:clr>
        </p15:guide>
        <p15:guide id="2" pos="288">
          <p15:clr>
            <a:srgbClr val="F26B43"/>
          </p15:clr>
        </p15:guide>
        <p15:guide id="3" pos="7479">
          <p15:clr>
            <a:srgbClr val="F26B43"/>
          </p15:clr>
        </p15:guide>
        <p15:guide id="4" pos="4028">
          <p15:clr>
            <a:srgbClr val="F26B43"/>
          </p15:clr>
        </p15:guide>
        <p15:guide id="5" pos="2588">
          <p15:clr>
            <a:srgbClr val="F26B43"/>
          </p15:clr>
        </p15:guide>
        <p15:guide id="6" pos="5180">
          <p15:clr>
            <a:srgbClr val="F26B43"/>
          </p15:clr>
        </p15:guide>
        <p15:guide id="7" orient="horz" pos="288">
          <p15:clr>
            <a:srgbClr val="F26B43"/>
          </p15:clr>
        </p15:guide>
        <p15:guide id="10" orient="horz" pos="4028">
          <p15:clr>
            <a:srgbClr val="F26B43"/>
          </p15:clr>
        </p15:guide>
        <p15:guide id="11" orient="horz" pos="1436">
          <p15:clr>
            <a:srgbClr val="F26B43"/>
          </p15:clr>
        </p15:guide>
        <p15:guide id="12" orient="horz" pos="1152">
          <p15:clr>
            <a:srgbClr val="F26B43"/>
          </p15:clr>
        </p15:guide>
        <p15:guide id="13" orient="horz" pos="867">
          <p15:clr>
            <a:srgbClr val="F26B43"/>
          </p15:clr>
        </p15:guide>
        <p15:guide id="14" orient="horz" pos="576">
          <p15:clr>
            <a:srgbClr val="F26B43"/>
          </p15:clr>
        </p15:guide>
        <p15:guide id="15" orient="horz" pos="1728">
          <p15:clr>
            <a:srgbClr val="F26B43"/>
          </p15:clr>
        </p15:guide>
        <p15:guide id="16" orient="horz" pos="2302">
          <p15:clr>
            <a:srgbClr val="F26B43"/>
          </p15:clr>
        </p15:guide>
        <p15:guide id="17" orient="horz" pos="2588">
          <p15:clr>
            <a:srgbClr val="F26B43"/>
          </p15:clr>
        </p15:guide>
        <p15:guide id="18" orient="horz" pos="2878">
          <p15:clr>
            <a:srgbClr val="F26B43"/>
          </p15:clr>
        </p15:guide>
        <p15:guide id="19" orient="horz" pos="3164">
          <p15:clr>
            <a:srgbClr val="F26B43"/>
          </p15:clr>
        </p15:guide>
        <p15:guide id="20" orient="horz" pos="3454">
          <p15:clr>
            <a:srgbClr val="F26B43"/>
          </p15:clr>
        </p15:guide>
        <p15:guide id="21" orient="horz" pos="3740">
          <p15:clr>
            <a:srgbClr val="F26B43"/>
          </p15:clr>
        </p15:guide>
        <p15:guide id="22" pos="6903">
          <p15:clr>
            <a:srgbClr val="F26B43"/>
          </p15:clr>
        </p15:guide>
        <p15:guide id="23" pos="6620">
          <p15:clr>
            <a:srgbClr val="F26B43"/>
          </p15:clr>
        </p15:guide>
        <p15:guide id="24" pos="6327">
          <p15:clr>
            <a:srgbClr val="F26B43"/>
          </p15:clr>
        </p15:guide>
        <p15:guide id="25" pos="6044">
          <p15:clr>
            <a:srgbClr val="F26B43"/>
          </p15:clr>
        </p15:guide>
        <p15:guide id="26" pos="5751">
          <p15:clr>
            <a:srgbClr val="F26B43"/>
          </p15:clr>
        </p15:guide>
        <p15:guide id="27" pos="5468">
          <p15:clr>
            <a:srgbClr val="F26B43"/>
          </p15:clr>
        </p15:guide>
        <p15:guide id="28" pos="576">
          <p15:clr>
            <a:srgbClr val="F26B43"/>
          </p15:clr>
        </p15:guide>
        <p15:guide id="29" pos="864">
          <p15:clr>
            <a:srgbClr val="F26B43"/>
          </p15:clr>
        </p15:guide>
        <p15:guide id="30" pos="1152">
          <p15:clr>
            <a:srgbClr val="F26B43"/>
          </p15:clr>
        </p15:guide>
        <p15:guide id="31" pos="1436">
          <p15:clr>
            <a:srgbClr val="F26B43"/>
          </p15:clr>
        </p15:guide>
        <p15:guide id="32" pos="1728">
          <p15:clr>
            <a:srgbClr val="F26B43"/>
          </p15:clr>
        </p15:guide>
        <p15:guide id="33" pos="2012">
          <p15:clr>
            <a:srgbClr val="F26B43"/>
          </p15:clr>
        </p15:guide>
        <p15:guide id="34" pos="2304">
          <p15:clr>
            <a:srgbClr val="F26B43"/>
          </p15:clr>
        </p15:guide>
        <p15:guide id="35" pos="2880">
          <p15:clr>
            <a:srgbClr val="F26B43"/>
          </p15:clr>
        </p15:guide>
        <p15:guide id="36" pos="3164">
          <p15:clr>
            <a:srgbClr val="F26B43"/>
          </p15:clr>
        </p15:guide>
        <p15:guide id="37" pos="3454">
          <p15:clr>
            <a:srgbClr val="F26B43"/>
          </p15:clr>
        </p15:guide>
        <p15:guide id="38" pos="3740">
          <p15:clr>
            <a:srgbClr val="F26B43"/>
          </p15:clr>
        </p15:guide>
        <p15:guide id="39" pos="4316">
          <p15:clr>
            <a:srgbClr val="F26B43"/>
          </p15:clr>
        </p15:guide>
        <p15:guide id="40" pos="4599">
          <p15:clr>
            <a:srgbClr val="F26B43"/>
          </p15:clr>
        </p15:guide>
        <p15:guide id="41" pos="4892">
          <p15:clr>
            <a:srgbClr val="F26B43"/>
          </p15:clr>
        </p15:guide>
        <p15:guide id="42" pos="7192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17AA523-AA89-47D7-9248-FDC2B2DCF2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309214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06" imgH="306" progId="TCLayout.ActiveDocument.1">
                  <p:embed/>
                </p:oleObj>
              </mc:Choice>
              <mc:Fallback>
                <p:oleObj name="think-cell Slide" r:id="rId18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17AA523-AA89-47D7-9248-FDC2B2DCF2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02652A5-06D6-47C4-9589-2EDCE8BF0C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506" y="365125"/>
            <a:ext cx="11176987" cy="8350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433C76-5204-4E99-9A90-909D14A4EA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7506" y="1371600"/>
            <a:ext cx="11176987" cy="48053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F5312C-D940-4358-B013-230A7F16BEB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5013" y="6356350"/>
            <a:ext cx="10355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D10DF5-0BA6-461A-9D56-964FDBDE96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55331" y="6356350"/>
            <a:ext cx="81602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F3D443-A3F6-4EB4-B295-86AF10F70A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07506" y="6356350"/>
            <a:ext cx="4259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fld id="{2205F9A8-97F1-462E-AA9C-D3381D198BE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5719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9" r:id="rId1"/>
    <p:sldLayoutId id="2147484280" r:id="rId2"/>
    <p:sldLayoutId id="2147484281" r:id="rId3"/>
    <p:sldLayoutId id="2147484282" r:id="rId4"/>
    <p:sldLayoutId id="2147484283" r:id="rId5"/>
    <p:sldLayoutId id="2147484284" r:id="rId6"/>
    <p:sldLayoutId id="2147484285" r:id="rId7"/>
    <p:sldLayoutId id="2147484286" r:id="rId8"/>
    <p:sldLayoutId id="2147484287" r:id="rId9"/>
    <p:sldLayoutId id="2147484288" r:id="rId10"/>
    <p:sldLayoutId id="2147484289" r:id="rId11"/>
    <p:sldLayoutId id="2147484290" r:id="rId12"/>
    <p:sldLayoutId id="2147484291" r:id="rId13"/>
    <p:sldLayoutId id="2147484292" r:id="rId14"/>
    <p:sldLayoutId id="2147484293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SLB Sans Book" panose="02000503040000020004" pitchFamily="50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LB Sans Book" panose="02000503040000020004" pitchFamily="50" charset="0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32EE9BE-CB42-4C9C-9F3F-1F4432F178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4233492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624" imgH="623" progId="TCLayout.ActiveDocument.1">
                  <p:embed/>
                </p:oleObj>
              </mc:Choice>
              <mc:Fallback>
                <p:oleObj name="think-cell Slide" r:id="rId32" imgW="624" imgH="62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32EE9BE-CB42-4C9C-9F3F-1F4432F178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49EABB9-5766-FE25-E328-FE5B7131BF60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DE3E0C-92A3-427B-ED53-25D02A3C95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3"/>
            <a:ext cx="3200400" cy="36960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8FA5F5-A6F4-83D6-C2D2-CBF04F8F21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6042" y="422313"/>
            <a:ext cx="7296870" cy="55149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12F1DC-96E6-798D-E5E3-433DC019F1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GB"/>
              <a:t>Private. In/Ex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6CEF17-E52C-6D06-E631-5CAE767304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8701" y="6411198"/>
            <a:ext cx="684212" cy="23024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6A9A6DF-3763-3CCF-90BF-390EEEDB4D55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AB4B0DF-B452-4688-B44C-27C6B0000825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712587" y="6705600"/>
            <a:ext cx="6111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ctr"/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B-Private</a:t>
            </a:r>
          </a:p>
        </p:txBody>
      </p:sp>
    </p:spTree>
    <p:extLst>
      <p:ext uri="{BB962C8B-B14F-4D97-AF65-F5344CB8AC3E}">
        <p14:creationId xmlns:p14="http://schemas.microsoft.com/office/powerpoint/2010/main" val="457001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  <p:sldLayoutId id="2147483731" r:id="rId17"/>
    <p:sldLayoutId id="2147483732" r:id="rId18"/>
    <p:sldLayoutId id="2147483733" r:id="rId19"/>
    <p:sldLayoutId id="2147483734" r:id="rId20"/>
    <p:sldLayoutId id="2147483735" r:id="rId21"/>
    <p:sldLayoutId id="2147483736" r:id="rId22"/>
    <p:sldLayoutId id="2147483737" r:id="rId23"/>
    <p:sldLayoutId id="2147483738" r:id="rId24"/>
    <p:sldLayoutId id="2147483739" r:id="rId25"/>
    <p:sldLayoutId id="2147483740" r:id="rId26"/>
    <p:sldLayoutId id="2147483741" r:id="rId27"/>
    <p:sldLayoutId id="2147483742" r:id="rId28"/>
    <p:sldLayoutId id="2147483743" r:id="rId2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1" i="0" kern="1200">
          <a:solidFill>
            <a:schemeClr val="accent1"/>
          </a:solidFill>
          <a:latin typeface="SLB Sans" panose="02000503040000020004" pitchFamily="2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accent1"/>
          </a:solidFill>
          <a:latin typeface="SLB Sans Book" panose="02000503040000020004" pitchFamily="2" charset="0"/>
          <a:ea typeface="+mn-ea"/>
          <a:cs typeface="+mn-cs"/>
        </a:defRPr>
      </a:lvl2pPr>
      <a:lvl3pPr marL="342900" indent="-3429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→"/>
        <a:defRPr sz="2000" b="0" kern="1200">
          <a:solidFill>
            <a:schemeClr val="accent1"/>
          </a:solidFill>
          <a:latin typeface="SLB Sans Book" panose="02000503040000020004" pitchFamily="2" charset="0"/>
          <a:ea typeface="+mn-ea"/>
          <a:cs typeface="+mn-cs"/>
        </a:defRPr>
      </a:lvl3pPr>
      <a:lvl4pPr marL="684000" indent="-3420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−"/>
        <a:tabLst/>
        <a:defRPr sz="1800" b="0" kern="1200">
          <a:solidFill>
            <a:schemeClr val="accent1"/>
          </a:solidFill>
          <a:latin typeface="SLB Sans Book" panose="02000503040000020004" pitchFamily="2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accent1"/>
          </a:solidFill>
          <a:latin typeface="SLB Sans Book" panose="0200050304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12">
          <p15:clr>
            <a:srgbClr val="F26B43"/>
          </p15:clr>
        </p15:guide>
        <p15:guide id="2" pos="288">
          <p15:clr>
            <a:srgbClr val="F26B43"/>
          </p15:clr>
        </p15:guide>
        <p15:guide id="3" pos="7479">
          <p15:clr>
            <a:srgbClr val="F26B43"/>
          </p15:clr>
        </p15:guide>
        <p15:guide id="4" pos="4028">
          <p15:clr>
            <a:srgbClr val="F26B43"/>
          </p15:clr>
        </p15:guide>
        <p15:guide id="5" pos="2588">
          <p15:clr>
            <a:srgbClr val="F26B43"/>
          </p15:clr>
        </p15:guide>
        <p15:guide id="6" pos="5180">
          <p15:clr>
            <a:srgbClr val="F26B43"/>
          </p15:clr>
        </p15:guide>
        <p15:guide id="7" orient="horz" pos="288">
          <p15:clr>
            <a:srgbClr val="F26B43"/>
          </p15:clr>
        </p15:guide>
        <p15:guide id="10" orient="horz" pos="4028">
          <p15:clr>
            <a:srgbClr val="F26B43"/>
          </p15:clr>
        </p15:guide>
        <p15:guide id="11" orient="horz" pos="1436">
          <p15:clr>
            <a:srgbClr val="F26B43"/>
          </p15:clr>
        </p15:guide>
        <p15:guide id="12" orient="horz" pos="1152">
          <p15:clr>
            <a:srgbClr val="F26B43"/>
          </p15:clr>
        </p15:guide>
        <p15:guide id="13" orient="horz" pos="867">
          <p15:clr>
            <a:srgbClr val="F26B43"/>
          </p15:clr>
        </p15:guide>
        <p15:guide id="14" orient="horz" pos="576">
          <p15:clr>
            <a:srgbClr val="F26B43"/>
          </p15:clr>
        </p15:guide>
        <p15:guide id="15" orient="horz" pos="1728">
          <p15:clr>
            <a:srgbClr val="F26B43"/>
          </p15:clr>
        </p15:guide>
        <p15:guide id="16" orient="horz" pos="2302">
          <p15:clr>
            <a:srgbClr val="F26B43"/>
          </p15:clr>
        </p15:guide>
        <p15:guide id="17" orient="horz" pos="2588">
          <p15:clr>
            <a:srgbClr val="F26B43"/>
          </p15:clr>
        </p15:guide>
        <p15:guide id="18" orient="horz" pos="2878">
          <p15:clr>
            <a:srgbClr val="F26B43"/>
          </p15:clr>
        </p15:guide>
        <p15:guide id="19" orient="horz" pos="3164">
          <p15:clr>
            <a:srgbClr val="F26B43"/>
          </p15:clr>
        </p15:guide>
        <p15:guide id="20" orient="horz" pos="3454">
          <p15:clr>
            <a:srgbClr val="F26B43"/>
          </p15:clr>
        </p15:guide>
        <p15:guide id="21" orient="horz" pos="3740">
          <p15:clr>
            <a:srgbClr val="F26B43"/>
          </p15:clr>
        </p15:guide>
        <p15:guide id="22" pos="6903">
          <p15:clr>
            <a:srgbClr val="F26B43"/>
          </p15:clr>
        </p15:guide>
        <p15:guide id="23" pos="6620">
          <p15:clr>
            <a:srgbClr val="F26B43"/>
          </p15:clr>
        </p15:guide>
        <p15:guide id="24" pos="6327">
          <p15:clr>
            <a:srgbClr val="F26B43"/>
          </p15:clr>
        </p15:guide>
        <p15:guide id="25" pos="6044">
          <p15:clr>
            <a:srgbClr val="F26B43"/>
          </p15:clr>
        </p15:guide>
        <p15:guide id="26" pos="5751">
          <p15:clr>
            <a:srgbClr val="F26B43"/>
          </p15:clr>
        </p15:guide>
        <p15:guide id="27" pos="5468">
          <p15:clr>
            <a:srgbClr val="F26B43"/>
          </p15:clr>
        </p15:guide>
        <p15:guide id="28" pos="576">
          <p15:clr>
            <a:srgbClr val="F26B43"/>
          </p15:clr>
        </p15:guide>
        <p15:guide id="29" pos="864">
          <p15:clr>
            <a:srgbClr val="F26B43"/>
          </p15:clr>
        </p15:guide>
        <p15:guide id="30" pos="1152">
          <p15:clr>
            <a:srgbClr val="F26B43"/>
          </p15:clr>
        </p15:guide>
        <p15:guide id="31" pos="1436">
          <p15:clr>
            <a:srgbClr val="F26B43"/>
          </p15:clr>
        </p15:guide>
        <p15:guide id="32" pos="1728">
          <p15:clr>
            <a:srgbClr val="F26B43"/>
          </p15:clr>
        </p15:guide>
        <p15:guide id="33" pos="2012">
          <p15:clr>
            <a:srgbClr val="F26B43"/>
          </p15:clr>
        </p15:guide>
        <p15:guide id="34" pos="2304">
          <p15:clr>
            <a:srgbClr val="F26B43"/>
          </p15:clr>
        </p15:guide>
        <p15:guide id="35" pos="2880">
          <p15:clr>
            <a:srgbClr val="F26B43"/>
          </p15:clr>
        </p15:guide>
        <p15:guide id="36" pos="3164">
          <p15:clr>
            <a:srgbClr val="F26B43"/>
          </p15:clr>
        </p15:guide>
        <p15:guide id="37" pos="3454">
          <p15:clr>
            <a:srgbClr val="F26B43"/>
          </p15:clr>
        </p15:guide>
        <p15:guide id="38" pos="3740">
          <p15:clr>
            <a:srgbClr val="F26B43"/>
          </p15:clr>
        </p15:guide>
        <p15:guide id="39" pos="4316">
          <p15:clr>
            <a:srgbClr val="F26B43"/>
          </p15:clr>
        </p15:guide>
        <p15:guide id="40" pos="4599">
          <p15:clr>
            <a:srgbClr val="F26B43"/>
          </p15:clr>
        </p15:guide>
        <p15:guide id="41" pos="4892">
          <p15:clr>
            <a:srgbClr val="F26B43"/>
          </p15:clr>
        </p15:guide>
        <p15:guide id="42" pos="719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2709B23-F007-4613-9652-120B12B8DE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3155142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416" imgH="415" progId="TCLayout.ActiveDocument.1">
                  <p:embed/>
                </p:oleObj>
              </mc:Choice>
              <mc:Fallback>
                <p:oleObj name="think-cell Slide" r:id="rId33" imgW="416" imgH="41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2709B23-F007-4613-9652-120B12B8DE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49EABB9-5766-FE25-E328-FE5B7131BF60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DE3E0C-92A3-427B-ED53-25D02A3C95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3"/>
            <a:ext cx="3200400" cy="36960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8FA5F5-A6F4-83D6-C2D2-CBF04F8F21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6042" y="422313"/>
            <a:ext cx="7296870" cy="55149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12F1DC-96E6-798D-E5E3-433DC019F1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6CEF17-E52C-6D06-E631-5CAE767304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8701" y="6411198"/>
            <a:ext cx="684212" cy="23024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2737C662-D0ED-4587-B264-5C4F0D975D1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29B4F59-A406-359A-A442-1A009AC7A38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04662" y="6705600"/>
            <a:ext cx="6111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B-Private</a:t>
            </a:r>
          </a:p>
        </p:txBody>
      </p:sp>
    </p:spTree>
    <p:extLst>
      <p:ext uri="{BB962C8B-B14F-4D97-AF65-F5344CB8AC3E}">
        <p14:creationId xmlns:p14="http://schemas.microsoft.com/office/powerpoint/2010/main" val="34823430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  <p:sldLayoutId id="2147483756" r:id="rId12"/>
    <p:sldLayoutId id="2147483757" r:id="rId13"/>
    <p:sldLayoutId id="2147483758" r:id="rId14"/>
    <p:sldLayoutId id="2147483759" r:id="rId15"/>
    <p:sldLayoutId id="2147483760" r:id="rId16"/>
    <p:sldLayoutId id="2147483761" r:id="rId17"/>
    <p:sldLayoutId id="2147483762" r:id="rId18"/>
    <p:sldLayoutId id="2147483763" r:id="rId19"/>
    <p:sldLayoutId id="2147483764" r:id="rId20"/>
    <p:sldLayoutId id="2147483765" r:id="rId21"/>
    <p:sldLayoutId id="2147483766" r:id="rId22"/>
    <p:sldLayoutId id="2147483767" r:id="rId23"/>
    <p:sldLayoutId id="2147483768" r:id="rId24"/>
    <p:sldLayoutId id="2147483769" r:id="rId25"/>
    <p:sldLayoutId id="2147483770" r:id="rId26"/>
    <p:sldLayoutId id="2147483771" r:id="rId27"/>
    <p:sldLayoutId id="2147483772" r:id="rId28"/>
    <p:sldLayoutId id="2147483773" r:id="rId29"/>
    <p:sldLayoutId id="2147483774" r:id="rId3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1" i="0" kern="1200">
          <a:solidFill>
            <a:schemeClr val="tx1"/>
          </a:solidFill>
          <a:latin typeface="SLB Sans" panose="02000503040000020004" pitchFamily="2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2pPr>
      <a:lvl3pPr marL="342900" indent="-3429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→"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3pPr>
      <a:lvl4pPr marL="684000" indent="-3420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−"/>
        <a:tabLst/>
        <a:defRPr sz="18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12">
          <p15:clr>
            <a:srgbClr val="F26B43"/>
          </p15:clr>
        </p15:guide>
        <p15:guide id="2" pos="288">
          <p15:clr>
            <a:srgbClr val="F26B43"/>
          </p15:clr>
        </p15:guide>
        <p15:guide id="3" pos="7479">
          <p15:clr>
            <a:srgbClr val="F26B43"/>
          </p15:clr>
        </p15:guide>
        <p15:guide id="4" pos="4028">
          <p15:clr>
            <a:srgbClr val="F26B43"/>
          </p15:clr>
        </p15:guide>
        <p15:guide id="5" pos="2588">
          <p15:clr>
            <a:srgbClr val="F26B43"/>
          </p15:clr>
        </p15:guide>
        <p15:guide id="6" pos="5180">
          <p15:clr>
            <a:srgbClr val="F26B43"/>
          </p15:clr>
        </p15:guide>
        <p15:guide id="7" orient="horz" pos="288">
          <p15:clr>
            <a:srgbClr val="F26B43"/>
          </p15:clr>
        </p15:guide>
        <p15:guide id="10" orient="horz" pos="4028">
          <p15:clr>
            <a:srgbClr val="F26B43"/>
          </p15:clr>
        </p15:guide>
        <p15:guide id="11" orient="horz" pos="1436">
          <p15:clr>
            <a:srgbClr val="F26B43"/>
          </p15:clr>
        </p15:guide>
        <p15:guide id="12" orient="horz" pos="1152">
          <p15:clr>
            <a:srgbClr val="F26B43"/>
          </p15:clr>
        </p15:guide>
        <p15:guide id="13" orient="horz" pos="867">
          <p15:clr>
            <a:srgbClr val="F26B43"/>
          </p15:clr>
        </p15:guide>
        <p15:guide id="14" orient="horz" pos="576">
          <p15:clr>
            <a:srgbClr val="F26B43"/>
          </p15:clr>
        </p15:guide>
        <p15:guide id="15" orient="horz" pos="1728">
          <p15:clr>
            <a:srgbClr val="F26B43"/>
          </p15:clr>
        </p15:guide>
        <p15:guide id="16" orient="horz" pos="2302">
          <p15:clr>
            <a:srgbClr val="F26B43"/>
          </p15:clr>
        </p15:guide>
        <p15:guide id="17" orient="horz" pos="2588">
          <p15:clr>
            <a:srgbClr val="F26B43"/>
          </p15:clr>
        </p15:guide>
        <p15:guide id="18" orient="horz" pos="2878">
          <p15:clr>
            <a:srgbClr val="F26B43"/>
          </p15:clr>
        </p15:guide>
        <p15:guide id="19" orient="horz" pos="3164">
          <p15:clr>
            <a:srgbClr val="F26B43"/>
          </p15:clr>
        </p15:guide>
        <p15:guide id="20" orient="horz" pos="3454">
          <p15:clr>
            <a:srgbClr val="F26B43"/>
          </p15:clr>
        </p15:guide>
        <p15:guide id="21" orient="horz" pos="3740">
          <p15:clr>
            <a:srgbClr val="F26B43"/>
          </p15:clr>
        </p15:guide>
        <p15:guide id="22" pos="6903">
          <p15:clr>
            <a:srgbClr val="F26B43"/>
          </p15:clr>
        </p15:guide>
        <p15:guide id="23" pos="6620">
          <p15:clr>
            <a:srgbClr val="F26B43"/>
          </p15:clr>
        </p15:guide>
        <p15:guide id="24" pos="6327">
          <p15:clr>
            <a:srgbClr val="F26B43"/>
          </p15:clr>
        </p15:guide>
        <p15:guide id="25" pos="6044">
          <p15:clr>
            <a:srgbClr val="F26B43"/>
          </p15:clr>
        </p15:guide>
        <p15:guide id="26" pos="5751">
          <p15:clr>
            <a:srgbClr val="F26B43"/>
          </p15:clr>
        </p15:guide>
        <p15:guide id="27" pos="5468">
          <p15:clr>
            <a:srgbClr val="F26B43"/>
          </p15:clr>
        </p15:guide>
        <p15:guide id="28" pos="576">
          <p15:clr>
            <a:srgbClr val="F26B43"/>
          </p15:clr>
        </p15:guide>
        <p15:guide id="29" pos="864">
          <p15:clr>
            <a:srgbClr val="F26B43"/>
          </p15:clr>
        </p15:guide>
        <p15:guide id="30" pos="1152">
          <p15:clr>
            <a:srgbClr val="F26B43"/>
          </p15:clr>
        </p15:guide>
        <p15:guide id="31" pos="1436">
          <p15:clr>
            <a:srgbClr val="F26B43"/>
          </p15:clr>
        </p15:guide>
        <p15:guide id="32" pos="1728">
          <p15:clr>
            <a:srgbClr val="F26B43"/>
          </p15:clr>
        </p15:guide>
        <p15:guide id="33" pos="2012">
          <p15:clr>
            <a:srgbClr val="F26B43"/>
          </p15:clr>
        </p15:guide>
        <p15:guide id="34" pos="2304">
          <p15:clr>
            <a:srgbClr val="F26B43"/>
          </p15:clr>
        </p15:guide>
        <p15:guide id="35" pos="2880">
          <p15:clr>
            <a:srgbClr val="F26B43"/>
          </p15:clr>
        </p15:guide>
        <p15:guide id="36" pos="3164">
          <p15:clr>
            <a:srgbClr val="F26B43"/>
          </p15:clr>
        </p15:guide>
        <p15:guide id="37" pos="3454">
          <p15:clr>
            <a:srgbClr val="F26B43"/>
          </p15:clr>
        </p15:guide>
        <p15:guide id="38" pos="3740">
          <p15:clr>
            <a:srgbClr val="F26B43"/>
          </p15:clr>
        </p15:guide>
        <p15:guide id="39" pos="4316">
          <p15:clr>
            <a:srgbClr val="F26B43"/>
          </p15:clr>
        </p15:guide>
        <p15:guide id="40" pos="4599">
          <p15:clr>
            <a:srgbClr val="F26B43"/>
          </p15:clr>
        </p15:guide>
        <p15:guide id="41" pos="4892">
          <p15:clr>
            <a:srgbClr val="F26B43"/>
          </p15:clr>
        </p15:guide>
        <p15:guide id="42" pos="719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CF3AB7B-A3D3-477E-9564-37ABD1B9D8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1007464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6CF3AB7B-A3D3-477E-9564-37ABD1B9D8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49EABB9-5766-FE25-E328-FE5B7131BF60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DE3E0C-92A3-427B-ED53-25D02A3C95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3"/>
            <a:ext cx="3200400" cy="36960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8FA5F5-A6F4-83D6-C2D2-CBF04F8F21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6042" y="422313"/>
            <a:ext cx="7296870" cy="55149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12F1DC-96E6-798D-E5E3-433DC019F1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6CEF17-E52C-6D06-E631-5CAE767304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8701" y="6411198"/>
            <a:ext cx="684212" cy="23024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9DCADAA-AE45-1053-A04D-8E58E58654FE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112888A-1DD9-4883-8515-4791F8901CDB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712587" y="6705600"/>
            <a:ext cx="6111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ctr"/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B-Private</a:t>
            </a:r>
          </a:p>
        </p:txBody>
      </p:sp>
    </p:spTree>
    <p:extLst>
      <p:ext uri="{BB962C8B-B14F-4D97-AF65-F5344CB8AC3E}">
        <p14:creationId xmlns:p14="http://schemas.microsoft.com/office/powerpoint/2010/main" val="524910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8" r:id="rId13"/>
    <p:sldLayoutId id="2147483789" r:id="rId14"/>
    <p:sldLayoutId id="2147483790" r:id="rId15"/>
    <p:sldLayoutId id="2147483791" r:id="rId16"/>
    <p:sldLayoutId id="2147483792" r:id="rId17"/>
    <p:sldLayoutId id="2147483793" r:id="rId18"/>
    <p:sldLayoutId id="2147483794" r:id="rId19"/>
    <p:sldLayoutId id="2147483795" r:id="rId20"/>
    <p:sldLayoutId id="2147483796" r:id="rId21"/>
    <p:sldLayoutId id="2147483797" r:id="rId22"/>
    <p:sldLayoutId id="2147483798" r:id="rId23"/>
    <p:sldLayoutId id="2147483799" r:id="rId24"/>
    <p:sldLayoutId id="2147483800" r:id="rId25"/>
    <p:sldLayoutId id="2147483801" r:id="rId26"/>
    <p:sldLayoutId id="2147483802" r:id="rId27"/>
    <p:sldLayoutId id="2147483803" r:id="rId28"/>
    <p:sldLayoutId id="2147483804" r:id="rId29"/>
    <p:sldLayoutId id="2147483805" r:id="rId30"/>
    <p:sldLayoutId id="2147483806" r:id="rId31"/>
    <p:sldLayoutId id="2147483807" r:id="rId32"/>
    <p:sldLayoutId id="2147483808" r:id="rId3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1" i="0" kern="1200">
          <a:solidFill>
            <a:schemeClr val="tx1"/>
          </a:solidFill>
          <a:latin typeface="SLB Sans" panose="02000503040000020004" pitchFamily="2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2pPr>
      <a:lvl3pPr marL="342900" indent="-3429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→"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3pPr>
      <a:lvl4pPr marL="684000" indent="-3420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−"/>
        <a:tabLst/>
        <a:defRPr sz="18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12">
          <p15:clr>
            <a:srgbClr val="F26B43"/>
          </p15:clr>
        </p15:guide>
        <p15:guide id="2" pos="288">
          <p15:clr>
            <a:srgbClr val="F26B43"/>
          </p15:clr>
        </p15:guide>
        <p15:guide id="3" pos="7479">
          <p15:clr>
            <a:srgbClr val="F26B43"/>
          </p15:clr>
        </p15:guide>
        <p15:guide id="4" pos="4028">
          <p15:clr>
            <a:srgbClr val="F26B43"/>
          </p15:clr>
        </p15:guide>
        <p15:guide id="5" pos="2588">
          <p15:clr>
            <a:srgbClr val="F26B43"/>
          </p15:clr>
        </p15:guide>
        <p15:guide id="6" pos="5180">
          <p15:clr>
            <a:srgbClr val="F26B43"/>
          </p15:clr>
        </p15:guide>
        <p15:guide id="7" orient="horz" pos="288">
          <p15:clr>
            <a:srgbClr val="F26B43"/>
          </p15:clr>
        </p15:guide>
        <p15:guide id="10" orient="horz" pos="4028">
          <p15:clr>
            <a:srgbClr val="F26B43"/>
          </p15:clr>
        </p15:guide>
        <p15:guide id="11" orient="horz" pos="1436">
          <p15:clr>
            <a:srgbClr val="F26B43"/>
          </p15:clr>
        </p15:guide>
        <p15:guide id="12" orient="horz" pos="1152">
          <p15:clr>
            <a:srgbClr val="F26B43"/>
          </p15:clr>
        </p15:guide>
        <p15:guide id="13" orient="horz" pos="867">
          <p15:clr>
            <a:srgbClr val="F26B43"/>
          </p15:clr>
        </p15:guide>
        <p15:guide id="14" orient="horz" pos="576">
          <p15:clr>
            <a:srgbClr val="F26B43"/>
          </p15:clr>
        </p15:guide>
        <p15:guide id="15" orient="horz" pos="1728">
          <p15:clr>
            <a:srgbClr val="F26B43"/>
          </p15:clr>
        </p15:guide>
        <p15:guide id="16" orient="horz" pos="2302">
          <p15:clr>
            <a:srgbClr val="F26B43"/>
          </p15:clr>
        </p15:guide>
        <p15:guide id="17" orient="horz" pos="2588">
          <p15:clr>
            <a:srgbClr val="F26B43"/>
          </p15:clr>
        </p15:guide>
        <p15:guide id="18" orient="horz" pos="2878">
          <p15:clr>
            <a:srgbClr val="F26B43"/>
          </p15:clr>
        </p15:guide>
        <p15:guide id="19" orient="horz" pos="3164">
          <p15:clr>
            <a:srgbClr val="F26B43"/>
          </p15:clr>
        </p15:guide>
        <p15:guide id="20" orient="horz" pos="3454">
          <p15:clr>
            <a:srgbClr val="F26B43"/>
          </p15:clr>
        </p15:guide>
        <p15:guide id="21" orient="horz" pos="3740">
          <p15:clr>
            <a:srgbClr val="F26B43"/>
          </p15:clr>
        </p15:guide>
        <p15:guide id="22" pos="6903">
          <p15:clr>
            <a:srgbClr val="F26B43"/>
          </p15:clr>
        </p15:guide>
        <p15:guide id="23" pos="6620">
          <p15:clr>
            <a:srgbClr val="F26B43"/>
          </p15:clr>
        </p15:guide>
        <p15:guide id="24" pos="6327">
          <p15:clr>
            <a:srgbClr val="F26B43"/>
          </p15:clr>
        </p15:guide>
        <p15:guide id="25" pos="6044">
          <p15:clr>
            <a:srgbClr val="F26B43"/>
          </p15:clr>
        </p15:guide>
        <p15:guide id="26" pos="5751">
          <p15:clr>
            <a:srgbClr val="F26B43"/>
          </p15:clr>
        </p15:guide>
        <p15:guide id="27" pos="5468">
          <p15:clr>
            <a:srgbClr val="F26B43"/>
          </p15:clr>
        </p15:guide>
        <p15:guide id="28" pos="576">
          <p15:clr>
            <a:srgbClr val="F26B43"/>
          </p15:clr>
        </p15:guide>
        <p15:guide id="29" pos="864">
          <p15:clr>
            <a:srgbClr val="F26B43"/>
          </p15:clr>
        </p15:guide>
        <p15:guide id="30" pos="1152">
          <p15:clr>
            <a:srgbClr val="F26B43"/>
          </p15:clr>
        </p15:guide>
        <p15:guide id="31" pos="1436">
          <p15:clr>
            <a:srgbClr val="F26B43"/>
          </p15:clr>
        </p15:guide>
        <p15:guide id="32" pos="1728">
          <p15:clr>
            <a:srgbClr val="F26B43"/>
          </p15:clr>
        </p15:guide>
        <p15:guide id="33" pos="2012">
          <p15:clr>
            <a:srgbClr val="F26B43"/>
          </p15:clr>
        </p15:guide>
        <p15:guide id="34" pos="2304">
          <p15:clr>
            <a:srgbClr val="F26B43"/>
          </p15:clr>
        </p15:guide>
        <p15:guide id="35" pos="2880">
          <p15:clr>
            <a:srgbClr val="F26B43"/>
          </p15:clr>
        </p15:guide>
        <p15:guide id="36" pos="3164">
          <p15:clr>
            <a:srgbClr val="F26B43"/>
          </p15:clr>
        </p15:guide>
        <p15:guide id="37" pos="3454">
          <p15:clr>
            <a:srgbClr val="F26B43"/>
          </p15:clr>
        </p15:guide>
        <p15:guide id="38" pos="3740">
          <p15:clr>
            <a:srgbClr val="F26B43"/>
          </p15:clr>
        </p15:guide>
        <p15:guide id="39" pos="4316">
          <p15:clr>
            <a:srgbClr val="F26B43"/>
          </p15:clr>
        </p15:guide>
        <p15:guide id="40" pos="4599">
          <p15:clr>
            <a:srgbClr val="F26B43"/>
          </p15:clr>
        </p15:guide>
        <p15:guide id="41" pos="4892">
          <p15:clr>
            <a:srgbClr val="F26B43"/>
          </p15:clr>
        </p15:guide>
        <p15:guide id="42" pos="719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3F7CD5E3-F7E5-44FF-90A6-640EE8C13F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987913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416" imgH="415" progId="TCLayout.ActiveDocument.1">
                  <p:embed/>
                </p:oleObj>
              </mc:Choice>
              <mc:Fallback>
                <p:oleObj name="think-cell Slide" r:id="rId32" imgW="416" imgH="41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3F7CD5E3-F7E5-44FF-90A6-640EE8C13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49EABB9-5766-FE25-E328-FE5B7131BF60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DE3E0C-92A3-427B-ED53-25D02A3C95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3"/>
            <a:ext cx="3200400" cy="36960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8FA5F5-A6F4-83D6-C2D2-CBF04F8F21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6042" y="422313"/>
            <a:ext cx="7296870" cy="55149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12F1DC-96E6-798D-E5E3-433DC019F1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6CEF17-E52C-6D06-E631-5CAE767304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8701" y="6411198"/>
            <a:ext cx="684212" cy="23024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9DCADAA-AE45-1053-A04D-8E58E58654FE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81565D3-D43F-953C-9F31-D1F383634975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04662" y="6705600"/>
            <a:ext cx="6111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B-Private</a:t>
            </a:r>
          </a:p>
        </p:txBody>
      </p:sp>
    </p:spTree>
    <p:extLst>
      <p:ext uri="{BB962C8B-B14F-4D97-AF65-F5344CB8AC3E}">
        <p14:creationId xmlns:p14="http://schemas.microsoft.com/office/powerpoint/2010/main" val="4047966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  <p:sldLayoutId id="2147483820" r:id="rId11"/>
    <p:sldLayoutId id="2147483821" r:id="rId12"/>
    <p:sldLayoutId id="2147483822" r:id="rId13"/>
    <p:sldLayoutId id="2147483823" r:id="rId14"/>
    <p:sldLayoutId id="2147483824" r:id="rId15"/>
    <p:sldLayoutId id="2147483825" r:id="rId16"/>
    <p:sldLayoutId id="2147483826" r:id="rId17"/>
    <p:sldLayoutId id="2147483827" r:id="rId18"/>
    <p:sldLayoutId id="2147483828" r:id="rId19"/>
    <p:sldLayoutId id="2147483829" r:id="rId20"/>
    <p:sldLayoutId id="2147483830" r:id="rId21"/>
    <p:sldLayoutId id="2147483831" r:id="rId22"/>
    <p:sldLayoutId id="2147483832" r:id="rId23"/>
    <p:sldLayoutId id="2147483833" r:id="rId24"/>
    <p:sldLayoutId id="2147483834" r:id="rId25"/>
    <p:sldLayoutId id="2147483835" r:id="rId26"/>
    <p:sldLayoutId id="2147483836" r:id="rId27"/>
    <p:sldLayoutId id="2147483837" r:id="rId28"/>
    <p:sldLayoutId id="2147483838" r:id="rId2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1" i="0" kern="1200">
          <a:solidFill>
            <a:schemeClr val="tx1"/>
          </a:solidFill>
          <a:latin typeface="SLB Sans" panose="02000503040000020004" pitchFamily="2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2pPr>
      <a:lvl3pPr marL="342900" indent="-3429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→"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3pPr>
      <a:lvl4pPr marL="684000" indent="-3420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−"/>
        <a:tabLst/>
        <a:defRPr sz="18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12">
          <p15:clr>
            <a:srgbClr val="F26B43"/>
          </p15:clr>
        </p15:guide>
        <p15:guide id="2" pos="288">
          <p15:clr>
            <a:srgbClr val="F26B43"/>
          </p15:clr>
        </p15:guide>
        <p15:guide id="3" pos="7479">
          <p15:clr>
            <a:srgbClr val="F26B43"/>
          </p15:clr>
        </p15:guide>
        <p15:guide id="4" pos="4028">
          <p15:clr>
            <a:srgbClr val="F26B43"/>
          </p15:clr>
        </p15:guide>
        <p15:guide id="5" pos="2588">
          <p15:clr>
            <a:srgbClr val="F26B43"/>
          </p15:clr>
        </p15:guide>
        <p15:guide id="6" pos="5180">
          <p15:clr>
            <a:srgbClr val="F26B43"/>
          </p15:clr>
        </p15:guide>
        <p15:guide id="7" orient="horz" pos="288">
          <p15:clr>
            <a:srgbClr val="F26B43"/>
          </p15:clr>
        </p15:guide>
        <p15:guide id="10" orient="horz" pos="4028">
          <p15:clr>
            <a:srgbClr val="F26B43"/>
          </p15:clr>
        </p15:guide>
        <p15:guide id="11" orient="horz" pos="1436">
          <p15:clr>
            <a:srgbClr val="F26B43"/>
          </p15:clr>
        </p15:guide>
        <p15:guide id="12" orient="horz" pos="1152">
          <p15:clr>
            <a:srgbClr val="F26B43"/>
          </p15:clr>
        </p15:guide>
        <p15:guide id="13" orient="horz" pos="867">
          <p15:clr>
            <a:srgbClr val="F26B43"/>
          </p15:clr>
        </p15:guide>
        <p15:guide id="14" orient="horz" pos="576">
          <p15:clr>
            <a:srgbClr val="F26B43"/>
          </p15:clr>
        </p15:guide>
        <p15:guide id="15" orient="horz" pos="1728">
          <p15:clr>
            <a:srgbClr val="F26B43"/>
          </p15:clr>
        </p15:guide>
        <p15:guide id="16" orient="horz" pos="2302">
          <p15:clr>
            <a:srgbClr val="F26B43"/>
          </p15:clr>
        </p15:guide>
        <p15:guide id="17" orient="horz" pos="2588">
          <p15:clr>
            <a:srgbClr val="F26B43"/>
          </p15:clr>
        </p15:guide>
        <p15:guide id="18" orient="horz" pos="2878">
          <p15:clr>
            <a:srgbClr val="F26B43"/>
          </p15:clr>
        </p15:guide>
        <p15:guide id="19" orient="horz" pos="3164">
          <p15:clr>
            <a:srgbClr val="F26B43"/>
          </p15:clr>
        </p15:guide>
        <p15:guide id="20" orient="horz" pos="3454">
          <p15:clr>
            <a:srgbClr val="F26B43"/>
          </p15:clr>
        </p15:guide>
        <p15:guide id="21" orient="horz" pos="3740">
          <p15:clr>
            <a:srgbClr val="F26B43"/>
          </p15:clr>
        </p15:guide>
        <p15:guide id="22" pos="6903">
          <p15:clr>
            <a:srgbClr val="F26B43"/>
          </p15:clr>
        </p15:guide>
        <p15:guide id="23" pos="6620">
          <p15:clr>
            <a:srgbClr val="F26B43"/>
          </p15:clr>
        </p15:guide>
        <p15:guide id="24" pos="6327">
          <p15:clr>
            <a:srgbClr val="F26B43"/>
          </p15:clr>
        </p15:guide>
        <p15:guide id="25" pos="6044">
          <p15:clr>
            <a:srgbClr val="F26B43"/>
          </p15:clr>
        </p15:guide>
        <p15:guide id="26" pos="5751">
          <p15:clr>
            <a:srgbClr val="F26B43"/>
          </p15:clr>
        </p15:guide>
        <p15:guide id="27" pos="5468">
          <p15:clr>
            <a:srgbClr val="F26B43"/>
          </p15:clr>
        </p15:guide>
        <p15:guide id="28" pos="576">
          <p15:clr>
            <a:srgbClr val="F26B43"/>
          </p15:clr>
        </p15:guide>
        <p15:guide id="29" pos="864">
          <p15:clr>
            <a:srgbClr val="F26B43"/>
          </p15:clr>
        </p15:guide>
        <p15:guide id="30" pos="1152">
          <p15:clr>
            <a:srgbClr val="F26B43"/>
          </p15:clr>
        </p15:guide>
        <p15:guide id="31" pos="1436">
          <p15:clr>
            <a:srgbClr val="F26B43"/>
          </p15:clr>
        </p15:guide>
        <p15:guide id="32" pos="1728">
          <p15:clr>
            <a:srgbClr val="F26B43"/>
          </p15:clr>
        </p15:guide>
        <p15:guide id="33" pos="2012">
          <p15:clr>
            <a:srgbClr val="F26B43"/>
          </p15:clr>
        </p15:guide>
        <p15:guide id="34" pos="2304">
          <p15:clr>
            <a:srgbClr val="F26B43"/>
          </p15:clr>
        </p15:guide>
        <p15:guide id="35" pos="2880">
          <p15:clr>
            <a:srgbClr val="F26B43"/>
          </p15:clr>
        </p15:guide>
        <p15:guide id="36" pos="3164">
          <p15:clr>
            <a:srgbClr val="F26B43"/>
          </p15:clr>
        </p15:guide>
        <p15:guide id="37" pos="3454">
          <p15:clr>
            <a:srgbClr val="F26B43"/>
          </p15:clr>
        </p15:guide>
        <p15:guide id="38" pos="3740">
          <p15:clr>
            <a:srgbClr val="F26B43"/>
          </p15:clr>
        </p15:guide>
        <p15:guide id="39" pos="4316">
          <p15:clr>
            <a:srgbClr val="F26B43"/>
          </p15:clr>
        </p15:guide>
        <p15:guide id="40" pos="4599">
          <p15:clr>
            <a:srgbClr val="F26B43"/>
          </p15:clr>
        </p15:guide>
        <p15:guide id="41" pos="4892">
          <p15:clr>
            <a:srgbClr val="F26B43"/>
          </p15:clr>
        </p15:guide>
        <p15:guide id="42" pos="719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CF3AB7B-A3D3-477E-9564-37ABD1B9D8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007464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347" imgH="348" progId="TCLayout.ActiveDocument.1">
                  <p:embed/>
                </p:oleObj>
              </mc:Choice>
              <mc:Fallback>
                <p:oleObj name="think-cell Slide" r:id="rId37" imgW="347" imgH="34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6CF3AB7B-A3D3-477E-9564-37ABD1B9D8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49EABB9-5766-FE25-E328-FE5B7131BF60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DE3E0C-92A3-427B-ED53-25D02A3C95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3"/>
            <a:ext cx="3200400" cy="36960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8FA5F5-A6F4-83D6-C2D2-CBF04F8F21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6042" y="422313"/>
            <a:ext cx="7296870" cy="55149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12F1DC-96E6-798D-E5E3-433DC019F1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GB"/>
              <a:t>Global footer where sharing status is set. In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6CEF17-E52C-6D06-E631-5CAE767304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8701" y="6411198"/>
            <a:ext cx="684212" cy="23024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9DCADAA-AE45-1053-A04D-8E58E58654FE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112888A-1DD9-4883-8515-4791F8901CDB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712587" y="6705600"/>
            <a:ext cx="6111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ctr"/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B-Private</a:t>
            </a:r>
          </a:p>
        </p:txBody>
      </p:sp>
    </p:spTree>
    <p:extLst>
      <p:ext uri="{BB962C8B-B14F-4D97-AF65-F5344CB8AC3E}">
        <p14:creationId xmlns:p14="http://schemas.microsoft.com/office/powerpoint/2010/main" val="624204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  <p:sldLayoutId id="2147483847" r:id="rId8"/>
    <p:sldLayoutId id="2147483848" r:id="rId9"/>
    <p:sldLayoutId id="2147483849" r:id="rId10"/>
    <p:sldLayoutId id="2147483850" r:id="rId11"/>
    <p:sldLayoutId id="2147483851" r:id="rId12"/>
    <p:sldLayoutId id="2147483852" r:id="rId13"/>
    <p:sldLayoutId id="2147483853" r:id="rId14"/>
    <p:sldLayoutId id="2147483854" r:id="rId15"/>
    <p:sldLayoutId id="2147483855" r:id="rId16"/>
    <p:sldLayoutId id="2147483856" r:id="rId17"/>
    <p:sldLayoutId id="2147483857" r:id="rId18"/>
    <p:sldLayoutId id="2147483858" r:id="rId19"/>
    <p:sldLayoutId id="2147483859" r:id="rId20"/>
    <p:sldLayoutId id="2147483860" r:id="rId21"/>
    <p:sldLayoutId id="2147483861" r:id="rId22"/>
    <p:sldLayoutId id="2147483862" r:id="rId23"/>
    <p:sldLayoutId id="2147483863" r:id="rId24"/>
    <p:sldLayoutId id="2147483864" r:id="rId25"/>
    <p:sldLayoutId id="2147483865" r:id="rId26"/>
    <p:sldLayoutId id="2147483866" r:id="rId27"/>
    <p:sldLayoutId id="2147483867" r:id="rId28"/>
    <p:sldLayoutId id="2147483868" r:id="rId29"/>
    <p:sldLayoutId id="2147483869" r:id="rId30"/>
    <p:sldLayoutId id="2147483870" r:id="rId31"/>
    <p:sldLayoutId id="2147483871" r:id="rId32"/>
    <p:sldLayoutId id="2147483872" r:id="rId33"/>
    <p:sldLayoutId id="2147483873" r:id="rId3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1" i="0" kern="1200">
          <a:solidFill>
            <a:schemeClr val="tx1"/>
          </a:solidFill>
          <a:latin typeface="SLB Sans" panose="02000503040000020004" pitchFamily="2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2pPr>
      <a:lvl3pPr marL="342900" indent="-3429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→"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3pPr>
      <a:lvl4pPr marL="684000" indent="-3420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−"/>
        <a:tabLst/>
        <a:defRPr sz="18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12">
          <p15:clr>
            <a:srgbClr val="F26B43"/>
          </p15:clr>
        </p15:guide>
        <p15:guide id="2" pos="288">
          <p15:clr>
            <a:srgbClr val="F26B43"/>
          </p15:clr>
        </p15:guide>
        <p15:guide id="3" pos="7479">
          <p15:clr>
            <a:srgbClr val="F26B43"/>
          </p15:clr>
        </p15:guide>
        <p15:guide id="4" pos="4028">
          <p15:clr>
            <a:srgbClr val="F26B43"/>
          </p15:clr>
        </p15:guide>
        <p15:guide id="5" pos="2588">
          <p15:clr>
            <a:srgbClr val="F26B43"/>
          </p15:clr>
        </p15:guide>
        <p15:guide id="6" pos="5180">
          <p15:clr>
            <a:srgbClr val="F26B43"/>
          </p15:clr>
        </p15:guide>
        <p15:guide id="7" orient="horz" pos="288">
          <p15:clr>
            <a:srgbClr val="F26B43"/>
          </p15:clr>
        </p15:guide>
        <p15:guide id="10" orient="horz" pos="4028">
          <p15:clr>
            <a:srgbClr val="F26B43"/>
          </p15:clr>
        </p15:guide>
        <p15:guide id="11" orient="horz" pos="1436">
          <p15:clr>
            <a:srgbClr val="F26B43"/>
          </p15:clr>
        </p15:guide>
        <p15:guide id="12" orient="horz" pos="1152">
          <p15:clr>
            <a:srgbClr val="F26B43"/>
          </p15:clr>
        </p15:guide>
        <p15:guide id="13" orient="horz" pos="867">
          <p15:clr>
            <a:srgbClr val="F26B43"/>
          </p15:clr>
        </p15:guide>
        <p15:guide id="14" orient="horz" pos="576">
          <p15:clr>
            <a:srgbClr val="F26B43"/>
          </p15:clr>
        </p15:guide>
        <p15:guide id="15" orient="horz" pos="1728">
          <p15:clr>
            <a:srgbClr val="F26B43"/>
          </p15:clr>
        </p15:guide>
        <p15:guide id="16" orient="horz" pos="2302">
          <p15:clr>
            <a:srgbClr val="F26B43"/>
          </p15:clr>
        </p15:guide>
        <p15:guide id="17" orient="horz" pos="2588">
          <p15:clr>
            <a:srgbClr val="F26B43"/>
          </p15:clr>
        </p15:guide>
        <p15:guide id="18" orient="horz" pos="2878">
          <p15:clr>
            <a:srgbClr val="F26B43"/>
          </p15:clr>
        </p15:guide>
        <p15:guide id="19" orient="horz" pos="3164">
          <p15:clr>
            <a:srgbClr val="F26B43"/>
          </p15:clr>
        </p15:guide>
        <p15:guide id="20" orient="horz" pos="3454">
          <p15:clr>
            <a:srgbClr val="F26B43"/>
          </p15:clr>
        </p15:guide>
        <p15:guide id="21" orient="horz" pos="3740">
          <p15:clr>
            <a:srgbClr val="F26B43"/>
          </p15:clr>
        </p15:guide>
        <p15:guide id="22" pos="6903">
          <p15:clr>
            <a:srgbClr val="F26B43"/>
          </p15:clr>
        </p15:guide>
        <p15:guide id="23" pos="6620">
          <p15:clr>
            <a:srgbClr val="F26B43"/>
          </p15:clr>
        </p15:guide>
        <p15:guide id="24" pos="6327">
          <p15:clr>
            <a:srgbClr val="F26B43"/>
          </p15:clr>
        </p15:guide>
        <p15:guide id="25" pos="6044">
          <p15:clr>
            <a:srgbClr val="F26B43"/>
          </p15:clr>
        </p15:guide>
        <p15:guide id="26" pos="5751">
          <p15:clr>
            <a:srgbClr val="F26B43"/>
          </p15:clr>
        </p15:guide>
        <p15:guide id="27" pos="5468">
          <p15:clr>
            <a:srgbClr val="F26B43"/>
          </p15:clr>
        </p15:guide>
        <p15:guide id="28" pos="576">
          <p15:clr>
            <a:srgbClr val="F26B43"/>
          </p15:clr>
        </p15:guide>
        <p15:guide id="29" pos="864">
          <p15:clr>
            <a:srgbClr val="F26B43"/>
          </p15:clr>
        </p15:guide>
        <p15:guide id="30" pos="1152">
          <p15:clr>
            <a:srgbClr val="F26B43"/>
          </p15:clr>
        </p15:guide>
        <p15:guide id="31" pos="1436">
          <p15:clr>
            <a:srgbClr val="F26B43"/>
          </p15:clr>
        </p15:guide>
        <p15:guide id="32" pos="1728">
          <p15:clr>
            <a:srgbClr val="F26B43"/>
          </p15:clr>
        </p15:guide>
        <p15:guide id="33" pos="2012">
          <p15:clr>
            <a:srgbClr val="F26B43"/>
          </p15:clr>
        </p15:guide>
        <p15:guide id="34" pos="2304">
          <p15:clr>
            <a:srgbClr val="F26B43"/>
          </p15:clr>
        </p15:guide>
        <p15:guide id="35" pos="2880">
          <p15:clr>
            <a:srgbClr val="F26B43"/>
          </p15:clr>
        </p15:guide>
        <p15:guide id="36" pos="3164">
          <p15:clr>
            <a:srgbClr val="F26B43"/>
          </p15:clr>
        </p15:guide>
        <p15:guide id="37" pos="3454">
          <p15:clr>
            <a:srgbClr val="F26B43"/>
          </p15:clr>
        </p15:guide>
        <p15:guide id="38" pos="3740">
          <p15:clr>
            <a:srgbClr val="F26B43"/>
          </p15:clr>
        </p15:guide>
        <p15:guide id="39" pos="4316">
          <p15:clr>
            <a:srgbClr val="F26B43"/>
          </p15:clr>
        </p15:guide>
        <p15:guide id="40" pos="4599">
          <p15:clr>
            <a:srgbClr val="F26B43"/>
          </p15:clr>
        </p15:guide>
        <p15:guide id="41" pos="4892">
          <p15:clr>
            <a:srgbClr val="F26B43"/>
          </p15:clr>
        </p15:guide>
        <p15:guide id="42" pos="719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BB924C9-6A71-4F2F-9239-8E8959CF39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432334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81" imgH="381" progId="TCLayout.ActiveDocument.1">
                  <p:embed/>
                </p:oleObj>
              </mc:Choice>
              <mc:Fallback>
                <p:oleObj name="think-cell Slide" r:id="rId32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BB924C9-6A71-4F2F-9239-8E8959CF39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49EABB9-5766-FE25-E328-FE5B7131BF60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DE3E0C-92A3-427B-ED53-25D02A3C95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3"/>
            <a:ext cx="3200400" cy="36960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8FA5F5-A6F4-83D6-C2D2-CBF04F8F21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6042" y="422313"/>
            <a:ext cx="7296870" cy="55149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12F1DC-96E6-798D-E5E3-433DC019F1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GB"/>
              <a:t>Private. In/Ex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6CEF17-E52C-6D06-E631-5CAE767304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8701" y="6411198"/>
            <a:ext cx="684212" cy="23024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6A9A6DF-3763-3CCF-90BF-390EEEDB4D55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223A246-B222-A48F-E6AA-D034286B03A0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04662" y="6705600"/>
            <a:ext cx="6111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B-Private</a:t>
            </a:r>
          </a:p>
        </p:txBody>
      </p:sp>
    </p:spTree>
    <p:extLst>
      <p:ext uri="{BB962C8B-B14F-4D97-AF65-F5344CB8AC3E}">
        <p14:creationId xmlns:p14="http://schemas.microsoft.com/office/powerpoint/2010/main" val="620743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  <p:sldLayoutId id="2147483882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888" r:id="rId13"/>
    <p:sldLayoutId id="2147483889" r:id="rId14"/>
    <p:sldLayoutId id="2147483890" r:id="rId15"/>
    <p:sldLayoutId id="2147483891" r:id="rId16"/>
    <p:sldLayoutId id="2147483892" r:id="rId17"/>
    <p:sldLayoutId id="2147483893" r:id="rId18"/>
    <p:sldLayoutId id="2147483894" r:id="rId19"/>
    <p:sldLayoutId id="2147483895" r:id="rId20"/>
    <p:sldLayoutId id="2147483896" r:id="rId21"/>
    <p:sldLayoutId id="2147483897" r:id="rId22"/>
    <p:sldLayoutId id="2147483898" r:id="rId23"/>
    <p:sldLayoutId id="2147483899" r:id="rId24"/>
    <p:sldLayoutId id="2147483900" r:id="rId25"/>
    <p:sldLayoutId id="2147483901" r:id="rId26"/>
    <p:sldLayoutId id="2147483902" r:id="rId27"/>
    <p:sldLayoutId id="2147483903" r:id="rId28"/>
    <p:sldLayoutId id="2147483904" r:id="rId2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1" i="0" kern="1200">
          <a:solidFill>
            <a:schemeClr val="accent1"/>
          </a:solidFill>
          <a:latin typeface="SLB Sans" panose="02000503040000020004" pitchFamily="2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accent1"/>
          </a:solidFill>
          <a:latin typeface="SLB Sans Book" panose="02000503040000020004" pitchFamily="2" charset="0"/>
          <a:ea typeface="+mn-ea"/>
          <a:cs typeface="+mn-cs"/>
        </a:defRPr>
      </a:lvl2pPr>
      <a:lvl3pPr marL="342900" indent="-3429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→"/>
        <a:defRPr sz="2000" b="0" kern="1200">
          <a:solidFill>
            <a:schemeClr val="accent1"/>
          </a:solidFill>
          <a:latin typeface="SLB Sans Book" panose="02000503040000020004" pitchFamily="2" charset="0"/>
          <a:ea typeface="+mn-ea"/>
          <a:cs typeface="+mn-cs"/>
        </a:defRPr>
      </a:lvl3pPr>
      <a:lvl4pPr marL="684000" indent="-3420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−"/>
        <a:tabLst/>
        <a:defRPr sz="1800" b="0" kern="1200">
          <a:solidFill>
            <a:schemeClr val="accent1"/>
          </a:solidFill>
          <a:latin typeface="SLB Sans Book" panose="02000503040000020004" pitchFamily="2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accent1"/>
          </a:solidFill>
          <a:latin typeface="SLB Sans Book" panose="0200050304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12">
          <p15:clr>
            <a:srgbClr val="F26B43"/>
          </p15:clr>
        </p15:guide>
        <p15:guide id="2" pos="288">
          <p15:clr>
            <a:srgbClr val="F26B43"/>
          </p15:clr>
        </p15:guide>
        <p15:guide id="3" pos="7479">
          <p15:clr>
            <a:srgbClr val="F26B43"/>
          </p15:clr>
        </p15:guide>
        <p15:guide id="4" pos="4028">
          <p15:clr>
            <a:srgbClr val="F26B43"/>
          </p15:clr>
        </p15:guide>
        <p15:guide id="5" pos="2588">
          <p15:clr>
            <a:srgbClr val="F26B43"/>
          </p15:clr>
        </p15:guide>
        <p15:guide id="6" pos="5180">
          <p15:clr>
            <a:srgbClr val="F26B43"/>
          </p15:clr>
        </p15:guide>
        <p15:guide id="7" orient="horz" pos="288">
          <p15:clr>
            <a:srgbClr val="F26B43"/>
          </p15:clr>
        </p15:guide>
        <p15:guide id="10" orient="horz" pos="4028">
          <p15:clr>
            <a:srgbClr val="F26B43"/>
          </p15:clr>
        </p15:guide>
        <p15:guide id="11" orient="horz" pos="1436">
          <p15:clr>
            <a:srgbClr val="F26B43"/>
          </p15:clr>
        </p15:guide>
        <p15:guide id="12" orient="horz" pos="1152">
          <p15:clr>
            <a:srgbClr val="F26B43"/>
          </p15:clr>
        </p15:guide>
        <p15:guide id="13" orient="horz" pos="867">
          <p15:clr>
            <a:srgbClr val="F26B43"/>
          </p15:clr>
        </p15:guide>
        <p15:guide id="14" orient="horz" pos="576">
          <p15:clr>
            <a:srgbClr val="F26B43"/>
          </p15:clr>
        </p15:guide>
        <p15:guide id="15" orient="horz" pos="1728">
          <p15:clr>
            <a:srgbClr val="F26B43"/>
          </p15:clr>
        </p15:guide>
        <p15:guide id="16" orient="horz" pos="2302">
          <p15:clr>
            <a:srgbClr val="F26B43"/>
          </p15:clr>
        </p15:guide>
        <p15:guide id="17" orient="horz" pos="2588">
          <p15:clr>
            <a:srgbClr val="F26B43"/>
          </p15:clr>
        </p15:guide>
        <p15:guide id="18" orient="horz" pos="2878">
          <p15:clr>
            <a:srgbClr val="F26B43"/>
          </p15:clr>
        </p15:guide>
        <p15:guide id="19" orient="horz" pos="3164">
          <p15:clr>
            <a:srgbClr val="F26B43"/>
          </p15:clr>
        </p15:guide>
        <p15:guide id="20" orient="horz" pos="3454">
          <p15:clr>
            <a:srgbClr val="F26B43"/>
          </p15:clr>
        </p15:guide>
        <p15:guide id="21" orient="horz" pos="3740">
          <p15:clr>
            <a:srgbClr val="F26B43"/>
          </p15:clr>
        </p15:guide>
        <p15:guide id="22" pos="6903">
          <p15:clr>
            <a:srgbClr val="F26B43"/>
          </p15:clr>
        </p15:guide>
        <p15:guide id="23" pos="6620">
          <p15:clr>
            <a:srgbClr val="F26B43"/>
          </p15:clr>
        </p15:guide>
        <p15:guide id="24" pos="6327">
          <p15:clr>
            <a:srgbClr val="F26B43"/>
          </p15:clr>
        </p15:guide>
        <p15:guide id="25" pos="6044">
          <p15:clr>
            <a:srgbClr val="F26B43"/>
          </p15:clr>
        </p15:guide>
        <p15:guide id="26" pos="5751">
          <p15:clr>
            <a:srgbClr val="F26B43"/>
          </p15:clr>
        </p15:guide>
        <p15:guide id="27" pos="5468">
          <p15:clr>
            <a:srgbClr val="F26B43"/>
          </p15:clr>
        </p15:guide>
        <p15:guide id="28" pos="576">
          <p15:clr>
            <a:srgbClr val="F26B43"/>
          </p15:clr>
        </p15:guide>
        <p15:guide id="29" pos="864">
          <p15:clr>
            <a:srgbClr val="F26B43"/>
          </p15:clr>
        </p15:guide>
        <p15:guide id="30" pos="1152">
          <p15:clr>
            <a:srgbClr val="F26B43"/>
          </p15:clr>
        </p15:guide>
        <p15:guide id="31" pos="1436">
          <p15:clr>
            <a:srgbClr val="F26B43"/>
          </p15:clr>
        </p15:guide>
        <p15:guide id="32" pos="1728">
          <p15:clr>
            <a:srgbClr val="F26B43"/>
          </p15:clr>
        </p15:guide>
        <p15:guide id="33" pos="2012">
          <p15:clr>
            <a:srgbClr val="F26B43"/>
          </p15:clr>
        </p15:guide>
        <p15:guide id="34" pos="2304">
          <p15:clr>
            <a:srgbClr val="F26B43"/>
          </p15:clr>
        </p15:guide>
        <p15:guide id="35" pos="2880">
          <p15:clr>
            <a:srgbClr val="F26B43"/>
          </p15:clr>
        </p15:guide>
        <p15:guide id="36" pos="3164">
          <p15:clr>
            <a:srgbClr val="F26B43"/>
          </p15:clr>
        </p15:guide>
        <p15:guide id="37" pos="3454">
          <p15:clr>
            <a:srgbClr val="F26B43"/>
          </p15:clr>
        </p15:guide>
        <p15:guide id="38" pos="3740">
          <p15:clr>
            <a:srgbClr val="F26B43"/>
          </p15:clr>
        </p15:guide>
        <p15:guide id="39" pos="4316">
          <p15:clr>
            <a:srgbClr val="F26B43"/>
          </p15:clr>
        </p15:guide>
        <p15:guide id="40" pos="4599">
          <p15:clr>
            <a:srgbClr val="F26B43"/>
          </p15:clr>
        </p15:guide>
        <p15:guide id="41" pos="4892">
          <p15:clr>
            <a:srgbClr val="F26B43"/>
          </p15:clr>
        </p15:guide>
        <p15:guide id="42" pos="719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A744930-9D44-4813-99E9-05172257B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899237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81" imgH="381" progId="TCLayout.ActiveDocument.1">
                  <p:embed/>
                </p:oleObj>
              </mc:Choice>
              <mc:Fallback>
                <p:oleObj name="think-cell Slide" r:id="rId32" imgW="381" imgH="38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A744930-9D44-4813-99E9-05172257B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49EABB9-5766-FE25-E328-FE5B7131BF60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DE3E0C-92A3-427B-ED53-25D02A3C95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3"/>
            <a:ext cx="3200400" cy="36960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8FA5F5-A6F4-83D6-C2D2-CBF04F8F21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6042" y="422313"/>
            <a:ext cx="7296870" cy="55149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12F1DC-96E6-798D-E5E3-433DC019F1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GB"/>
              <a:t>Private. In/External use only.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6CEF17-E52C-6D06-E631-5CAE767304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8701" y="6411198"/>
            <a:ext cx="684212" cy="23024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2737C662-D0ED-4587-B264-5C4F0D975D1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6A9A6DF-3763-3CCF-90BF-390EEEDB4D55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518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6" r:id="rId1"/>
    <p:sldLayoutId id="2147483907" r:id="rId2"/>
    <p:sldLayoutId id="2147483908" r:id="rId3"/>
    <p:sldLayoutId id="2147483909" r:id="rId4"/>
    <p:sldLayoutId id="2147483910" r:id="rId5"/>
    <p:sldLayoutId id="2147483911" r:id="rId6"/>
    <p:sldLayoutId id="2147483912" r:id="rId7"/>
    <p:sldLayoutId id="2147483913" r:id="rId8"/>
    <p:sldLayoutId id="2147483914" r:id="rId9"/>
    <p:sldLayoutId id="2147483915" r:id="rId10"/>
    <p:sldLayoutId id="2147483916" r:id="rId11"/>
    <p:sldLayoutId id="2147483917" r:id="rId12"/>
    <p:sldLayoutId id="2147483918" r:id="rId13"/>
    <p:sldLayoutId id="2147483919" r:id="rId14"/>
    <p:sldLayoutId id="2147483920" r:id="rId15"/>
    <p:sldLayoutId id="2147483921" r:id="rId16"/>
    <p:sldLayoutId id="2147483922" r:id="rId17"/>
    <p:sldLayoutId id="2147483923" r:id="rId18"/>
    <p:sldLayoutId id="2147483924" r:id="rId19"/>
    <p:sldLayoutId id="2147483925" r:id="rId20"/>
    <p:sldLayoutId id="2147483926" r:id="rId21"/>
    <p:sldLayoutId id="2147483927" r:id="rId22"/>
    <p:sldLayoutId id="2147483928" r:id="rId23"/>
    <p:sldLayoutId id="2147483929" r:id="rId24"/>
    <p:sldLayoutId id="2147483930" r:id="rId25"/>
    <p:sldLayoutId id="2147483931" r:id="rId26"/>
    <p:sldLayoutId id="2147483932" r:id="rId27"/>
    <p:sldLayoutId id="2147483933" r:id="rId28"/>
    <p:sldLayoutId id="2147483934" r:id="rId2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1" i="0" kern="1200">
          <a:solidFill>
            <a:schemeClr val="accent1"/>
          </a:solidFill>
          <a:latin typeface="SLB Sans" panose="02000503040000020004" pitchFamily="2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accent1"/>
          </a:solidFill>
          <a:latin typeface="SLB Sans Book" panose="02000503040000020004" pitchFamily="2" charset="0"/>
          <a:ea typeface="+mn-ea"/>
          <a:cs typeface="+mn-cs"/>
        </a:defRPr>
      </a:lvl2pPr>
      <a:lvl3pPr marL="342900" indent="-3429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→"/>
        <a:defRPr sz="2000" b="0" kern="1200">
          <a:solidFill>
            <a:schemeClr val="accent1"/>
          </a:solidFill>
          <a:latin typeface="SLB Sans Book" panose="02000503040000020004" pitchFamily="2" charset="0"/>
          <a:ea typeface="+mn-ea"/>
          <a:cs typeface="+mn-cs"/>
        </a:defRPr>
      </a:lvl3pPr>
      <a:lvl4pPr marL="684000" indent="-3420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−"/>
        <a:tabLst/>
        <a:defRPr sz="1800" b="0" kern="1200">
          <a:solidFill>
            <a:schemeClr val="accent1"/>
          </a:solidFill>
          <a:latin typeface="SLB Sans Book" panose="02000503040000020004" pitchFamily="2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accent1"/>
          </a:solidFill>
          <a:latin typeface="SLB Sans Book" panose="0200050304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12">
          <p15:clr>
            <a:srgbClr val="F26B43"/>
          </p15:clr>
        </p15:guide>
        <p15:guide id="2" pos="288">
          <p15:clr>
            <a:srgbClr val="F26B43"/>
          </p15:clr>
        </p15:guide>
        <p15:guide id="3" pos="7479">
          <p15:clr>
            <a:srgbClr val="F26B43"/>
          </p15:clr>
        </p15:guide>
        <p15:guide id="4" pos="4028">
          <p15:clr>
            <a:srgbClr val="F26B43"/>
          </p15:clr>
        </p15:guide>
        <p15:guide id="5" pos="2588">
          <p15:clr>
            <a:srgbClr val="F26B43"/>
          </p15:clr>
        </p15:guide>
        <p15:guide id="6" pos="5180">
          <p15:clr>
            <a:srgbClr val="F26B43"/>
          </p15:clr>
        </p15:guide>
        <p15:guide id="7" orient="horz" pos="288">
          <p15:clr>
            <a:srgbClr val="F26B43"/>
          </p15:clr>
        </p15:guide>
        <p15:guide id="10" orient="horz" pos="4028">
          <p15:clr>
            <a:srgbClr val="F26B43"/>
          </p15:clr>
        </p15:guide>
        <p15:guide id="11" orient="horz" pos="1436">
          <p15:clr>
            <a:srgbClr val="F26B43"/>
          </p15:clr>
        </p15:guide>
        <p15:guide id="12" orient="horz" pos="1152">
          <p15:clr>
            <a:srgbClr val="F26B43"/>
          </p15:clr>
        </p15:guide>
        <p15:guide id="13" orient="horz" pos="867">
          <p15:clr>
            <a:srgbClr val="F26B43"/>
          </p15:clr>
        </p15:guide>
        <p15:guide id="14" orient="horz" pos="576">
          <p15:clr>
            <a:srgbClr val="F26B43"/>
          </p15:clr>
        </p15:guide>
        <p15:guide id="15" orient="horz" pos="1728">
          <p15:clr>
            <a:srgbClr val="F26B43"/>
          </p15:clr>
        </p15:guide>
        <p15:guide id="16" orient="horz" pos="2302">
          <p15:clr>
            <a:srgbClr val="F26B43"/>
          </p15:clr>
        </p15:guide>
        <p15:guide id="17" orient="horz" pos="2588">
          <p15:clr>
            <a:srgbClr val="F26B43"/>
          </p15:clr>
        </p15:guide>
        <p15:guide id="18" orient="horz" pos="2878">
          <p15:clr>
            <a:srgbClr val="F26B43"/>
          </p15:clr>
        </p15:guide>
        <p15:guide id="19" orient="horz" pos="3164">
          <p15:clr>
            <a:srgbClr val="F26B43"/>
          </p15:clr>
        </p15:guide>
        <p15:guide id="20" orient="horz" pos="3454">
          <p15:clr>
            <a:srgbClr val="F26B43"/>
          </p15:clr>
        </p15:guide>
        <p15:guide id="21" orient="horz" pos="3740">
          <p15:clr>
            <a:srgbClr val="F26B43"/>
          </p15:clr>
        </p15:guide>
        <p15:guide id="22" pos="6903">
          <p15:clr>
            <a:srgbClr val="F26B43"/>
          </p15:clr>
        </p15:guide>
        <p15:guide id="23" pos="6620">
          <p15:clr>
            <a:srgbClr val="F26B43"/>
          </p15:clr>
        </p15:guide>
        <p15:guide id="24" pos="6327">
          <p15:clr>
            <a:srgbClr val="F26B43"/>
          </p15:clr>
        </p15:guide>
        <p15:guide id="25" pos="6044">
          <p15:clr>
            <a:srgbClr val="F26B43"/>
          </p15:clr>
        </p15:guide>
        <p15:guide id="26" pos="5751">
          <p15:clr>
            <a:srgbClr val="F26B43"/>
          </p15:clr>
        </p15:guide>
        <p15:guide id="27" pos="5468">
          <p15:clr>
            <a:srgbClr val="F26B43"/>
          </p15:clr>
        </p15:guide>
        <p15:guide id="28" pos="576">
          <p15:clr>
            <a:srgbClr val="F26B43"/>
          </p15:clr>
        </p15:guide>
        <p15:guide id="29" pos="864">
          <p15:clr>
            <a:srgbClr val="F26B43"/>
          </p15:clr>
        </p15:guide>
        <p15:guide id="30" pos="1152">
          <p15:clr>
            <a:srgbClr val="F26B43"/>
          </p15:clr>
        </p15:guide>
        <p15:guide id="31" pos="1436">
          <p15:clr>
            <a:srgbClr val="F26B43"/>
          </p15:clr>
        </p15:guide>
        <p15:guide id="32" pos="1728">
          <p15:clr>
            <a:srgbClr val="F26B43"/>
          </p15:clr>
        </p15:guide>
        <p15:guide id="33" pos="2012">
          <p15:clr>
            <a:srgbClr val="F26B43"/>
          </p15:clr>
        </p15:guide>
        <p15:guide id="34" pos="2304">
          <p15:clr>
            <a:srgbClr val="F26B43"/>
          </p15:clr>
        </p15:guide>
        <p15:guide id="35" pos="2880">
          <p15:clr>
            <a:srgbClr val="F26B43"/>
          </p15:clr>
        </p15:guide>
        <p15:guide id="36" pos="3164">
          <p15:clr>
            <a:srgbClr val="F26B43"/>
          </p15:clr>
        </p15:guide>
        <p15:guide id="37" pos="3454">
          <p15:clr>
            <a:srgbClr val="F26B43"/>
          </p15:clr>
        </p15:guide>
        <p15:guide id="38" pos="3740">
          <p15:clr>
            <a:srgbClr val="F26B43"/>
          </p15:clr>
        </p15:guide>
        <p15:guide id="39" pos="4316">
          <p15:clr>
            <a:srgbClr val="F26B43"/>
          </p15:clr>
        </p15:guide>
        <p15:guide id="40" pos="4599">
          <p15:clr>
            <a:srgbClr val="F26B43"/>
          </p15:clr>
        </p15:guide>
        <p15:guide id="41" pos="4892">
          <p15:clr>
            <a:srgbClr val="F26B43"/>
          </p15:clr>
        </p15:guide>
        <p15:guide id="42" pos="719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68D90FA-D648-4EBD-9E36-EF87BD8B62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073644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360" imgH="360" progId="TCLayout.ActiveDocument.1">
                  <p:embed/>
                </p:oleObj>
              </mc:Choice>
              <mc:Fallback>
                <p:oleObj name="think-cell Slide" r:id="rId34" imgW="360" imgH="36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68D90FA-D648-4EBD-9E36-EF87BD8B62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49EABB9-5766-FE25-E328-FE5B7131BF60}"/>
              </a:ext>
            </a:extLst>
          </p:cNvPr>
          <p:cNvSpPr/>
          <p:nvPr userDrawn="1"/>
        </p:nvSpPr>
        <p:spPr>
          <a:xfrm>
            <a:off x="0" y="0"/>
            <a:ext cx="4108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DE3E0C-92A3-427B-ED53-25D02A3C95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3"/>
            <a:ext cx="3200400" cy="36960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8FA5F5-A6F4-83D6-C2D2-CBF04F8F21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6042" y="422313"/>
            <a:ext cx="7296870" cy="55149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12F1DC-96E6-798D-E5E3-433DC019F1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28435" y="6391587"/>
            <a:ext cx="9367616" cy="24985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GB"/>
              <a:t>Global footer where sharing status is set. Internal use onl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6CEF17-E52C-6D06-E631-5CAE767304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8701" y="6411198"/>
            <a:ext cx="684212" cy="23024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2737C662-D0ED-4587-B264-5C4F0D975D18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9DCADAA-AE45-1053-A04D-8E58E58654FE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47469DD-D1C0-45A3-B4FD-D1F27F9592A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04662" y="6642100"/>
            <a:ext cx="6111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B-Private</a:t>
            </a:r>
          </a:p>
        </p:txBody>
      </p:sp>
    </p:spTree>
    <p:extLst>
      <p:ext uri="{BB962C8B-B14F-4D97-AF65-F5344CB8AC3E}">
        <p14:creationId xmlns:p14="http://schemas.microsoft.com/office/powerpoint/2010/main" val="4198955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  <p:sldLayoutId id="2147483937" r:id="rId2"/>
    <p:sldLayoutId id="2147483938" r:id="rId3"/>
    <p:sldLayoutId id="2147483939" r:id="rId4"/>
    <p:sldLayoutId id="2147483940" r:id="rId5"/>
    <p:sldLayoutId id="2147483941" r:id="rId6"/>
    <p:sldLayoutId id="2147483942" r:id="rId7"/>
    <p:sldLayoutId id="2147483943" r:id="rId8"/>
    <p:sldLayoutId id="2147483944" r:id="rId9"/>
    <p:sldLayoutId id="2147483945" r:id="rId10"/>
    <p:sldLayoutId id="2147483946" r:id="rId11"/>
    <p:sldLayoutId id="2147483947" r:id="rId12"/>
    <p:sldLayoutId id="2147483948" r:id="rId13"/>
    <p:sldLayoutId id="2147483949" r:id="rId14"/>
    <p:sldLayoutId id="2147483950" r:id="rId15"/>
    <p:sldLayoutId id="2147483951" r:id="rId16"/>
    <p:sldLayoutId id="2147483952" r:id="rId17"/>
    <p:sldLayoutId id="2147483953" r:id="rId18"/>
    <p:sldLayoutId id="2147483954" r:id="rId19"/>
    <p:sldLayoutId id="2147483955" r:id="rId20"/>
    <p:sldLayoutId id="2147483956" r:id="rId21"/>
    <p:sldLayoutId id="2147483957" r:id="rId22"/>
    <p:sldLayoutId id="2147483958" r:id="rId23"/>
    <p:sldLayoutId id="2147483959" r:id="rId24"/>
    <p:sldLayoutId id="2147483960" r:id="rId25"/>
    <p:sldLayoutId id="2147483961" r:id="rId26"/>
    <p:sldLayoutId id="2147483962" r:id="rId27"/>
    <p:sldLayoutId id="2147483963" r:id="rId28"/>
    <p:sldLayoutId id="2147483964" r:id="rId29"/>
    <p:sldLayoutId id="2147483965" r:id="rId30"/>
    <p:sldLayoutId id="2147483966" r:id="rId3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1" i="0" kern="1200">
          <a:solidFill>
            <a:schemeClr val="tx1"/>
          </a:solidFill>
          <a:latin typeface="SLB Sans" panose="02000503040000020004" pitchFamily="2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2pPr>
      <a:lvl3pPr marL="342900" indent="-3429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→"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3pPr>
      <a:lvl4pPr marL="684000" indent="-34200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SLB Sans Book" panose="02000503040000020004" pitchFamily="2" charset="0"/>
        <a:buChar char="−"/>
        <a:tabLst/>
        <a:defRPr sz="18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9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SLB Sans Book" panose="0200050304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12">
          <p15:clr>
            <a:srgbClr val="F26B43"/>
          </p15:clr>
        </p15:guide>
        <p15:guide id="2" pos="288">
          <p15:clr>
            <a:srgbClr val="F26B43"/>
          </p15:clr>
        </p15:guide>
        <p15:guide id="3" pos="7479">
          <p15:clr>
            <a:srgbClr val="F26B43"/>
          </p15:clr>
        </p15:guide>
        <p15:guide id="4" pos="4028">
          <p15:clr>
            <a:srgbClr val="F26B43"/>
          </p15:clr>
        </p15:guide>
        <p15:guide id="5" pos="2588">
          <p15:clr>
            <a:srgbClr val="F26B43"/>
          </p15:clr>
        </p15:guide>
        <p15:guide id="6" pos="5180">
          <p15:clr>
            <a:srgbClr val="F26B43"/>
          </p15:clr>
        </p15:guide>
        <p15:guide id="7" orient="horz" pos="288">
          <p15:clr>
            <a:srgbClr val="F26B43"/>
          </p15:clr>
        </p15:guide>
        <p15:guide id="10" orient="horz" pos="4028">
          <p15:clr>
            <a:srgbClr val="F26B43"/>
          </p15:clr>
        </p15:guide>
        <p15:guide id="11" orient="horz" pos="1436">
          <p15:clr>
            <a:srgbClr val="F26B43"/>
          </p15:clr>
        </p15:guide>
        <p15:guide id="12" orient="horz" pos="1152">
          <p15:clr>
            <a:srgbClr val="F26B43"/>
          </p15:clr>
        </p15:guide>
        <p15:guide id="13" orient="horz" pos="867">
          <p15:clr>
            <a:srgbClr val="F26B43"/>
          </p15:clr>
        </p15:guide>
        <p15:guide id="14" orient="horz" pos="576">
          <p15:clr>
            <a:srgbClr val="F26B43"/>
          </p15:clr>
        </p15:guide>
        <p15:guide id="15" orient="horz" pos="1728">
          <p15:clr>
            <a:srgbClr val="F26B43"/>
          </p15:clr>
        </p15:guide>
        <p15:guide id="16" orient="horz" pos="2302">
          <p15:clr>
            <a:srgbClr val="F26B43"/>
          </p15:clr>
        </p15:guide>
        <p15:guide id="17" orient="horz" pos="2588">
          <p15:clr>
            <a:srgbClr val="F26B43"/>
          </p15:clr>
        </p15:guide>
        <p15:guide id="18" orient="horz" pos="2878">
          <p15:clr>
            <a:srgbClr val="F26B43"/>
          </p15:clr>
        </p15:guide>
        <p15:guide id="19" orient="horz" pos="3164">
          <p15:clr>
            <a:srgbClr val="F26B43"/>
          </p15:clr>
        </p15:guide>
        <p15:guide id="20" orient="horz" pos="3454">
          <p15:clr>
            <a:srgbClr val="F26B43"/>
          </p15:clr>
        </p15:guide>
        <p15:guide id="21" orient="horz" pos="3740">
          <p15:clr>
            <a:srgbClr val="F26B43"/>
          </p15:clr>
        </p15:guide>
        <p15:guide id="22" pos="6903">
          <p15:clr>
            <a:srgbClr val="F26B43"/>
          </p15:clr>
        </p15:guide>
        <p15:guide id="23" pos="6620">
          <p15:clr>
            <a:srgbClr val="F26B43"/>
          </p15:clr>
        </p15:guide>
        <p15:guide id="24" pos="6327">
          <p15:clr>
            <a:srgbClr val="F26B43"/>
          </p15:clr>
        </p15:guide>
        <p15:guide id="25" pos="6044">
          <p15:clr>
            <a:srgbClr val="F26B43"/>
          </p15:clr>
        </p15:guide>
        <p15:guide id="26" pos="5751">
          <p15:clr>
            <a:srgbClr val="F26B43"/>
          </p15:clr>
        </p15:guide>
        <p15:guide id="27" pos="5468">
          <p15:clr>
            <a:srgbClr val="F26B43"/>
          </p15:clr>
        </p15:guide>
        <p15:guide id="28" pos="576">
          <p15:clr>
            <a:srgbClr val="F26B43"/>
          </p15:clr>
        </p15:guide>
        <p15:guide id="29" pos="864">
          <p15:clr>
            <a:srgbClr val="F26B43"/>
          </p15:clr>
        </p15:guide>
        <p15:guide id="30" pos="1152">
          <p15:clr>
            <a:srgbClr val="F26B43"/>
          </p15:clr>
        </p15:guide>
        <p15:guide id="31" pos="1436">
          <p15:clr>
            <a:srgbClr val="F26B43"/>
          </p15:clr>
        </p15:guide>
        <p15:guide id="32" pos="1728">
          <p15:clr>
            <a:srgbClr val="F26B43"/>
          </p15:clr>
        </p15:guide>
        <p15:guide id="33" pos="2012">
          <p15:clr>
            <a:srgbClr val="F26B43"/>
          </p15:clr>
        </p15:guide>
        <p15:guide id="34" pos="2304">
          <p15:clr>
            <a:srgbClr val="F26B43"/>
          </p15:clr>
        </p15:guide>
        <p15:guide id="35" pos="2880">
          <p15:clr>
            <a:srgbClr val="F26B43"/>
          </p15:clr>
        </p15:guide>
        <p15:guide id="36" pos="3164">
          <p15:clr>
            <a:srgbClr val="F26B43"/>
          </p15:clr>
        </p15:guide>
        <p15:guide id="37" pos="3454">
          <p15:clr>
            <a:srgbClr val="F26B43"/>
          </p15:clr>
        </p15:guide>
        <p15:guide id="38" pos="3740">
          <p15:clr>
            <a:srgbClr val="F26B43"/>
          </p15:clr>
        </p15:guide>
        <p15:guide id="39" pos="4316">
          <p15:clr>
            <a:srgbClr val="F26B43"/>
          </p15:clr>
        </p15:guide>
        <p15:guide id="40" pos="4599">
          <p15:clr>
            <a:srgbClr val="F26B43"/>
          </p15:clr>
        </p15:guide>
        <p15:guide id="41" pos="4892">
          <p15:clr>
            <a:srgbClr val="F26B43"/>
          </p15:clr>
        </p15:guide>
        <p15:guide id="42" pos="719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39.xml"/><Relationship Id="rId6" Type="http://schemas.openxmlformats.org/officeDocument/2006/relationships/image" Target="../media/image32.jpeg"/><Relationship Id="rId5" Type="http://schemas.openxmlformats.org/officeDocument/2006/relationships/image" Target="../media/image31.emf"/><Relationship Id="rId4" Type="http://schemas.openxmlformats.org/officeDocument/2006/relationships/oleObject" Target="../embeddings/oleObject37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png"/><Relationship Id="rId13" Type="http://schemas.openxmlformats.org/officeDocument/2006/relationships/image" Target="../media/image100.png"/><Relationship Id="rId3" Type="http://schemas.openxmlformats.org/officeDocument/2006/relationships/image" Target="../media/image92.png"/><Relationship Id="rId7" Type="http://schemas.openxmlformats.org/officeDocument/2006/relationships/image" Target="../media/image80.svg"/><Relationship Id="rId12" Type="http://schemas.openxmlformats.org/officeDocument/2006/relationships/image" Target="../media/image9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44.xml"/><Relationship Id="rId6" Type="http://schemas.openxmlformats.org/officeDocument/2006/relationships/image" Target="../media/image79.png"/><Relationship Id="rId11" Type="http://schemas.openxmlformats.org/officeDocument/2006/relationships/image" Target="../media/image98.png"/><Relationship Id="rId5" Type="http://schemas.openxmlformats.org/officeDocument/2006/relationships/image" Target="../media/image94.svg"/><Relationship Id="rId10" Type="http://schemas.openxmlformats.org/officeDocument/2006/relationships/image" Target="../media/image97.png"/><Relationship Id="rId4" Type="http://schemas.openxmlformats.org/officeDocument/2006/relationships/image" Target="../media/image93.png"/><Relationship Id="rId9" Type="http://schemas.openxmlformats.org/officeDocument/2006/relationships/image" Target="../media/image96.png"/><Relationship Id="rId14" Type="http://schemas.openxmlformats.org/officeDocument/2006/relationships/image" Target="../media/image101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jpeg"/><Relationship Id="rId1" Type="http://schemas.openxmlformats.org/officeDocument/2006/relationships/slideLayout" Target="../slideLayouts/slideLayout27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7" Type="http://schemas.openxmlformats.org/officeDocument/2006/relationships/image" Target="../media/image3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0.xml"/><Relationship Id="rId6" Type="http://schemas.openxmlformats.org/officeDocument/2006/relationships/image" Target="../media/image2.png"/><Relationship Id="rId5" Type="http://schemas.openxmlformats.org/officeDocument/2006/relationships/image" Target="../media/image104.png"/><Relationship Id="rId4" Type="http://schemas.microsoft.com/office/2007/relationships/hdphoto" Target="../media/hdphoto4.wdp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3" Type="http://schemas.openxmlformats.org/officeDocument/2006/relationships/image" Target="../media/image105.png"/><Relationship Id="rId7" Type="http://schemas.microsoft.com/office/2007/relationships/hdphoto" Target="../media/hdphoto6.wdp"/><Relationship Id="rId12" Type="http://schemas.openxmlformats.org/officeDocument/2006/relationships/image" Target="../media/image1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94.xml"/><Relationship Id="rId6" Type="http://schemas.openxmlformats.org/officeDocument/2006/relationships/image" Target="../media/image107.png"/><Relationship Id="rId11" Type="http://schemas.openxmlformats.org/officeDocument/2006/relationships/image" Target="../media/image110.jpeg"/><Relationship Id="rId5" Type="http://schemas.microsoft.com/office/2007/relationships/hdphoto" Target="../media/hdphoto5.wdp"/><Relationship Id="rId10" Type="http://schemas.openxmlformats.org/officeDocument/2006/relationships/image" Target="../media/image109.png"/><Relationship Id="rId4" Type="http://schemas.openxmlformats.org/officeDocument/2006/relationships/image" Target="../media/image106.png"/><Relationship Id="rId9" Type="http://schemas.microsoft.com/office/2007/relationships/hdphoto" Target="../media/hdphoto7.wdp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94.xml"/><Relationship Id="rId5" Type="http://schemas.openxmlformats.org/officeDocument/2006/relationships/image" Target="../media/image114.png"/><Relationship Id="rId4" Type="http://schemas.openxmlformats.org/officeDocument/2006/relationships/image" Target="../media/image113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jpeg"/><Relationship Id="rId3" Type="http://schemas.openxmlformats.org/officeDocument/2006/relationships/notesSlide" Target="../notesSlides/notesSlide12.xml"/><Relationship Id="rId7" Type="http://schemas.openxmlformats.org/officeDocument/2006/relationships/image" Target="cid:B1A04691-ACF7-4F5D-B711-3E9F15A1C161" TargetMode="External"/><Relationship Id="rId2" Type="http://schemas.openxmlformats.org/officeDocument/2006/relationships/slideLayout" Target="../slideLayouts/slideLayout446.xml"/><Relationship Id="rId1" Type="http://schemas.openxmlformats.org/officeDocument/2006/relationships/tags" Target="../tags/tag92.xml"/><Relationship Id="rId6" Type="http://schemas.openxmlformats.org/officeDocument/2006/relationships/image" Target="../media/image115.jpe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42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477.xml"/><Relationship Id="rId1" Type="http://schemas.openxmlformats.org/officeDocument/2006/relationships/tags" Target="../tags/tag93.xml"/><Relationship Id="rId6" Type="http://schemas.openxmlformats.org/officeDocument/2006/relationships/image" Target="../media/image117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43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image" Target="../media/image118.jpeg"/><Relationship Id="rId1" Type="http://schemas.openxmlformats.org/officeDocument/2006/relationships/slideLayout" Target="../slideLayouts/slideLayout477.xml"/><Relationship Id="rId4" Type="http://schemas.openxmlformats.org/officeDocument/2006/relationships/image" Target="../media/image12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122.png"/><Relationship Id="rId2" Type="http://schemas.openxmlformats.org/officeDocument/2006/relationships/slideLayout" Target="../slideLayouts/slideLayout446.xml"/><Relationship Id="rId1" Type="http://schemas.openxmlformats.org/officeDocument/2006/relationships/tags" Target="../tags/tag94.xml"/><Relationship Id="rId6" Type="http://schemas.openxmlformats.org/officeDocument/2006/relationships/image" Target="../media/image121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44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124.jpeg"/><Relationship Id="rId2" Type="http://schemas.openxmlformats.org/officeDocument/2006/relationships/slideLayout" Target="../slideLayouts/slideLayout259.xml"/><Relationship Id="rId1" Type="http://schemas.openxmlformats.org/officeDocument/2006/relationships/tags" Target="../tags/tag95.xml"/><Relationship Id="rId6" Type="http://schemas.openxmlformats.org/officeDocument/2006/relationships/image" Target="../media/image123.jpeg"/><Relationship Id="rId5" Type="http://schemas.openxmlformats.org/officeDocument/2006/relationships/image" Target="../media/image45.emf"/><Relationship Id="rId4" Type="http://schemas.openxmlformats.org/officeDocument/2006/relationships/oleObject" Target="../embeddings/oleObject45.bin"/><Relationship Id="rId9" Type="http://schemas.openxmlformats.org/officeDocument/2006/relationships/image" Target="../media/image12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7" Type="http://schemas.openxmlformats.org/officeDocument/2006/relationships/image" Target="../media/image23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7.xml"/><Relationship Id="rId6" Type="http://schemas.openxmlformats.org/officeDocument/2006/relationships/image" Target="../media/image37.emf"/><Relationship Id="rId5" Type="http://schemas.openxmlformats.org/officeDocument/2006/relationships/image" Target="../media/image36.emf"/><Relationship Id="rId4" Type="http://schemas.openxmlformats.org/officeDocument/2006/relationships/image" Target="../media/image35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pn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128.svg"/><Relationship Id="rId2" Type="http://schemas.openxmlformats.org/officeDocument/2006/relationships/slideLayout" Target="../slideLayouts/slideLayout371.xml"/><Relationship Id="rId1" Type="http://schemas.openxmlformats.org/officeDocument/2006/relationships/tags" Target="../tags/tag96.xml"/><Relationship Id="rId6" Type="http://schemas.openxmlformats.org/officeDocument/2006/relationships/image" Target="../media/image127.png"/><Relationship Id="rId5" Type="http://schemas.openxmlformats.org/officeDocument/2006/relationships/image" Target="../media/image45.emf"/><Relationship Id="rId4" Type="http://schemas.openxmlformats.org/officeDocument/2006/relationships/oleObject" Target="../embeddings/oleObject46.bin"/><Relationship Id="rId9" Type="http://schemas.openxmlformats.org/officeDocument/2006/relationships/image" Target="../media/image130.sv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17.xml"/><Relationship Id="rId1" Type="http://schemas.openxmlformats.org/officeDocument/2006/relationships/tags" Target="../tags/tag40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8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13" Type="http://schemas.openxmlformats.org/officeDocument/2006/relationships/image" Target="../media/image2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9.jpeg"/><Relationship Id="rId12" Type="http://schemas.openxmlformats.org/officeDocument/2006/relationships/image" Target="../media/image44.svg"/><Relationship Id="rId2" Type="http://schemas.openxmlformats.org/officeDocument/2006/relationships/slideLayout" Target="../slideLayouts/slideLayout129.xml"/><Relationship Id="rId1" Type="http://schemas.openxmlformats.org/officeDocument/2006/relationships/tags" Target="../tags/tag41.xml"/><Relationship Id="rId6" Type="http://schemas.openxmlformats.org/officeDocument/2006/relationships/image" Target="../media/image38.jpeg"/><Relationship Id="rId11" Type="http://schemas.openxmlformats.org/officeDocument/2006/relationships/image" Target="../media/image43.png"/><Relationship Id="rId5" Type="http://schemas.openxmlformats.org/officeDocument/2006/relationships/image" Target="../media/image7.emf"/><Relationship Id="rId10" Type="http://schemas.openxmlformats.org/officeDocument/2006/relationships/image" Target="../media/image42.jpeg"/><Relationship Id="rId4" Type="http://schemas.openxmlformats.org/officeDocument/2006/relationships/oleObject" Target="../embeddings/oleObject39.bin"/><Relationship Id="rId9" Type="http://schemas.openxmlformats.org/officeDocument/2006/relationships/image" Target="../media/image41.jpeg"/><Relationship Id="rId14" Type="http://schemas.openxmlformats.org/officeDocument/2006/relationships/image" Target="../media/image5.sv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54.xml"/><Relationship Id="rId18" Type="http://schemas.openxmlformats.org/officeDocument/2006/relationships/tags" Target="../tags/tag59.xml"/><Relationship Id="rId26" Type="http://schemas.openxmlformats.org/officeDocument/2006/relationships/tags" Target="../tags/tag67.xml"/><Relationship Id="rId39" Type="http://schemas.openxmlformats.org/officeDocument/2006/relationships/tags" Target="../tags/tag80.xml"/><Relationship Id="rId21" Type="http://schemas.openxmlformats.org/officeDocument/2006/relationships/tags" Target="../tags/tag62.xml"/><Relationship Id="rId34" Type="http://schemas.openxmlformats.org/officeDocument/2006/relationships/tags" Target="../tags/tag75.xml"/><Relationship Id="rId42" Type="http://schemas.openxmlformats.org/officeDocument/2006/relationships/tags" Target="../tags/tag83.xml"/><Relationship Id="rId47" Type="http://schemas.openxmlformats.org/officeDocument/2006/relationships/tags" Target="../tags/tag88.xml"/><Relationship Id="rId50" Type="http://schemas.openxmlformats.org/officeDocument/2006/relationships/slideLayout" Target="../slideLayouts/slideLayout333.xml"/><Relationship Id="rId55" Type="http://schemas.openxmlformats.org/officeDocument/2006/relationships/chart" Target="../charts/chart2.xml"/><Relationship Id="rId7" Type="http://schemas.openxmlformats.org/officeDocument/2006/relationships/tags" Target="../tags/tag48.xml"/><Relationship Id="rId12" Type="http://schemas.openxmlformats.org/officeDocument/2006/relationships/tags" Target="../tags/tag53.xml"/><Relationship Id="rId17" Type="http://schemas.openxmlformats.org/officeDocument/2006/relationships/tags" Target="../tags/tag58.xml"/><Relationship Id="rId25" Type="http://schemas.openxmlformats.org/officeDocument/2006/relationships/tags" Target="../tags/tag66.xml"/><Relationship Id="rId33" Type="http://schemas.openxmlformats.org/officeDocument/2006/relationships/tags" Target="../tags/tag74.xml"/><Relationship Id="rId38" Type="http://schemas.openxmlformats.org/officeDocument/2006/relationships/tags" Target="../tags/tag79.xml"/><Relationship Id="rId46" Type="http://schemas.openxmlformats.org/officeDocument/2006/relationships/tags" Target="../tags/tag87.xml"/><Relationship Id="rId2" Type="http://schemas.openxmlformats.org/officeDocument/2006/relationships/tags" Target="../tags/tag43.xml"/><Relationship Id="rId16" Type="http://schemas.openxmlformats.org/officeDocument/2006/relationships/tags" Target="../tags/tag57.xml"/><Relationship Id="rId20" Type="http://schemas.openxmlformats.org/officeDocument/2006/relationships/tags" Target="../tags/tag61.xml"/><Relationship Id="rId29" Type="http://schemas.openxmlformats.org/officeDocument/2006/relationships/tags" Target="../tags/tag70.xml"/><Relationship Id="rId41" Type="http://schemas.openxmlformats.org/officeDocument/2006/relationships/tags" Target="../tags/tag82.xml"/><Relationship Id="rId54" Type="http://schemas.openxmlformats.org/officeDocument/2006/relationships/chart" Target="../charts/chart1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24" Type="http://schemas.openxmlformats.org/officeDocument/2006/relationships/tags" Target="../tags/tag65.xml"/><Relationship Id="rId32" Type="http://schemas.openxmlformats.org/officeDocument/2006/relationships/tags" Target="../tags/tag73.xml"/><Relationship Id="rId37" Type="http://schemas.openxmlformats.org/officeDocument/2006/relationships/tags" Target="../tags/tag78.xml"/><Relationship Id="rId40" Type="http://schemas.openxmlformats.org/officeDocument/2006/relationships/tags" Target="../tags/tag81.xml"/><Relationship Id="rId45" Type="http://schemas.openxmlformats.org/officeDocument/2006/relationships/tags" Target="../tags/tag86.xml"/><Relationship Id="rId53" Type="http://schemas.openxmlformats.org/officeDocument/2006/relationships/image" Target="../media/image45.emf"/><Relationship Id="rId5" Type="http://schemas.openxmlformats.org/officeDocument/2006/relationships/tags" Target="../tags/tag46.xml"/><Relationship Id="rId15" Type="http://schemas.openxmlformats.org/officeDocument/2006/relationships/tags" Target="../tags/tag56.xml"/><Relationship Id="rId23" Type="http://schemas.openxmlformats.org/officeDocument/2006/relationships/tags" Target="../tags/tag64.xml"/><Relationship Id="rId28" Type="http://schemas.openxmlformats.org/officeDocument/2006/relationships/tags" Target="../tags/tag69.xml"/><Relationship Id="rId36" Type="http://schemas.openxmlformats.org/officeDocument/2006/relationships/tags" Target="../tags/tag77.xml"/><Relationship Id="rId49" Type="http://schemas.openxmlformats.org/officeDocument/2006/relationships/tags" Target="../tags/tag90.xml"/><Relationship Id="rId10" Type="http://schemas.openxmlformats.org/officeDocument/2006/relationships/tags" Target="../tags/tag51.xml"/><Relationship Id="rId19" Type="http://schemas.openxmlformats.org/officeDocument/2006/relationships/tags" Target="../tags/tag60.xml"/><Relationship Id="rId31" Type="http://schemas.openxmlformats.org/officeDocument/2006/relationships/tags" Target="../tags/tag72.xml"/><Relationship Id="rId44" Type="http://schemas.openxmlformats.org/officeDocument/2006/relationships/tags" Target="../tags/tag85.xml"/><Relationship Id="rId52" Type="http://schemas.openxmlformats.org/officeDocument/2006/relationships/oleObject" Target="../embeddings/oleObject40.bin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tags" Target="../tags/tag55.xml"/><Relationship Id="rId22" Type="http://schemas.openxmlformats.org/officeDocument/2006/relationships/tags" Target="../tags/tag63.xml"/><Relationship Id="rId27" Type="http://schemas.openxmlformats.org/officeDocument/2006/relationships/tags" Target="../tags/tag68.xml"/><Relationship Id="rId30" Type="http://schemas.openxmlformats.org/officeDocument/2006/relationships/tags" Target="../tags/tag71.xml"/><Relationship Id="rId35" Type="http://schemas.openxmlformats.org/officeDocument/2006/relationships/tags" Target="../tags/tag76.xml"/><Relationship Id="rId43" Type="http://schemas.openxmlformats.org/officeDocument/2006/relationships/tags" Target="../tags/tag84.xml"/><Relationship Id="rId48" Type="http://schemas.openxmlformats.org/officeDocument/2006/relationships/tags" Target="../tags/tag89.xml"/><Relationship Id="rId56" Type="http://schemas.openxmlformats.org/officeDocument/2006/relationships/chart" Target="../charts/chart3.xml"/><Relationship Id="rId8" Type="http://schemas.openxmlformats.org/officeDocument/2006/relationships/tags" Target="../tags/tag49.xml"/><Relationship Id="rId51" Type="http://schemas.openxmlformats.org/officeDocument/2006/relationships/notesSlide" Target="../notesSlides/notesSlide5.xml"/><Relationship Id="rId3" Type="http://schemas.openxmlformats.org/officeDocument/2006/relationships/tags" Target="../tags/tag4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74.xml"/><Relationship Id="rId1" Type="http://schemas.openxmlformats.org/officeDocument/2006/relationships/tags" Target="../tags/tag91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1.bin"/><Relationship Id="rId4" Type="http://schemas.openxmlformats.org/officeDocument/2006/relationships/image" Target="../media/image46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51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png"/><Relationship Id="rId18" Type="http://schemas.openxmlformats.org/officeDocument/2006/relationships/image" Target="../media/image61.png"/><Relationship Id="rId26" Type="http://schemas.openxmlformats.org/officeDocument/2006/relationships/image" Target="../media/image69.png"/><Relationship Id="rId3" Type="http://schemas.openxmlformats.org/officeDocument/2006/relationships/image" Target="../media/image48.png"/><Relationship Id="rId21" Type="http://schemas.openxmlformats.org/officeDocument/2006/relationships/image" Target="../media/image64.png"/><Relationship Id="rId34" Type="http://schemas.openxmlformats.org/officeDocument/2006/relationships/image" Target="../media/image76.png"/><Relationship Id="rId7" Type="http://schemas.openxmlformats.org/officeDocument/2006/relationships/image" Target="../media/image52.jpeg"/><Relationship Id="rId12" Type="http://schemas.openxmlformats.org/officeDocument/2006/relationships/image" Target="../media/image57.png"/><Relationship Id="rId17" Type="http://schemas.openxmlformats.org/officeDocument/2006/relationships/image" Target="../media/image60.png"/><Relationship Id="rId25" Type="http://schemas.openxmlformats.org/officeDocument/2006/relationships/image" Target="../media/image68.png"/><Relationship Id="rId33" Type="http://schemas.openxmlformats.org/officeDocument/2006/relationships/image" Target="../media/image75.png"/><Relationship Id="rId2" Type="http://schemas.openxmlformats.org/officeDocument/2006/relationships/notesSlide" Target="../notesSlides/notesSlide7.xml"/><Relationship Id="rId16" Type="http://schemas.microsoft.com/office/2007/relationships/hdphoto" Target="../media/hdphoto2.wdp"/><Relationship Id="rId20" Type="http://schemas.openxmlformats.org/officeDocument/2006/relationships/image" Target="../media/image63.png"/><Relationship Id="rId29" Type="http://schemas.openxmlformats.org/officeDocument/2006/relationships/image" Target="../media/image72.png"/><Relationship Id="rId1" Type="http://schemas.openxmlformats.org/officeDocument/2006/relationships/slideLayout" Target="../slideLayouts/slideLayout514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24" Type="http://schemas.openxmlformats.org/officeDocument/2006/relationships/image" Target="../media/image67.png"/><Relationship Id="rId32" Type="http://schemas.openxmlformats.org/officeDocument/2006/relationships/image" Target="../media/image74.png"/><Relationship Id="rId5" Type="http://schemas.openxmlformats.org/officeDocument/2006/relationships/image" Target="../media/image50.png"/><Relationship Id="rId15" Type="http://schemas.openxmlformats.org/officeDocument/2006/relationships/image" Target="../media/image59.png"/><Relationship Id="rId23" Type="http://schemas.openxmlformats.org/officeDocument/2006/relationships/image" Target="../media/image66.png"/><Relationship Id="rId28" Type="http://schemas.openxmlformats.org/officeDocument/2006/relationships/image" Target="../media/image71.png"/><Relationship Id="rId36" Type="http://schemas.openxmlformats.org/officeDocument/2006/relationships/image" Target="../media/image78.svg"/><Relationship Id="rId10" Type="http://schemas.openxmlformats.org/officeDocument/2006/relationships/image" Target="../media/image55.png"/><Relationship Id="rId19" Type="http://schemas.openxmlformats.org/officeDocument/2006/relationships/image" Target="../media/image62.png"/><Relationship Id="rId31" Type="http://schemas.microsoft.com/office/2007/relationships/hdphoto" Target="../media/hdphoto3.wdp"/><Relationship Id="rId4" Type="http://schemas.openxmlformats.org/officeDocument/2006/relationships/image" Target="../media/image49.jpeg"/><Relationship Id="rId9" Type="http://schemas.openxmlformats.org/officeDocument/2006/relationships/image" Target="../media/image54.jpeg"/><Relationship Id="rId14" Type="http://schemas.microsoft.com/office/2007/relationships/hdphoto" Target="../media/hdphoto1.wdp"/><Relationship Id="rId22" Type="http://schemas.openxmlformats.org/officeDocument/2006/relationships/image" Target="../media/image65.png"/><Relationship Id="rId27" Type="http://schemas.openxmlformats.org/officeDocument/2006/relationships/image" Target="../media/image70.png"/><Relationship Id="rId30" Type="http://schemas.openxmlformats.org/officeDocument/2006/relationships/image" Target="../media/image73.png"/><Relationship Id="rId35" Type="http://schemas.openxmlformats.org/officeDocument/2006/relationships/image" Target="../media/image7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13" Type="http://schemas.openxmlformats.org/officeDocument/2006/relationships/image" Target="../media/image90.svg"/><Relationship Id="rId3" Type="http://schemas.openxmlformats.org/officeDocument/2006/relationships/image" Target="../media/image80.svg"/><Relationship Id="rId7" Type="http://schemas.openxmlformats.org/officeDocument/2006/relationships/image" Target="../media/image84.png"/><Relationship Id="rId12" Type="http://schemas.openxmlformats.org/officeDocument/2006/relationships/image" Target="../media/image89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514.xml"/><Relationship Id="rId6" Type="http://schemas.openxmlformats.org/officeDocument/2006/relationships/image" Target="../media/image83.png"/><Relationship Id="rId11" Type="http://schemas.openxmlformats.org/officeDocument/2006/relationships/image" Target="../media/image88.emf"/><Relationship Id="rId5" Type="http://schemas.openxmlformats.org/officeDocument/2006/relationships/image" Target="../media/image82.png"/><Relationship Id="rId10" Type="http://schemas.openxmlformats.org/officeDocument/2006/relationships/image" Target="../media/image87.emf"/><Relationship Id="rId4" Type="http://schemas.openxmlformats.org/officeDocument/2006/relationships/image" Target="../media/image81.png"/><Relationship Id="rId9" Type="http://schemas.openxmlformats.org/officeDocument/2006/relationships/image" Target="../media/image86.emf"/><Relationship Id="rId14" Type="http://schemas.openxmlformats.org/officeDocument/2006/relationships/image" Target="../media/image9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D12D36-F55C-41F9-B10F-07910F9B98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6876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D12D36-F55C-41F9-B10F-07910F9B98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Placeholder 7" descr="A view of the earth from space&#10;&#10;Description automatically generated with medium confidence">
            <a:extLst>
              <a:ext uri="{FF2B5EF4-FFF2-40B4-BE49-F238E27FC236}">
                <a16:creationId xmlns:a16="http://schemas.microsoft.com/office/drawing/2014/main" id="{F4A4F0ED-E758-468C-8708-0F1458A7FAA1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720418"/>
            <a:ext cx="12192000" cy="7578679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5C47961C-ABCF-46E4-8A48-0989D6B4DD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3254" y="190043"/>
            <a:ext cx="9144000" cy="1862436"/>
          </a:xfrm>
        </p:spPr>
        <p:txBody>
          <a:bodyPr vert="horz"/>
          <a:lstStyle/>
          <a:p>
            <a:br>
              <a:rPr lang="en-US" sz="7200" dirty="0"/>
            </a:br>
            <a:br>
              <a:rPr lang="en-US" sz="7200" dirty="0"/>
            </a:br>
            <a:br>
              <a:rPr lang="en-US" sz="7200" dirty="0"/>
            </a:br>
            <a:br>
              <a:rPr lang="en-US" sz="7200" dirty="0"/>
            </a:br>
            <a:r>
              <a:rPr lang="en-US" sz="7200" dirty="0"/>
              <a:t>SLB New Energy Geothermal </a:t>
            </a:r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8A61B61-CA91-4297-8972-DFBB794CAE9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336530" y="5608419"/>
            <a:ext cx="1687058" cy="118694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46BA4E8-D84B-D694-2E75-876B5CF390C6}"/>
              </a:ext>
            </a:extLst>
          </p:cNvPr>
          <p:cNvSpPr txBox="1"/>
          <p:nvPr/>
        </p:nvSpPr>
        <p:spPr>
          <a:xfrm>
            <a:off x="93254" y="6452513"/>
            <a:ext cx="84991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rgbClr val="FEFFFF"/>
                </a:solidFill>
                <a:latin typeface="SLB Sans Book"/>
              </a:rPr>
              <a:t>Sep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 202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64102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2429A26-39CA-1DE3-FFA3-E9FCA80ACC8F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09762" y="754099"/>
            <a:ext cx="5904055" cy="5911571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2498ABD8-698B-9874-86D8-632BF7059DD4}"/>
              </a:ext>
            </a:extLst>
          </p:cNvPr>
          <p:cNvSpPr/>
          <p:nvPr/>
        </p:nvSpPr>
        <p:spPr>
          <a:xfrm>
            <a:off x="6565541" y="1447919"/>
            <a:ext cx="1229177" cy="1229177"/>
          </a:xfrm>
          <a:prstGeom prst="ellipse">
            <a:avLst/>
          </a:prstGeom>
          <a:ln w="28575">
            <a:solidFill>
              <a:schemeClr val="accent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E9A4739-1C44-19A3-CFF1-20F7CA1D95EC}"/>
              </a:ext>
            </a:extLst>
          </p:cNvPr>
          <p:cNvSpPr/>
          <p:nvPr/>
        </p:nvSpPr>
        <p:spPr>
          <a:xfrm>
            <a:off x="3498951" y="3709885"/>
            <a:ext cx="1229177" cy="1229177"/>
          </a:xfrm>
          <a:prstGeom prst="ellipse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842FD7E-AFD0-ACF7-0769-B8B011CE2681}"/>
              </a:ext>
            </a:extLst>
          </p:cNvPr>
          <p:cNvSpPr/>
          <p:nvPr/>
        </p:nvSpPr>
        <p:spPr>
          <a:xfrm>
            <a:off x="4174184" y="1455644"/>
            <a:ext cx="1229177" cy="1229177"/>
          </a:xfrm>
          <a:prstGeom prst="ellipse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F2384B6-99C6-EB81-C614-E51E94EF2212}"/>
              </a:ext>
            </a:extLst>
          </p:cNvPr>
          <p:cNvSpPr txBox="1"/>
          <p:nvPr/>
        </p:nvSpPr>
        <p:spPr>
          <a:xfrm>
            <a:off x="6521329" y="2198632"/>
            <a:ext cx="133263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</a:t>
            </a:r>
            <a:r>
              <a:rPr kumimoji="0" lang="en-GB" sz="1300" b="0" i="0" u="none" strike="noStrike" kern="1200" cap="none" spc="0" normalizeH="0" baseline="3000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rd</a:t>
            </a: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Parti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633F70B-C79C-2587-0947-3684A9EA8628}"/>
              </a:ext>
            </a:extLst>
          </p:cNvPr>
          <p:cNvSpPr txBox="1"/>
          <p:nvPr/>
        </p:nvSpPr>
        <p:spPr>
          <a:xfrm>
            <a:off x="3447224" y="4337431"/>
            <a:ext cx="133263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Process &amp; Risk Managemen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A702007-28AB-A51A-53FB-1F1380FE218A}"/>
              </a:ext>
            </a:extLst>
          </p:cNvPr>
          <p:cNvSpPr txBox="1"/>
          <p:nvPr/>
        </p:nvSpPr>
        <p:spPr>
          <a:xfrm>
            <a:off x="4113539" y="2141691"/>
            <a:ext cx="133263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Peop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1AC4543-1164-0100-F28A-996F8B95582D}"/>
              </a:ext>
            </a:extLst>
          </p:cNvPr>
          <p:cNvCxnSpPr>
            <a:cxnSpLocks/>
          </p:cNvCxnSpPr>
          <p:nvPr/>
        </p:nvCxnSpPr>
        <p:spPr>
          <a:xfrm flipH="1">
            <a:off x="7736141" y="1546789"/>
            <a:ext cx="237085" cy="239615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BCC3A64-2013-BA65-65A8-F96200C61784}"/>
              </a:ext>
            </a:extLst>
          </p:cNvPr>
          <p:cNvCxnSpPr>
            <a:cxnSpLocks/>
          </p:cNvCxnSpPr>
          <p:nvPr/>
        </p:nvCxnSpPr>
        <p:spPr>
          <a:xfrm flipV="1">
            <a:off x="7973226" y="1543303"/>
            <a:ext cx="596985" cy="3486"/>
          </a:xfrm>
          <a:prstGeom prst="line">
            <a:avLst/>
          </a:prstGeom>
          <a:ln w="12700">
            <a:solidFill>
              <a:schemeClr val="accent1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E80E7C5-D1FF-969F-E592-92D8EF67FA68}"/>
              </a:ext>
            </a:extLst>
          </p:cNvPr>
          <p:cNvCxnSpPr>
            <a:cxnSpLocks/>
          </p:cNvCxnSpPr>
          <p:nvPr/>
        </p:nvCxnSpPr>
        <p:spPr>
          <a:xfrm>
            <a:off x="8415876" y="4428611"/>
            <a:ext cx="483151" cy="0"/>
          </a:xfrm>
          <a:prstGeom prst="line">
            <a:avLst/>
          </a:prstGeom>
          <a:ln w="12700">
            <a:solidFill>
              <a:schemeClr val="accent1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6D404D5-4F77-5E6C-4490-456DE4F9E735}"/>
              </a:ext>
            </a:extLst>
          </p:cNvPr>
          <p:cNvCxnSpPr>
            <a:cxnSpLocks/>
          </p:cNvCxnSpPr>
          <p:nvPr/>
        </p:nvCxnSpPr>
        <p:spPr>
          <a:xfrm>
            <a:off x="6796055" y="6136841"/>
            <a:ext cx="483151" cy="0"/>
          </a:xfrm>
          <a:prstGeom prst="line">
            <a:avLst/>
          </a:prstGeom>
          <a:ln w="12700">
            <a:solidFill>
              <a:schemeClr val="accent1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755F97B-AD6A-0FDA-3AE5-D34CFA6AFC7E}"/>
              </a:ext>
            </a:extLst>
          </p:cNvPr>
          <p:cNvCxnSpPr>
            <a:cxnSpLocks/>
          </p:cNvCxnSpPr>
          <p:nvPr/>
        </p:nvCxnSpPr>
        <p:spPr>
          <a:xfrm>
            <a:off x="6591496" y="5892056"/>
            <a:ext cx="204559" cy="244785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F872BC5-56A3-F92D-6200-EB96EA26E72B}"/>
              </a:ext>
            </a:extLst>
          </p:cNvPr>
          <p:cNvCxnSpPr>
            <a:cxnSpLocks/>
          </p:cNvCxnSpPr>
          <p:nvPr/>
        </p:nvCxnSpPr>
        <p:spPr>
          <a:xfrm flipH="1">
            <a:off x="2733687" y="4777083"/>
            <a:ext cx="457394" cy="0"/>
          </a:xfrm>
          <a:prstGeom prst="line">
            <a:avLst/>
          </a:prstGeom>
          <a:ln w="12700">
            <a:solidFill>
              <a:schemeClr val="accent1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C2F97F7-B4B8-C477-6BCD-AB529CE13897}"/>
              </a:ext>
            </a:extLst>
          </p:cNvPr>
          <p:cNvCxnSpPr>
            <a:cxnSpLocks/>
          </p:cNvCxnSpPr>
          <p:nvPr/>
        </p:nvCxnSpPr>
        <p:spPr>
          <a:xfrm flipH="1">
            <a:off x="3191081" y="4583653"/>
            <a:ext cx="358695" cy="189135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F4D704A-F61E-C0A6-7966-D8F677B4DEAF}"/>
              </a:ext>
            </a:extLst>
          </p:cNvPr>
          <p:cNvCxnSpPr>
            <a:cxnSpLocks/>
          </p:cNvCxnSpPr>
          <p:nvPr/>
        </p:nvCxnSpPr>
        <p:spPr>
          <a:xfrm flipH="1">
            <a:off x="3242238" y="1604487"/>
            <a:ext cx="612368" cy="0"/>
          </a:xfrm>
          <a:prstGeom prst="line">
            <a:avLst/>
          </a:prstGeom>
          <a:ln w="12700">
            <a:solidFill>
              <a:schemeClr val="accent1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C752183-AF70-A431-88AC-1F23AE321A4D}"/>
              </a:ext>
            </a:extLst>
          </p:cNvPr>
          <p:cNvCxnSpPr>
            <a:cxnSpLocks/>
          </p:cNvCxnSpPr>
          <p:nvPr/>
        </p:nvCxnSpPr>
        <p:spPr>
          <a:xfrm flipH="1" flipV="1">
            <a:off x="3844775" y="1603032"/>
            <a:ext cx="356890" cy="242533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Graphic 27" descr="Meeting with solid fill">
            <a:extLst>
              <a:ext uri="{FF2B5EF4-FFF2-40B4-BE49-F238E27FC236}">
                <a16:creationId xmlns:a16="http://schemas.microsoft.com/office/drawing/2014/main" id="{335CA8F0-2368-5BEB-DF16-DB23D92239B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27948" y="2661494"/>
            <a:ext cx="914400" cy="914400"/>
          </a:xfrm>
          <a:prstGeom prst="rect">
            <a:avLst/>
          </a:prstGeom>
        </p:spPr>
      </p:pic>
      <p:grpSp>
        <p:nvGrpSpPr>
          <p:cNvPr id="49" name="Group 48">
            <a:extLst>
              <a:ext uri="{FF2B5EF4-FFF2-40B4-BE49-F238E27FC236}">
                <a16:creationId xmlns:a16="http://schemas.microsoft.com/office/drawing/2014/main" id="{C9AB733D-245D-9A61-C0EA-70628E43A498}"/>
              </a:ext>
            </a:extLst>
          </p:cNvPr>
          <p:cNvGrpSpPr/>
          <p:nvPr/>
        </p:nvGrpSpPr>
        <p:grpSpPr>
          <a:xfrm>
            <a:off x="5429118" y="4995280"/>
            <a:ext cx="1229177" cy="1229177"/>
            <a:chOff x="5410380" y="4957290"/>
            <a:chExt cx="1229177" cy="1229177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175A0B0D-6BB9-E94A-8FB1-63CB52DC1D0D}"/>
                </a:ext>
              </a:extLst>
            </p:cNvPr>
            <p:cNvSpPr/>
            <p:nvPr/>
          </p:nvSpPr>
          <p:spPr>
            <a:xfrm>
              <a:off x="5410380" y="4957290"/>
              <a:ext cx="1229177" cy="122917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7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AB58A91-BCFD-36CF-F2C3-B54E6B44B693}"/>
                </a:ext>
              </a:extLst>
            </p:cNvPr>
            <p:cNvSpPr txBox="1"/>
            <p:nvPr/>
          </p:nvSpPr>
          <p:spPr>
            <a:xfrm>
              <a:off x="5541758" y="5598540"/>
              <a:ext cx="966420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0014DC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Performance</a:t>
              </a:r>
            </a:p>
          </p:txBody>
        </p:sp>
        <p:pic>
          <p:nvPicPr>
            <p:cNvPr id="30" name="Graphic 29" descr="Bar graph with upward trend outline">
              <a:extLst>
                <a:ext uri="{FF2B5EF4-FFF2-40B4-BE49-F238E27FC236}">
                  <a16:creationId xmlns:a16="http://schemas.microsoft.com/office/drawing/2014/main" id="{AFA99F01-4DDE-3331-9530-43AD8415315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724864" y="5043650"/>
              <a:ext cx="554890" cy="554890"/>
            </a:xfrm>
            <a:prstGeom prst="rect">
              <a:avLst/>
            </a:prstGeom>
          </p:spPr>
        </p:pic>
      </p:grpSp>
      <p:sp>
        <p:nvSpPr>
          <p:cNvPr id="32" name="TextBox 1">
            <a:extLst>
              <a:ext uri="{FF2B5EF4-FFF2-40B4-BE49-F238E27FC236}">
                <a16:creationId xmlns:a16="http://schemas.microsoft.com/office/drawing/2014/main" id="{0F5BD09B-EB95-0718-7176-44C0E708741E}"/>
              </a:ext>
            </a:extLst>
          </p:cNvPr>
          <p:cNvSpPr txBox="1"/>
          <p:nvPr/>
        </p:nvSpPr>
        <p:spPr>
          <a:xfrm>
            <a:off x="8964325" y="4277782"/>
            <a:ext cx="302379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17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5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53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7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886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063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240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417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Customer alignment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A model for each project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14DC"/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</p:txBody>
      </p:sp>
      <p:sp>
        <p:nvSpPr>
          <p:cNvPr id="33" name="TextBox 1">
            <a:extLst>
              <a:ext uri="{FF2B5EF4-FFF2-40B4-BE49-F238E27FC236}">
                <a16:creationId xmlns:a16="http://schemas.microsoft.com/office/drawing/2014/main" id="{E61B4D9D-E926-2024-C95B-E35C44698D6C}"/>
              </a:ext>
            </a:extLst>
          </p:cNvPr>
          <p:cNvSpPr txBox="1"/>
          <p:nvPr/>
        </p:nvSpPr>
        <p:spPr>
          <a:xfrm>
            <a:off x="8662415" y="1015962"/>
            <a:ext cx="3170522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17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5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53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7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886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063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240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417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Manage rig performance</a:t>
            </a:r>
          </a:p>
          <a:p>
            <a:pPr marL="742927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Equipment </a:t>
            </a:r>
          </a:p>
          <a:p>
            <a:pPr marL="742927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Continuous improvement</a:t>
            </a:r>
          </a:p>
          <a:p>
            <a:pPr marL="742927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Digital and automation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Manage 3rd parties</a:t>
            </a:r>
          </a:p>
          <a:p>
            <a:pPr marL="742927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Service quality</a:t>
            </a:r>
          </a:p>
          <a:p>
            <a:pPr marL="742927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Cost optimization</a:t>
            </a:r>
          </a:p>
        </p:txBody>
      </p:sp>
      <p:sp>
        <p:nvSpPr>
          <p:cNvPr id="34" name="TextBox 1">
            <a:extLst>
              <a:ext uri="{FF2B5EF4-FFF2-40B4-BE49-F238E27FC236}">
                <a16:creationId xmlns:a16="http://schemas.microsoft.com/office/drawing/2014/main" id="{166124EA-05BE-78A5-852B-FF23F8D1A9B3}"/>
              </a:ext>
            </a:extLst>
          </p:cNvPr>
          <p:cNvSpPr txBox="1"/>
          <p:nvPr/>
        </p:nvSpPr>
        <p:spPr>
          <a:xfrm>
            <a:off x="1054369" y="1453555"/>
            <a:ext cx="268767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17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5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53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7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886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063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240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417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Technical experts</a:t>
            </a:r>
          </a:p>
          <a:p>
            <a:pPr marL="742927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Well engineers</a:t>
            </a:r>
          </a:p>
          <a:p>
            <a:pPr marL="742927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Wellsite leaders</a:t>
            </a:r>
          </a:p>
          <a:p>
            <a:pPr marL="742927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Project managers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Customer interfac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14DC"/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</p:txBody>
      </p:sp>
      <p:sp>
        <p:nvSpPr>
          <p:cNvPr id="35" name="TextBox 1">
            <a:extLst>
              <a:ext uri="{FF2B5EF4-FFF2-40B4-BE49-F238E27FC236}">
                <a16:creationId xmlns:a16="http://schemas.microsoft.com/office/drawing/2014/main" id="{4A3E393C-A88C-3284-A739-DCDDFD236F28}"/>
              </a:ext>
            </a:extLst>
          </p:cNvPr>
          <p:cNvSpPr txBox="1"/>
          <p:nvPr/>
        </p:nvSpPr>
        <p:spPr>
          <a:xfrm>
            <a:off x="612149" y="4609325"/>
            <a:ext cx="338383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17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5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53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7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886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063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240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417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Project planning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Well engineering review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Digital well planning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Project execution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14DC"/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</p:txBody>
      </p:sp>
      <p:sp>
        <p:nvSpPr>
          <p:cNvPr id="36" name="TextBox 1">
            <a:extLst>
              <a:ext uri="{FF2B5EF4-FFF2-40B4-BE49-F238E27FC236}">
                <a16:creationId xmlns:a16="http://schemas.microsoft.com/office/drawing/2014/main" id="{B8A44273-8D22-891B-8DDB-0499135C36C4}"/>
              </a:ext>
            </a:extLst>
          </p:cNvPr>
          <p:cNvSpPr txBox="1"/>
          <p:nvPr/>
        </p:nvSpPr>
        <p:spPr>
          <a:xfrm>
            <a:off x="7350979" y="5996469"/>
            <a:ext cx="41593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17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5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53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7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886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063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240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417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Improving rig and drilling performance</a:t>
            </a:r>
          </a:p>
        </p:txBody>
      </p:sp>
      <p:sp>
        <p:nvSpPr>
          <p:cNvPr id="37" name="TextBox 1">
            <a:extLst>
              <a:ext uri="{FF2B5EF4-FFF2-40B4-BE49-F238E27FC236}">
                <a16:creationId xmlns:a16="http://schemas.microsoft.com/office/drawing/2014/main" id="{4D3262C6-F4BC-FFB4-0037-8A993EA1CF43}"/>
              </a:ext>
            </a:extLst>
          </p:cNvPr>
          <p:cNvSpPr txBox="1"/>
          <p:nvPr/>
        </p:nvSpPr>
        <p:spPr>
          <a:xfrm>
            <a:off x="5079802" y="3577184"/>
            <a:ext cx="18903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17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5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53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7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886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063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240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417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Integrated Project Managemen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464AB4F-D43C-6743-07D9-A825839A828A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4637" y="1623536"/>
            <a:ext cx="548270" cy="54827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5A0807B2-0006-CDFB-E08C-0603C009B2A2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8751" y="3723046"/>
            <a:ext cx="589576" cy="589576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FD8C2370-6554-3F8E-6E64-F0212EAC4BF8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0431" y="1653922"/>
            <a:ext cx="580440" cy="58044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B9C829CE-10AD-896C-0CDD-7FDC477FBB38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890" y="2699199"/>
            <a:ext cx="3032978" cy="1483160"/>
          </a:xfrm>
          <a:prstGeom prst="rect">
            <a:avLst/>
          </a:prstGeom>
        </p:spPr>
      </p:pic>
      <p:grpSp>
        <p:nvGrpSpPr>
          <p:cNvPr id="48" name="Group 47">
            <a:extLst>
              <a:ext uri="{FF2B5EF4-FFF2-40B4-BE49-F238E27FC236}">
                <a16:creationId xmlns:a16="http://schemas.microsoft.com/office/drawing/2014/main" id="{5BF0C091-5F4C-F1DB-60AE-FDE40EE3ED39}"/>
              </a:ext>
            </a:extLst>
          </p:cNvPr>
          <p:cNvGrpSpPr/>
          <p:nvPr/>
        </p:nvGrpSpPr>
        <p:grpSpPr>
          <a:xfrm>
            <a:off x="7163228" y="3673410"/>
            <a:ext cx="1332632" cy="1229177"/>
            <a:chOff x="7237579" y="3523718"/>
            <a:chExt cx="1332632" cy="1229177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13AC7BA3-C9B4-04FA-7A33-B2D96F8B6047}"/>
                </a:ext>
              </a:extLst>
            </p:cNvPr>
            <p:cNvSpPr/>
            <p:nvPr/>
          </p:nvSpPr>
          <p:spPr>
            <a:xfrm>
              <a:off x="7280257" y="3523718"/>
              <a:ext cx="1229177" cy="122917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7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725E03B-CA83-6DFA-8FB6-BE0F9242C4FF}"/>
                </a:ext>
              </a:extLst>
            </p:cNvPr>
            <p:cNvSpPr txBox="1"/>
            <p:nvPr/>
          </p:nvSpPr>
          <p:spPr>
            <a:xfrm>
              <a:off x="7237579" y="4164347"/>
              <a:ext cx="1332632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0014DC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Commercial Models</a:t>
              </a:r>
            </a:p>
          </p:txBody>
        </p:sp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D69100C3-953B-001B-C69B-F46316AE88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96074" y="3598847"/>
              <a:ext cx="623249" cy="623249"/>
            </a:xfrm>
            <a:prstGeom prst="rect">
              <a:avLst/>
            </a:prstGeom>
          </p:spPr>
        </p:pic>
      </p:grpSp>
      <p:pic>
        <p:nvPicPr>
          <p:cNvPr id="44" name="Picture 43">
            <a:extLst>
              <a:ext uri="{FF2B5EF4-FFF2-40B4-BE49-F238E27FC236}">
                <a16:creationId xmlns:a16="http://schemas.microsoft.com/office/drawing/2014/main" id="{282D0428-4D3E-1D7B-4A27-3409AF820083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7942" y="2728493"/>
            <a:ext cx="3422673" cy="1488485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3219C513-F07A-F3EF-BE55-877E3FE9E13D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76848" y="4972861"/>
            <a:ext cx="3326172" cy="1020820"/>
          </a:xfrm>
          <a:prstGeom prst="rect">
            <a:avLst/>
          </a:prstGeom>
        </p:spPr>
      </p:pic>
      <p:sp>
        <p:nvSpPr>
          <p:cNvPr id="47" name="Title 1">
            <a:extLst>
              <a:ext uri="{FF2B5EF4-FFF2-40B4-BE49-F238E27FC236}">
                <a16:creationId xmlns:a16="http://schemas.microsoft.com/office/drawing/2014/main" id="{2439C65B-9254-7ABE-68CD-5EF040DE7D5B}"/>
              </a:ext>
            </a:extLst>
          </p:cNvPr>
          <p:cNvSpPr txBox="1">
            <a:spLocks/>
          </p:cNvSpPr>
          <p:nvPr/>
        </p:nvSpPr>
        <p:spPr>
          <a:xfrm>
            <a:off x="379607" y="162375"/>
            <a:ext cx="9782559" cy="10235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80000"/>
              </a:lnSpc>
              <a:spcBef>
                <a:spcPct val="0"/>
              </a:spcBef>
              <a:buNone/>
              <a:defRPr sz="2800" b="1">
                <a:solidFill>
                  <a:schemeClr val="accent1"/>
                </a:solidFill>
                <a:latin typeface="SLB Sans Medium" panose="02000503040000020004" pitchFamily="50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0014DC"/>
              </a:solidFill>
              <a:effectLst/>
              <a:uLnTx/>
              <a:uFillTx/>
              <a:latin typeface="SLB Sans Medium" panose="02000503040000020004" pitchFamily="50" charset="0"/>
              <a:ea typeface="+mj-ea"/>
              <a:cs typeface="+mj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43BB6AB-4CF5-DE2B-932D-A110B8F5A8C7}"/>
              </a:ext>
            </a:extLst>
          </p:cNvPr>
          <p:cNvSpPr txBox="1">
            <a:spLocks/>
          </p:cNvSpPr>
          <p:nvPr/>
        </p:nvSpPr>
        <p:spPr>
          <a:xfrm>
            <a:off x="379607" y="361881"/>
            <a:ext cx="11432787" cy="1023573"/>
          </a:xfrm>
          <a:prstGeom prst="rect">
            <a:avLst/>
          </a:prstGeom>
        </p:spPr>
        <p:txBody>
          <a:bodyPr vert="horz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Light"/>
                <a:ea typeface="+mj-ea"/>
                <a:cs typeface="+mj-cs"/>
              </a:rPr>
              <a:t>Geothermal Project Execution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Light"/>
                <a:ea typeface="+mj-ea"/>
                <a:cs typeface="+mj-cs"/>
              </a:rPr>
              <a:t>Integration is key for successful execution</a:t>
            </a:r>
          </a:p>
        </p:txBody>
      </p:sp>
    </p:spTree>
    <p:extLst>
      <p:ext uri="{BB962C8B-B14F-4D97-AF65-F5344CB8AC3E}">
        <p14:creationId xmlns:p14="http://schemas.microsoft.com/office/powerpoint/2010/main" val="2992430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A47C70-1BF6-BEBA-6E0D-74F72E85CA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37C662-D0ED-4587-B264-5C4F0D975D18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DCE1E1">
                    <a:lumMod val="75000"/>
                  </a:srgbClr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DCE1E1">
                  <a:lumMod val="75000"/>
                </a:srgbClr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D50F04C-4285-DFDC-88A8-B88EA0C730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0" noProof="0" dirty="0"/>
              <a:t>Leveraging our O&amp;G technologies and expertis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B0974CE-6242-8273-0BFB-CE6B17D47E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1" name="Picture Placeholder 5" descr="A body of water surrounded by mountains&#10;&#10;Description automatically generated with low confidence">
            <a:extLst>
              <a:ext uri="{FF2B5EF4-FFF2-40B4-BE49-F238E27FC236}">
                <a16:creationId xmlns:a16="http://schemas.microsoft.com/office/drawing/2014/main" id="{3299CBB5-C3F4-43C8-0702-1B97264575B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809" y="0"/>
            <a:ext cx="8223230" cy="6858000"/>
          </a:xfrm>
          <a:prstGeom prst="rect">
            <a:avLst/>
          </a:prstGeom>
          <a:noFill/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620B9896-2C29-B3BC-1AFE-28560100DC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5870" y="1238535"/>
            <a:ext cx="3699165" cy="2061286"/>
          </a:xfrm>
        </p:spPr>
        <p:txBody>
          <a:bodyPr>
            <a:normAutofit fontScale="90000"/>
          </a:bodyPr>
          <a:lstStyle/>
          <a:p>
            <a:r>
              <a:rPr lang="en-US" noProof="0" dirty="0"/>
              <a:t>Our technology </a:t>
            </a:r>
            <a:r>
              <a:rPr lang="en-US" dirty="0"/>
              <a:t>p</a:t>
            </a:r>
            <a:r>
              <a:rPr lang="en-US" noProof="0" dirty="0" err="1"/>
              <a:t>ortfolio</a:t>
            </a:r>
            <a:r>
              <a:rPr lang="en-US" noProof="0" dirty="0"/>
              <a:t> for geothermal</a:t>
            </a:r>
          </a:p>
        </p:txBody>
      </p:sp>
    </p:spTree>
    <p:extLst>
      <p:ext uri="{BB962C8B-B14F-4D97-AF65-F5344CB8AC3E}">
        <p14:creationId xmlns:p14="http://schemas.microsoft.com/office/powerpoint/2010/main" val="20016226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22DE0F0-7E7D-C6B6-DC6E-80E4E27F60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DCE1E1">
                    <a:lumMod val="75000"/>
                  </a:srgbClr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SLB external use mater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AB60FA-1F06-9C68-9D84-5C43410E31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37C662-D0ED-4587-B264-5C4F0D975D18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DCE1E1">
                    <a:lumMod val="75000"/>
                  </a:srgbClr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DCE1E1">
                  <a:lumMod val="75000"/>
                </a:srgbClr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52B8F2F-B1F7-0B46-C614-06D0494D49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3"/>
            <a:ext cx="3200400" cy="1556137"/>
          </a:xfrm>
        </p:spPr>
        <p:txBody>
          <a:bodyPr/>
          <a:lstStyle/>
          <a:p>
            <a:r>
              <a:rPr lang="en-US" b="1" dirty="0">
                <a:latin typeface="+mn-lt"/>
              </a:rPr>
              <a:t>Addressing geothermal specific challeng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33B650D-9176-271B-BCE4-893E35428D4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33000"/>
                    </a14:imgEffect>
                    <a14:imgEffect>
                      <a14:colorTemperature colorTemp="7200"/>
                    </a14:imgEffect>
                    <a14:imgEffect>
                      <a14:brightnessContrast bright="11000" contrast="-4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5811" y="3719502"/>
            <a:ext cx="3565331" cy="230326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0BB0005-96F6-777C-B66D-A291C288E0A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1099" y="467659"/>
            <a:ext cx="3613251" cy="2662396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63493381-6EA3-9F3A-5C3A-40D4C24C1A1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B23F20B-F49D-2B48-B179-75D2DE2FBC7E}"/>
              </a:ext>
            </a:extLst>
          </p:cNvPr>
          <p:cNvSpPr txBox="1"/>
          <p:nvPr/>
        </p:nvSpPr>
        <p:spPr>
          <a:xfrm>
            <a:off x="4487397" y="3336053"/>
            <a:ext cx="3735853" cy="305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  <a:t>Best-in-class drilling &amp; production performance to lower cost per MW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rgbClr val="0014DB"/>
              </a:buClr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  <a:t>Better ROP and longer bit runs in hot and hard rock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rgbClr val="0014DB"/>
              </a:buClr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  <a:t>Large diameter drilling: steering, logging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rgbClr val="0014DB"/>
              </a:buClr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  <a:t>Fit-for-purpose drilling fluids and cementing solutions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rgbClr val="0014DB"/>
              </a:buClr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  <a:t>Maximize production with optimized net energy output</a:t>
            </a: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E1EDE1A2-623D-A675-1C21-0F9CD59662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256952" y="428539"/>
            <a:ext cx="3594190" cy="3038721"/>
          </a:xfrm>
        </p:spPr>
        <p:txBody>
          <a:bodyPr/>
          <a:lstStyle/>
          <a:p>
            <a:pPr marL="0" indent="0">
              <a:spcAft>
                <a:spcPts val="600"/>
              </a:spcAft>
              <a:buNone/>
            </a:pPr>
            <a:r>
              <a:rPr lang="en-US" sz="1800" b="1" dirty="0"/>
              <a:t>Cost-effective planning and project de-risking </a:t>
            </a:r>
          </a:p>
          <a:p>
            <a:pPr lvl="2">
              <a:buClr>
                <a:schemeClr val="bg1"/>
              </a:buClr>
            </a:pPr>
            <a:r>
              <a:rPr lang="en-US" sz="1800" dirty="0">
                <a:latin typeface="+mj-lt"/>
              </a:rPr>
              <a:t>Geoscientific exploration for subsurface characterization</a:t>
            </a:r>
          </a:p>
          <a:p>
            <a:pPr lvl="2">
              <a:buClr>
                <a:schemeClr val="bg1"/>
              </a:buClr>
            </a:pPr>
            <a:r>
              <a:rPr lang="en-US" sz="1800" dirty="0">
                <a:latin typeface="+mj-lt"/>
              </a:rPr>
              <a:t>Static modelling &amp; reservoir engineering</a:t>
            </a:r>
          </a:p>
          <a:p>
            <a:pPr lvl="2">
              <a:buClr>
                <a:schemeClr val="bg1"/>
              </a:buClr>
            </a:pPr>
            <a:r>
              <a:rPr lang="en-US" sz="1800" dirty="0">
                <a:latin typeface="+mj-lt"/>
              </a:rPr>
              <a:t>Well data acquisition &amp; interpretation</a:t>
            </a:r>
          </a:p>
          <a:p>
            <a:pPr lvl="2">
              <a:buClr>
                <a:schemeClr val="bg1"/>
              </a:buClr>
            </a:pPr>
            <a:r>
              <a:rPr lang="en-US" sz="1800" dirty="0">
                <a:latin typeface="+mj-lt"/>
              </a:rPr>
              <a:t>Production forecasting &amp; sustainability</a:t>
            </a:r>
          </a:p>
        </p:txBody>
      </p:sp>
    </p:spTree>
    <p:extLst>
      <p:ext uri="{BB962C8B-B14F-4D97-AF65-F5344CB8AC3E}">
        <p14:creationId xmlns:p14="http://schemas.microsoft.com/office/powerpoint/2010/main" val="3499975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31B772B6-9AF7-2E2D-D5B8-26A2F99F11DA}"/>
              </a:ext>
            </a:extLst>
          </p:cNvPr>
          <p:cNvSpPr/>
          <p:nvPr/>
        </p:nvSpPr>
        <p:spPr>
          <a:xfrm>
            <a:off x="9792134" y="459470"/>
            <a:ext cx="2296325" cy="2024782"/>
          </a:xfrm>
          <a:prstGeom prst="rect">
            <a:avLst/>
          </a:prstGeom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14DB"/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A11B1A9-CC58-9376-F922-115D20D796AE}"/>
              </a:ext>
            </a:extLst>
          </p:cNvPr>
          <p:cNvSpPr/>
          <p:nvPr/>
        </p:nvSpPr>
        <p:spPr>
          <a:xfrm>
            <a:off x="9792135" y="2567626"/>
            <a:ext cx="2278207" cy="2000107"/>
          </a:xfrm>
          <a:prstGeom prst="rect">
            <a:avLst/>
          </a:prstGeom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14DB"/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8423B50-F00B-E532-68CF-E7B4EDACF2E0}"/>
              </a:ext>
            </a:extLst>
          </p:cNvPr>
          <p:cNvSpPr/>
          <p:nvPr/>
        </p:nvSpPr>
        <p:spPr>
          <a:xfrm>
            <a:off x="9810253" y="4635363"/>
            <a:ext cx="2260089" cy="2000107"/>
          </a:xfrm>
          <a:prstGeom prst="rect">
            <a:avLst/>
          </a:prstGeom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14DB"/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9900396-5A4D-2CF3-D575-8A0BD471F0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b="1" dirty="0">
                <a:latin typeface="+mn-lt"/>
              </a:rPr>
              <a:t>Drill Bits </a:t>
            </a:r>
            <a:br>
              <a:rPr lang="en-US" b="1" dirty="0">
                <a:latin typeface="+mn-lt"/>
              </a:rPr>
            </a:br>
            <a:br>
              <a:rPr lang="en-US" b="1" dirty="0">
                <a:latin typeface="+mn-lt"/>
              </a:rPr>
            </a:br>
            <a:r>
              <a:rPr lang="en-US" sz="2400" dirty="0">
                <a:latin typeface="+mn-lt"/>
                <a:ea typeface="+mn-ea"/>
                <a:cs typeface="+mn-cs"/>
              </a:rPr>
              <a:t>120+ years of global expertise from O&amp;G to Geothermal</a:t>
            </a:r>
            <a:br>
              <a:rPr lang="en-US" sz="2400" dirty="0">
                <a:latin typeface="+mn-lt"/>
                <a:ea typeface="+mn-ea"/>
                <a:cs typeface="+mn-cs"/>
              </a:rPr>
            </a:br>
            <a:endParaRPr lang="en-US" sz="2400" dirty="0">
              <a:latin typeface="+mn-lt"/>
              <a:ea typeface="+mn-ea"/>
              <a:cs typeface="+mn-cs"/>
            </a:endParaRP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D8F6F5F1-EA40-4E1A-D940-B7AABDF7F532}"/>
              </a:ext>
            </a:extLst>
          </p:cNvPr>
          <p:cNvSpPr txBox="1">
            <a:spLocks/>
          </p:cNvSpPr>
          <p:nvPr/>
        </p:nvSpPr>
        <p:spPr>
          <a:xfrm>
            <a:off x="4347407" y="240191"/>
            <a:ext cx="5469181" cy="4178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 kern="1200">
                <a:solidFill>
                  <a:schemeClr val="accent1"/>
                </a:solidFill>
                <a:latin typeface="SLB Sans" panose="02000503040000020004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1"/>
                </a:solidFill>
                <a:latin typeface="SLB Sans Book" panose="02000503040000020004" pitchFamily="2" charset="0"/>
                <a:ea typeface="+mn-ea"/>
                <a:cs typeface="+mn-cs"/>
              </a:defRPr>
            </a:lvl2pPr>
            <a:lvl3pPr marL="342900" indent="-3429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→"/>
              <a:defRPr sz="2000" b="0" kern="1200">
                <a:solidFill>
                  <a:schemeClr val="accent1"/>
                </a:solidFill>
                <a:latin typeface="SLB Sans Book" panose="02000503040000020004" pitchFamily="2" charset="0"/>
                <a:ea typeface="+mn-ea"/>
                <a:cs typeface="+mn-cs"/>
              </a:defRPr>
            </a:lvl3pPr>
            <a:lvl4pPr marL="684000" indent="-342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−"/>
              <a:tabLst/>
              <a:defRPr sz="1800" b="0" kern="1200">
                <a:solidFill>
                  <a:schemeClr val="accent1"/>
                </a:solidFill>
                <a:latin typeface="SLB Sans Book" panose="02000503040000020004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 typeface="SLB Sans Book" panose="02000503040000020004" pitchFamily="2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Thick Diamond Table Cutters and Shaped Diamond Elements expand usability of Fixed Cutter bits in geothermal environment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ThermoBlad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™ thermal-resistant diamond cutting elements</a:t>
            </a:r>
          </a:p>
          <a:p>
            <a:pPr marL="684000" marR="0" lvl="3" indent="-342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LB Sans Book" panose="02000503040000020004" pitchFamily="2" charset="0"/>
              <a:buChar char="−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Extends cutter life by reducing damage due to thermal degradation</a:t>
            </a:r>
          </a:p>
          <a:p>
            <a:pPr marL="684000" marR="0" lvl="3" indent="-342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LB Sans Book" panose="02000503040000020004" pitchFamily="2" charset="0"/>
              <a:buChar char="−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Improves bit performance by maintaining a sharp cutting edge to sustain high levels of ROP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StingBlad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™ conical diamond element bit</a:t>
            </a:r>
          </a:p>
          <a:p>
            <a:pPr marL="684000" marR="0" lvl="3" indent="-342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LB Sans Book" panose="02000503040000020004" pitchFamily="2" charset="0"/>
              <a:buChar char="−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Stinger conical diamond element point-loads the formation</a:t>
            </a:r>
          </a:p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Roller Cone bits continue to evolve and perform in deep geothermal applications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Kaldera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™ seals and grease to extend bearing life in HT environments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Optimized cutting structures for hard rock drilling</a:t>
            </a:r>
          </a:p>
          <a:p>
            <a:pPr marL="342000" marR="0" lvl="3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LB Sans Book" panose="02000503040000020004" pitchFamily="2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D485589-F389-FD33-1C59-761036E985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016" y="2541474"/>
            <a:ext cx="2414701" cy="284755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873FCB9-8364-A341-B696-B7287581903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5479" y="2754960"/>
            <a:ext cx="1681486" cy="724179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5553BE8-986D-D12C-4452-4DB4426E0FB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4081" y="592307"/>
            <a:ext cx="1939053" cy="76282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0D3765B9-A7AF-6FD3-7BD7-0731318C722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81968" y="4756679"/>
            <a:ext cx="2094038" cy="699588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0169397A-2E13-DA7A-774F-A28FF7BBE694}"/>
              </a:ext>
            </a:extLst>
          </p:cNvPr>
          <p:cNvGrpSpPr/>
          <p:nvPr/>
        </p:nvGrpSpPr>
        <p:grpSpPr>
          <a:xfrm>
            <a:off x="10531836" y="5266044"/>
            <a:ext cx="1482004" cy="1156297"/>
            <a:chOff x="5322888" y="1344613"/>
            <a:chExt cx="2813050" cy="2500312"/>
          </a:xfrm>
        </p:grpSpPr>
        <p:pic>
          <p:nvPicPr>
            <p:cNvPr id="16" name="Picture 2" descr="C:\Documents and Settings\gferrari\Desktop\bearing_view.tif">
              <a:extLst>
                <a:ext uri="{FF2B5EF4-FFF2-40B4-BE49-F238E27FC236}">
                  <a16:creationId xmlns:a16="http://schemas.microsoft.com/office/drawing/2014/main" id="{5643D3DE-C290-40B5-58A4-39A47A593B8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800853">
              <a:off x="5322888" y="1344613"/>
              <a:ext cx="2813050" cy="25003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83AAB2C2-1A90-0CC6-5094-9F67E85A9043}"/>
                </a:ext>
              </a:extLst>
            </p:cNvPr>
            <p:cNvSpPr/>
            <p:nvPr/>
          </p:nvSpPr>
          <p:spPr>
            <a:xfrm>
              <a:off x="6859588" y="2982913"/>
              <a:ext cx="279400" cy="277812"/>
            </a:xfrm>
            <a:prstGeom prst="ellipse">
              <a:avLst/>
            </a:prstGeom>
            <a:noFill/>
            <a:ln w="635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14DB"/>
                </a:solidFill>
                <a:effectLst/>
                <a:uLnTx/>
                <a:uFillTx/>
                <a:latin typeface="SLB Sans Book"/>
                <a:ea typeface="+mn-ea"/>
                <a:cs typeface="+mn-cs"/>
              </a:endParaRPr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5CE25731-431D-9499-C087-79928AD3325E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9915" y="1237818"/>
            <a:ext cx="1878637" cy="1091523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62DA9578-F6E9-7413-8DCD-DDC5884DD8D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0353635" y="3025712"/>
            <a:ext cx="1095628" cy="168148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8604564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1CA71A-CA7F-CC43-0E94-8AB26E4BDD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74CE104E-C9B8-D1C0-55F2-38D318C7D481}"/>
              </a:ext>
            </a:extLst>
          </p:cNvPr>
          <p:cNvSpPr txBox="1">
            <a:spLocks/>
          </p:cNvSpPr>
          <p:nvPr/>
        </p:nvSpPr>
        <p:spPr>
          <a:xfrm>
            <a:off x="4385719" y="386740"/>
            <a:ext cx="4031049" cy="4178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 kern="1200">
                <a:solidFill>
                  <a:schemeClr val="accent1"/>
                </a:solidFill>
                <a:latin typeface="SLB Sans" panose="02000503040000020004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1"/>
                </a:solidFill>
                <a:latin typeface="SLB Sans Book" panose="02000503040000020004" pitchFamily="2" charset="0"/>
                <a:ea typeface="+mn-ea"/>
                <a:cs typeface="+mn-cs"/>
              </a:defRPr>
            </a:lvl2pPr>
            <a:lvl3pPr marL="342900" indent="-3429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→"/>
              <a:defRPr sz="2000" b="0" kern="1200">
                <a:solidFill>
                  <a:schemeClr val="accent1"/>
                </a:solidFill>
                <a:latin typeface="SLB Sans Book" panose="02000503040000020004" pitchFamily="2" charset="0"/>
                <a:ea typeface="+mn-ea"/>
                <a:cs typeface="+mn-cs"/>
              </a:defRPr>
            </a:lvl3pPr>
            <a:lvl4pPr marL="684000" indent="-342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−"/>
              <a:tabLst/>
              <a:defRPr sz="1800" b="0" kern="1200">
                <a:solidFill>
                  <a:schemeClr val="accent1"/>
                </a:solidFill>
                <a:latin typeface="SLB Sans Book" panose="02000503040000020004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Optimize medium- to high-enthalpy geothermal wells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Increase economic output and capex efficiency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Revive nonflowing wells, boost production, and delay the need for new drills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Lower parasitic load and enable fast installation with great flexibility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Proven success with over 55% production improvement and world record reliability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</p:txBody>
      </p:sp>
      <p:pic>
        <p:nvPicPr>
          <p:cNvPr id="4" name="Picture 3" descr="A picture containing lighter&#10;&#10;Description automatically generated">
            <a:extLst>
              <a:ext uri="{FF2B5EF4-FFF2-40B4-BE49-F238E27FC236}">
                <a16:creationId xmlns:a16="http://schemas.microsoft.com/office/drawing/2014/main" id="{EE9E5E7D-9F70-29E6-DBA5-0184E26A097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5785" t="-1597" r="-20194"/>
          <a:stretch/>
        </p:blipFill>
        <p:spPr>
          <a:xfrm>
            <a:off x="1425957" y="-103695"/>
            <a:ext cx="3569099" cy="6961695"/>
          </a:xfrm>
          <a:prstGeom prst="rect">
            <a:avLst/>
          </a:prstGeom>
        </p:spPr>
      </p:pic>
      <p:sp>
        <p:nvSpPr>
          <p:cNvPr id="7" name="Title 2">
            <a:extLst>
              <a:ext uri="{FF2B5EF4-FFF2-40B4-BE49-F238E27FC236}">
                <a16:creationId xmlns:a16="http://schemas.microsoft.com/office/drawing/2014/main" id="{4876FCCD-141F-D266-B105-DEE922F99D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3"/>
            <a:ext cx="2466753" cy="3696087"/>
          </a:xfrm>
        </p:spPr>
        <p:txBody>
          <a:bodyPr vert="horz"/>
          <a:lstStyle/>
          <a:p>
            <a:r>
              <a:rPr lang="en-US" b="1" dirty="0">
                <a:latin typeface="+mn-lt"/>
              </a:rPr>
              <a:t>Reda Thermal™</a:t>
            </a:r>
            <a:br>
              <a:rPr lang="en-US" b="1" dirty="0">
                <a:latin typeface="+mn-lt"/>
              </a:rPr>
            </a:br>
            <a:r>
              <a:rPr lang="en-US" b="1" dirty="0">
                <a:latin typeface="+mn-lt"/>
              </a:rPr>
              <a:t>ESP</a:t>
            </a:r>
            <a:br>
              <a:rPr lang="en-US" b="1" dirty="0">
                <a:latin typeface="+mn-lt"/>
              </a:rPr>
            </a:br>
            <a:endParaRPr lang="en-US" sz="2400" dirty="0">
              <a:latin typeface="+mn-lt"/>
            </a:endParaRPr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478F767D-9C2A-3F1D-87EF-08DDF4B53D8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3692193"/>
            <a:ext cx="1864629" cy="186462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1931325-3DEA-8486-4159-28F534AAB32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77341" y="386740"/>
            <a:ext cx="3714659" cy="5501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11245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51A0E10-AA81-98F6-BB1D-5A8713CAA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51A0E10-AA81-98F6-BB1D-5A8713CAA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F193A219-D858-C212-D223-4FEBFCCD21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780" y="457200"/>
            <a:ext cx="3706787" cy="663962"/>
          </a:xfrm>
        </p:spPr>
        <p:txBody>
          <a:bodyPr vert="horz"/>
          <a:lstStyle/>
          <a:p>
            <a:r>
              <a:rPr lang="en-US" sz="3600" dirty="0">
                <a:latin typeface="SLB Sans Book" panose="02000503040000020004" pitchFamily="50" charset="0"/>
              </a:rPr>
              <a:t>Case Study: Turkey Power</a:t>
            </a:r>
            <a:br>
              <a:rPr lang="en-US" sz="3600" dirty="0">
                <a:latin typeface="SLB Sans Book" panose="02000503040000020004" pitchFamily="50" charset="0"/>
              </a:rPr>
            </a:br>
            <a:r>
              <a:rPr lang="en-US" sz="3200" dirty="0">
                <a:solidFill>
                  <a:srgbClr val="4778A6"/>
                </a:solidFill>
                <a:latin typeface="SLB Sans Light"/>
              </a:rPr>
              <a:t>From Exploration to Power Generation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6FE7971-F466-07D6-8A1A-003F9DA897B8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59302" y="3388994"/>
            <a:ext cx="3731119" cy="2257681"/>
          </a:xfrm>
        </p:spPr>
        <p:txBody>
          <a:bodyPr/>
          <a:lstStyle/>
          <a:p>
            <a:r>
              <a:rPr lang="en-US" dirty="0"/>
              <a:t>Results</a:t>
            </a:r>
            <a:endParaRPr lang="en-US" noProof="0" dirty="0"/>
          </a:p>
          <a:p>
            <a:pPr lvl="2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Support for project financing</a:t>
            </a:r>
          </a:p>
          <a:p>
            <a:pPr lvl="2"/>
            <a:r>
              <a:rPr lang="en-US" sz="1600" dirty="0"/>
              <a:t>Drilled 7 wells: 4 production and 3 injectors</a:t>
            </a:r>
          </a:p>
          <a:p>
            <a:pPr lvl="2"/>
            <a:r>
              <a:rPr lang="en-US" sz="1600" dirty="0"/>
              <a:t>Well production rates of 270–420 metric tons/</a:t>
            </a:r>
            <a:r>
              <a:rPr lang="en-US" sz="1600" dirty="0" err="1"/>
              <a:t>hr</a:t>
            </a:r>
            <a:r>
              <a:rPr lang="en-US" sz="1600" dirty="0"/>
              <a:t>/well</a:t>
            </a:r>
          </a:p>
          <a:p>
            <a:pPr lvl="2"/>
            <a:endParaRPr lang="en-US" sz="1050" dirty="0"/>
          </a:p>
        </p:txBody>
      </p:sp>
      <p:sp>
        <p:nvSpPr>
          <p:cNvPr id="394" name="Content Placeholder 1">
            <a:extLst>
              <a:ext uri="{FF2B5EF4-FFF2-40B4-BE49-F238E27FC236}">
                <a16:creationId xmlns:a16="http://schemas.microsoft.com/office/drawing/2014/main" id="{33F9C54A-B432-33DF-0693-982BA1D17D32}"/>
              </a:ext>
            </a:extLst>
          </p:cNvPr>
          <p:cNvSpPr txBox="1">
            <a:spLocks/>
          </p:cNvSpPr>
          <p:nvPr/>
        </p:nvSpPr>
        <p:spPr>
          <a:xfrm>
            <a:off x="4250246" y="299810"/>
            <a:ext cx="3706787" cy="197450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 kern="1200">
                <a:solidFill>
                  <a:schemeClr val="bg1"/>
                </a:solidFill>
                <a:latin typeface="SLB Sans" panose="02000503040000020004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2pPr>
            <a:lvl3pPr marL="342900" indent="-3429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→"/>
              <a:defRPr sz="20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3pPr>
            <a:lvl4pPr marL="684000" indent="-342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−"/>
              <a:tabLst/>
              <a:defRPr sz="18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" panose="02000503040000020004" pitchFamily="2" charset="0"/>
                <a:ea typeface="+mn-ea"/>
                <a:cs typeface="+mn-cs"/>
              </a:rPr>
              <a:t>Application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  <a:t>Geothermal system: hydrothermal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  <a:t>Power generation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  <a:t>Reservoir temperature: &lt;150 C</a:t>
            </a:r>
          </a:p>
          <a:p>
            <a:pPr marL="0" marR="0" lvl="2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LB Sans Light"/>
              <a:ea typeface="+mn-ea"/>
              <a:cs typeface="+mn-cs"/>
            </a:endParaRPr>
          </a:p>
        </p:txBody>
      </p:sp>
      <p:sp>
        <p:nvSpPr>
          <p:cNvPr id="395" name="Content Placeholder 7">
            <a:extLst>
              <a:ext uri="{FF2B5EF4-FFF2-40B4-BE49-F238E27FC236}">
                <a16:creationId xmlns:a16="http://schemas.microsoft.com/office/drawing/2014/main" id="{E5197317-6708-906C-5A1F-D2BBEC2D606B}"/>
              </a:ext>
            </a:extLst>
          </p:cNvPr>
          <p:cNvSpPr txBox="1">
            <a:spLocks/>
          </p:cNvSpPr>
          <p:nvPr/>
        </p:nvSpPr>
        <p:spPr>
          <a:xfrm>
            <a:off x="4250247" y="3383096"/>
            <a:ext cx="3751700" cy="17384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SLB Sans" panose="02000503040000020004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2pPr>
            <a:lvl3pPr marL="342900" indent="-3429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→"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3pPr>
            <a:lvl4pPr marL="684000" indent="-342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−"/>
              <a:tabLst/>
              <a:defRPr sz="18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" panose="02000503040000020004" pitchFamily="2" charset="0"/>
                <a:ea typeface="+mn-ea"/>
                <a:cs typeface="+mn-cs"/>
              </a:rPr>
              <a:t>Solution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Feasibility study</a:t>
            </a:r>
          </a:p>
          <a:p>
            <a:pPr marL="684000" marR="0" lvl="3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3G* studies, exploration data evaluation, well targeting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Resource modeling 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Well design, drilling and testing program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Drilling execution</a:t>
            </a:r>
          </a:p>
          <a:p>
            <a:pPr marL="684000" marR="0" lvl="3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Project management, wellhead, cementing, mud services, mud logging, bits, jars, coiled tubing service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B3F080D-1C19-D46E-6B6D-9023AC746919}"/>
              </a:ext>
            </a:extLst>
          </p:cNvPr>
          <p:cNvSpPr txBox="1">
            <a:spLocks/>
          </p:cNvSpPr>
          <p:nvPr/>
        </p:nvSpPr>
        <p:spPr>
          <a:xfrm>
            <a:off x="8159302" y="314574"/>
            <a:ext cx="3706787" cy="197450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 kern="1200">
                <a:solidFill>
                  <a:schemeClr val="bg1"/>
                </a:solidFill>
                <a:latin typeface="SLB Sans" panose="02000503040000020004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2pPr>
            <a:lvl3pPr marL="342900" indent="-3429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→"/>
              <a:defRPr sz="20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3pPr>
            <a:lvl4pPr marL="684000" indent="-342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−"/>
              <a:tabLst/>
              <a:defRPr sz="18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" panose="02000503040000020004" pitchFamily="2" charset="0"/>
                <a:ea typeface="+mn-ea"/>
                <a:cs typeface="+mn-cs"/>
              </a:rPr>
              <a:t>Challenges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  <a:t>Exploration risk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  <a:t>Develop geothermal project for power generation within time and budget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  <a:t>Project financ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850D3D9-EC36-AD6C-E4BF-D872726A4F08}"/>
              </a:ext>
            </a:extLst>
          </p:cNvPr>
          <p:cNvPicPr preferRelativeResize="0"/>
          <p:nvPr/>
        </p:nvPicPr>
        <p:blipFill rotWithShape="1">
          <a:blip r:embed="rId6" r:link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9899" y="4108450"/>
            <a:ext cx="3214686" cy="137477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55418E8-BFF8-ADD7-9CB7-5E6C17375FF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898" y="2576407"/>
            <a:ext cx="3214687" cy="1277257"/>
          </a:xfrm>
          <a:prstGeom prst="rect">
            <a:avLst/>
          </a:prstGeom>
        </p:spPr>
      </p:pic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D50DAB61-D669-4E69-195C-28521B5CD9CF}"/>
              </a:ext>
            </a:extLst>
          </p:cNvPr>
          <p:cNvSpPr txBox="1">
            <a:spLocks/>
          </p:cNvSpPr>
          <p:nvPr/>
        </p:nvSpPr>
        <p:spPr>
          <a:xfrm>
            <a:off x="8178250" y="5264192"/>
            <a:ext cx="3751700" cy="17384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SLB Sans" panose="02000503040000020004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2pPr>
            <a:lvl3pPr marL="342900" indent="-3429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→"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3pPr>
            <a:lvl4pPr marL="684000" indent="-342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−"/>
              <a:tabLst/>
              <a:defRPr sz="18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" panose="02000503040000020004" pitchFamily="2" charset="0"/>
                <a:ea typeface="+mn-ea"/>
                <a:cs typeface="+mn-cs"/>
              </a:rPr>
              <a:t>Business Impact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Project with 12 MW power generation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LB Sans Book" panose="0200050304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03789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51A0E10-AA81-98F6-BB1D-5A8713CAA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51A0E10-AA81-98F6-BB1D-5A8713CAA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F193A219-D858-C212-D223-4FEBFCCD21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649" y="422135"/>
            <a:ext cx="3706787" cy="663962"/>
          </a:xfrm>
        </p:spPr>
        <p:txBody>
          <a:bodyPr vert="horz"/>
          <a:lstStyle/>
          <a:p>
            <a:r>
              <a:rPr lang="en-US" sz="3600" dirty="0">
                <a:latin typeface="SLB Sans Book" panose="02000503040000020004" pitchFamily="50" charset="0"/>
              </a:rPr>
              <a:t>Case Study: France Heating</a:t>
            </a:r>
            <a:br>
              <a:rPr lang="en-US" sz="3600" dirty="0">
                <a:latin typeface="SLB Sans Book" panose="02000503040000020004" pitchFamily="50" charset="0"/>
              </a:rPr>
            </a:br>
            <a:r>
              <a:rPr lang="en-US" sz="2400" dirty="0">
                <a:latin typeface="SLB Sans Light"/>
              </a:rPr>
              <a:t>First of its kind m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LB Sans Light"/>
                <a:ea typeface="+mj-ea"/>
                <a:cs typeface="+mj-cs"/>
              </a:rPr>
              <a:t>ult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LB Sans Light"/>
                <a:ea typeface="+mj-ea"/>
                <a:cs typeface="+mj-cs"/>
              </a:rPr>
              <a:t>-lateral well design for geothermal heating application</a:t>
            </a:r>
            <a:endParaRPr lang="en-US" sz="2400" noProof="0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42E12BC-E102-E655-FC47-24C7D2ACA0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DCE1E1">
                    <a:lumMod val="75000"/>
                  </a:srgbClr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Global footer where sharing status is set. Internal use only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6FE7971-F466-07D6-8A1A-003F9DA897B8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59302" y="3388994"/>
            <a:ext cx="3731119" cy="2257681"/>
          </a:xfrm>
        </p:spPr>
        <p:txBody>
          <a:bodyPr/>
          <a:lstStyle/>
          <a:p>
            <a:r>
              <a:rPr lang="en-US" dirty="0"/>
              <a:t>Results</a:t>
            </a:r>
            <a:endParaRPr lang="en-US" noProof="0" dirty="0"/>
          </a:p>
          <a:p>
            <a:pPr lvl="2"/>
            <a:r>
              <a:rPr lang="en-US" sz="1600" dirty="0"/>
              <a:t>Drilled 2 wells with 3 laterals each</a:t>
            </a:r>
          </a:p>
          <a:p>
            <a:pPr lvl="3"/>
            <a:r>
              <a:rPr lang="en-US" sz="1400" dirty="0"/>
              <a:t>6 x boreholes</a:t>
            </a:r>
          </a:p>
          <a:p>
            <a:pPr lvl="3"/>
            <a:r>
              <a:rPr lang="en-US" sz="1400" dirty="0"/>
              <a:t>4 x OH sidetracks</a:t>
            </a:r>
          </a:p>
          <a:p>
            <a:pPr lvl="3"/>
            <a:r>
              <a:rPr lang="en-US" sz="1400" dirty="0"/>
              <a:t>1 x drilling BHA</a:t>
            </a:r>
          </a:p>
          <a:p>
            <a:pPr lvl="2"/>
            <a:r>
              <a:rPr lang="en-US" sz="1600" dirty="0"/>
              <a:t>100% operating efficiency &amp; sidetrack success rate</a:t>
            </a:r>
          </a:p>
          <a:p>
            <a:pPr lvl="2"/>
            <a:r>
              <a:rPr lang="en-US" sz="1600" dirty="0"/>
              <a:t>Achieved 6-7°/30m DLS with 70% steering ratio – matching the IDEAS model </a:t>
            </a:r>
          </a:p>
          <a:p>
            <a:pPr lvl="2"/>
            <a:endParaRPr lang="en-US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2406165-9EDA-4826-2D75-0C5E9FC3B8C5}"/>
              </a:ext>
            </a:extLst>
          </p:cNvPr>
          <p:cNvSpPr txBox="1"/>
          <p:nvPr/>
        </p:nvSpPr>
        <p:spPr>
          <a:xfrm>
            <a:off x="448536" y="5000663"/>
            <a:ext cx="32081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Medium" panose="02000503040000020004" pitchFamily="50" charset="0"/>
                <a:ea typeface="+mn-ea"/>
                <a:cs typeface="+mn-cs"/>
              </a:rPr>
              <a:t>Awarded the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Medium" panose="02000503040000020004" pitchFamily="50" charset="0"/>
                <a:ea typeface="+mn-ea"/>
                <a:cs typeface="+mn-cs"/>
              </a:rPr>
              <a:t>Ruggero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Medium" panose="02000503040000020004" pitchFamily="50" charset="0"/>
                <a:ea typeface="+mn-ea"/>
                <a:cs typeface="+mn-cs"/>
              </a:rPr>
              <a:t> Bertani Innovation Award at EGEC 2021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LB Sans Medium" panose="02000503040000020004" pitchFamily="50" charset="0"/>
              <a:ea typeface="+mn-ea"/>
              <a:cs typeface="+mn-cs"/>
            </a:endParaRPr>
          </a:p>
        </p:txBody>
      </p:sp>
      <p:sp>
        <p:nvSpPr>
          <p:cNvPr id="394" name="Content Placeholder 1">
            <a:extLst>
              <a:ext uri="{FF2B5EF4-FFF2-40B4-BE49-F238E27FC236}">
                <a16:creationId xmlns:a16="http://schemas.microsoft.com/office/drawing/2014/main" id="{33F9C54A-B432-33DF-0693-982BA1D17D32}"/>
              </a:ext>
            </a:extLst>
          </p:cNvPr>
          <p:cNvSpPr txBox="1">
            <a:spLocks/>
          </p:cNvSpPr>
          <p:nvPr/>
        </p:nvSpPr>
        <p:spPr>
          <a:xfrm>
            <a:off x="4250246" y="299810"/>
            <a:ext cx="3706787" cy="197450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 kern="1200">
                <a:solidFill>
                  <a:schemeClr val="bg1"/>
                </a:solidFill>
                <a:latin typeface="SLB Sans" panose="02000503040000020004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2pPr>
            <a:lvl3pPr marL="342900" indent="-3429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→"/>
              <a:defRPr sz="20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3pPr>
            <a:lvl4pPr marL="684000" indent="-342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−"/>
              <a:tabLst/>
              <a:defRPr sz="18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" panose="02000503040000020004" pitchFamily="2" charset="0"/>
                <a:ea typeface="+mn-ea"/>
                <a:cs typeface="+mn-cs"/>
              </a:rPr>
              <a:t>Application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  <a:t>Geothermal System: District Heating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  <a:t>Reservoir Temperature: &lt;150 C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  <a:t>Well Type: Horizontal</a:t>
            </a:r>
          </a:p>
          <a:p>
            <a:pPr marL="0" marR="0" lvl="2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LB Sans Light"/>
              <a:ea typeface="+mn-ea"/>
              <a:cs typeface="+mn-cs"/>
            </a:endParaRPr>
          </a:p>
        </p:txBody>
      </p:sp>
      <p:sp>
        <p:nvSpPr>
          <p:cNvPr id="395" name="Content Placeholder 7">
            <a:extLst>
              <a:ext uri="{FF2B5EF4-FFF2-40B4-BE49-F238E27FC236}">
                <a16:creationId xmlns:a16="http://schemas.microsoft.com/office/drawing/2014/main" id="{E5197317-6708-906C-5A1F-D2BBEC2D606B}"/>
              </a:ext>
            </a:extLst>
          </p:cNvPr>
          <p:cNvSpPr txBox="1">
            <a:spLocks/>
          </p:cNvSpPr>
          <p:nvPr/>
        </p:nvSpPr>
        <p:spPr>
          <a:xfrm>
            <a:off x="4250247" y="3383096"/>
            <a:ext cx="3751700" cy="17384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SLB Sans" panose="02000503040000020004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2pPr>
            <a:lvl3pPr marL="342900" indent="-3429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→"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3pPr>
            <a:lvl4pPr marL="684000" indent="-342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−"/>
              <a:tabLst/>
              <a:defRPr sz="18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" panose="02000503040000020004" pitchFamily="2" charset="0"/>
                <a:ea typeface="+mn-ea"/>
                <a:cs typeface="+mn-cs"/>
              </a:rPr>
              <a:t>Solution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AxeBlad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 PDC Bit XS616, PowerDrive Archer, MWD Telescope 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-DRILL modeling for steerability and stability 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LB Sans Book" panose="02000503040000020004" pitchFamily="2" charset="0"/>
              <a:ea typeface="+mn-ea"/>
              <a:cs typeface="+mn-cs"/>
            </a:endParaRPr>
          </a:p>
        </p:txBody>
      </p:sp>
      <p:sp>
        <p:nvSpPr>
          <p:cNvPr id="396" name="Content Placeholder 7">
            <a:extLst>
              <a:ext uri="{FF2B5EF4-FFF2-40B4-BE49-F238E27FC236}">
                <a16:creationId xmlns:a16="http://schemas.microsoft.com/office/drawing/2014/main" id="{47365115-7067-22D3-544F-C966F4254102}"/>
              </a:ext>
            </a:extLst>
          </p:cNvPr>
          <p:cNvSpPr txBox="1">
            <a:spLocks/>
          </p:cNvSpPr>
          <p:nvPr/>
        </p:nvSpPr>
        <p:spPr>
          <a:xfrm>
            <a:off x="4205333" y="5011939"/>
            <a:ext cx="3751700" cy="17384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SLB Sans" panose="02000503040000020004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2pPr>
            <a:lvl3pPr marL="342900" indent="-3429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→"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3pPr>
            <a:lvl4pPr marL="684000" indent="-342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−"/>
              <a:tabLst/>
              <a:defRPr sz="18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" panose="02000503040000020004" pitchFamily="2" charset="0"/>
                <a:ea typeface="+mn-ea"/>
                <a:cs typeface="+mn-cs"/>
              </a:rPr>
              <a:t>Business Impact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Multi-drain 3D well profile increase well productivity by 80%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16 MW heating generation for 12,000 homes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LB Sans Book" panose="02000503040000020004" pitchFamily="2" charset="0"/>
              <a:ea typeface="+mn-ea"/>
              <a:cs typeface="+mn-cs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B3F080D-1C19-D46E-6B6D-9023AC746919}"/>
              </a:ext>
            </a:extLst>
          </p:cNvPr>
          <p:cNvSpPr txBox="1">
            <a:spLocks/>
          </p:cNvSpPr>
          <p:nvPr/>
        </p:nvSpPr>
        <p:spPr>
          <a:xfrm>
            <a:off x="8159302" y="314574"/>
            <a:ext cx="3706787" cy="197450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 kern="1200">
                <a:solidFill>
                  <a:schemeClr val="bg1"/>
                </a:solidFill>
                <a:latin typeface="SLB Sans" panose="02000503040000020004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2pPr>
            <a:lvl3pPr marL="342900" indent="-3429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→"/>
              <a:defRPr sz="20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3pPr>
            <a:lvl4pPr marL="684000" indent="-342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−"/>
              <a:tabLst/>
              <a:defRPr sz="18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" panose="02000503040000020004" pitchFamily="2" charset="0"/>
                <a:ea typeface="+mn-ea"/>
                <a:cs typeface="+mn-cs"/>
              </a:rPr>
              <a:t>Challenges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  <a:t>Conventional single bore well design unable to meet targeted flow rates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  <a:t>First ever multi-drain geothermal wells in France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  <a:t>8-1/2” drilling in Carbonate Limestone reservoir (Dogger) with 18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  <a:t>Kps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LB Sans Light"/>
              <a:ea typeface="+mn-ea"/>
              <a:cs typeface="+mn-cs"/>
            </a:endParaRP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  <a:t>First time Archer RSS deploymen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09CCCAB-6552-90B0-761A-5B03214F1936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7649" y="2503418"/>
            <a:ext cx="3609976" cy="2488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01350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CD36D1-B178-F457-E97F-8798DE992EB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336756" y="6400732"/>
            <a:ext cx="3321844" cy="2498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DCE1E1">
                    <a:lumMod val="75000"/>
                  </a:srgbClr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Customer Releas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F4F82D-6BC6-0A6E-537C-4DAB4EAB533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37C662-D0ED-4587-B264-5C4F0D975D18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DCE1E1">
                    <a:lumMod val="75000"/>
                  </a:srgbClr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DCE1E1">
                  <a:lumMod val="75000"/>
                </a:srgbClr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164F781-B5CA-1614-B6A7-45269D32F283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sz="1800" dirty="0"/>
              <a:t>Application</a:t>
            </a:r>
          </a:p>
          <a:p>
            <a:pPr lvl="2"/>
            <a:r>
              <a:rPr lang="en-US" sz="1600" dirty="0">
                <a:latin typeface="+mj-lt"/>
              </a:rPr>
              <a:t>Geothermal System: District Heating</a:t>
            </a:r>
          </a:p>
          <a:p>
            <a:pPr lvl="2"/>
            <a:r>
              <a:rPr lang="en-US" sz="1600" dirty="0">
                <a:latin typeface="+mj-lt"/>
              </a:rPr>
              <a:t>Reservoir Temperature: 70° C</a:t>
            </a:r>
          </a:p>
          <a:p>
            <a:pPr lvl="2"/>
            <a:r>
              <a:rPr lang="en-US" sz="1600" dirty="0">
                <a:latin typeface="+mj-lt"/>
              </a:rPr>
              <a:t>Well Type: Horizontal / Doublet</a:t>
            </a:r>
          </a:p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BD26496-161C-4792-9631-9223847F6B4C}"/>
              </a:ext>
            </a:extLst>
          </p:cNvPr>
          <p:cNvSpPr>
            <a:spLocks noGrp="1"/>
          </p:cNvSpPr>
          <p:nvPr>
            <p:ph sz="half" idx="14"/>
          </p:nvPr>
        </p:nvSpPr>
        <p:spPr/>
        <p:txBody>
          <a:bodyPr/>
          <a:lstStyle/>
          <a:p>
            <a:r>
              <a:rPr lang="en-US" sz="1800" dirty="0"/>
              <a:t>Challenges</a:t>
            </a:r>
          </a:p>
          <a:p>
            <a:pPr lvl="2"/>
            <a:r>
              <a:rPr lang="en-US" sz="1600" dirty="0">
                <a:latin typeface="+mj-lt"/>
              </a:rPr>
              <a:t>Urgent need for heat source to supply the city district heating network</a:t>
            </a:r>
          </a:p>
          <a:p>
            <a:pPr lvl="2"/>
            <a:r>
              <a:rPr lang="en-US" sz="1600" dirty="0">
                <a:latin typeface="+mj-lt"/>
              </a:rPr>
              <a:t>Insufficient flow production from conventional drilling techniques  </a:t>
            </a:r>
          </a:p>
          <a:p>
            <a:pPr lvl="2"/>
            <a:r>
              <a:rPr lang="en-US" sz="1600" dirty="0">
                <a:latin typeface="+mj-lt"/>
              </a:rPr>
              <a:t>Carbonates Limestone reservoir (Dogger), 18 </a:t>
            </a:r>
            <a:r>
              <a:rPr lang="en-US" sz="1600" dirty="0" err="1">
                <a:latin typeface="+mj-lt"/>
              </a:rPr>
              <a:t>Kpsi</a:t>
            </a:r>
            <a:r>
              <a:rPr lang="en-US" sz="1600" dirty="0">
                <a:latin typeface="+mj-lt"/>
              </a:rPr>
              <a:t> UCS, 9.5” section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9D333FF-72B4-80E2-D73C-63CFE9E3C1A5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4498974" y="3242641"/>
            <a:ext cx="3740500" cy="1878000"/>
          </a:xfrm>
        </p:spPr>
        <p:txBody>
          <a:bodyPr/>
          <a:lstStyle/>
          <a:p>
            <a:r>
              <a:rPr lang="en-US" sz="1800" dirty="0"/>
              <a:t>Solution</a:t>
            </a:r>
          </a:p>
          <a:p>
            <a:pPr lvl="2"/>
            <a:r>
              <a:rPr lang="en-US" sz="1600" dirty="0">
                <a:latin typeface="+mj-lt"/>
              </a:rPr>
              <a:t>Well Placement with </a:t>
            </a:r>
            <a:r>
              <a:rPr lang="en-US" sz="1600" dirty="0" err="1">
                <a:latin typeface="+mj-lt"/>
              </a:rPr>
              <a:t>PeriScopeHD</a:t>
            </a:r>
            <a:r>
              <a:rPr lang="en-US" sz="1600" dirty="0">
                <a:latin typeface="+mj-lt"/>
              </a:rPr>
              <a:t> and </a:t>
            </a:r>
            <a:r>
              <a:rPr lang="en-US" sz="1600" dirty="0" err="1">
                <a:latin typeface="+mj-lt"/>
              </a:rPr>
              <a:t>EcoScope</a:t>
            </a:r>
            <a:r>
              <a:rPr lang="en-US" sz="1600" dirty="0">
                <a:latin typeface="+mj-lt"/>
              </a:rPr>
              <a:t> to navigate the reservoir</a:t>
            </a:r>
          </a:p>
          <a:p>
            <a:pPr lvl="2"/>
            <a:r>
              <a:rPr lang="en-US" sz="1600" dirty="0">
                <a:latin typeface="+mj-lt"/>
              </a:rPr>
              <a:t>Horizontal drilling RSS BHA for accurate steering control</a:t>
            </a:r>
          </a:p>
          <a:p>
            <a:pPr lvl="2"/>
            <a:r>
              <a:rPr lang="en-US" sz="1600" dirty="0">
                <a:latin typeface="+mj-lt"/>
              </a:rPr>
              <a:t>Hole opening while drilling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55A3C1C-21F1-A06D-7D3E-5F408D5466D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568117" y="3242641"/>
            <a:ext cx="3378895" cy="3068013"/>
          </a:xfrm>
        </p:spPr>
        <p:txBody>
          <a:bodyPr/>
          <a:lstStyle/>
          <a:p>
            <a:r>
              <a:rPr lang="en-US" sz="1800" dirty="0"/>
              <a:t>Results</a:t>
            </a:r>
            <a:endParaRPr lang="en-US" sz="1800" noProof="0" dirty="0"/>
          </a:p>
          <a:p>
            <a:pPr lvl="2"/>
            <a:r>
              <a:rPr lang="en-US" sz="1600" dirty="0">
                <a:latin typeface="+mj-lt"/>
              </a:rPr>
              <a:t>First geothermal application of </a:t>
            </a:r>
            <a:r>
              <a:rPr lang="en-US" sz="1600" dirty="0" err="1">
                <a:latin typeface="+mj-lt"/>
              </a:rPr>
              <a:t>PeriScopeHD</a:t>
            </a:r>
            <a:endParaRPr lang="en-US" sz="1600" dirty="0">
              <a:latin typeface="+mj-lt"/>
            </a:endParaRPr>
          </a:p>
          <a:p>
            <a:pPr lvl="2"/>
            <a:r>
              <a:rPr lang="en-US" sz="1600" dirty="0">
                <a:latin typeface="+mj-lt"/>
              </a:rPr>
              <a:t>Reservoir properties evaluation with </a:t>
            </a:r>
            <a:r>
              <a:rPr lang="en-US" sz="1600" dirty="0" err="1">
                <a:latin typeface="+mj-lt"/>
              </a:rPr>
              <a:t>EcoScope</a:t>
            </a:r>
            <a:r>
              <a:rPr lang="en-US" sz="1600" dirty="0">
                <a:latin typeface="+mj-lt"/>
              </a:rPr>
              <a:t> to qualify sweet spot</a:t>
            </a:r>
          </a:p>
          <a:p>
            <a:pPr lvl="2"/>
            <a:r>
              <a:rPr lang="en-US" sz="1600" dirty="0">
                <a:latin typeface="+mj-lt"/>
              </a:rPr>
              <a:t>Elimination of Pilot Hole in the 2</a:t>
            </a:r>
            <a:r>
              <a:rPr lang="en-US" sz="1600" baseline="30000" dirty="0">
                <a:latin typeface="+mj-lt"/>
              </a:rPr>
              <a:t>nd</a:t>
            </a:r>
            <a:r>
              <a:rPr lang="en-US" sz="1600" dirty="0">
                <a:latin typeface="+mj-lt"/>
              </a:rPr>
              <a:t> well thanks to LWD accuracy</a:t>
            </a:r>
          </a:p>
          <a:p>
            <a:pPr lvl="2"/>
            <a:r>
              <a:rPr lang="en-US" sz="1600" dirty="0">
                <a:latin typeface="+mj-lt"/>
              </a:rPr>
              <a:t>Hole opening to 9.5” while drilling enhanced flow production</a:t>
            </a:r>
          </a:p>
        </p:txBody>
      </p:sp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43F61E1B-9BD7-EA52-138F-936DAA04892F}"/>
              </a:ext>
            </a:extLst>
          </p:cNvPr>
          <p:cNvSpPr txBox="1">
            <a:spLocks/>
          </p:cNvSpPr>
          <p:nvPr/>
        </p:nvSpPr>
        <p:spPr>
          <a:xfrm>
            <a:off x="4498973" y="5009240"/>
            <a:ext cx="3740501" cy="18544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SLB Sans" panose="02000503040000020004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2pPr>
            <a:lvl3pPr marL="342900" indent="-3429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→"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3pPr>
            <a:lvl4pPr marL="684000" indent="-342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−"/>
              <a:tabLst/>
              <a:defRPr sz="18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" panose="02000503040000020004" pitchFamily="2" charset="0"/>
                <a:ea typeface="+mn-ea"/>
                <a:cs typeface="+mn-cs"/>
              </a:rPr>
              <a:t>Business Impact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Light" panose="02000503040000020004" pitchFamily="2" charset="0"/>
                <a:ea typeface="+mn-ea"/>
                <a:cs typeface="+mn-cs"/>
              </a:rPr>
              <a:t>100% production increase compared to conventional geothermal well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Light" panose="02000503040000020004" pitchFamily="2" charset="0"/>
                <a:ea typeface="+mn-ea"/>
                <a:cs typeface="+mn-cs"/>
              </a:rPr>
              <a:t>15 MW of heating capacity 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Light" panose="02000503040000020004" pitchFamily="2" charset="0"/>
                <a:ea typeface="+mn-ea"/>
                <a:cs typeface="+mn-cs"/>
              </a:rPr>
              <a:t>Avoid 15,000 metric Tons of CO2 emissions per year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LB Sans Book" panose="02000503040000020004" pitchFamily="2" charset="0"/>
              <a:ea typeface="+mn-ea"/>
              <a:cs typeface="+mn-cs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C0AB0A4-682D-3D50-F5AC-ACC746C1C24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5854" y="5702828"/>
            <a:ext cx="3189001" cy="11551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7703C0DD-8B92-BB7A-CCC3-FEB65FCE8E3A}"/>
              </a:ext>
            </a:extLst>
          </p:cNvPr>
          <p:cNvSpPr txBox="1">
            <a:spLocks/>
          </p:cNvSpPr>
          <p:nvPr/>
        </p:nvSpPr>
        <p:spPr>
          <a:xfrm>
            <a:off x="274968" y="1868650"/>
            <a:ext cx="3624821" cy="3421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SLB Sans" panose="02000503040000020004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2pPr>
            <a:lvl3pPr marL="342900" indent="-3429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→"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3pPr>
            <a:lvl4pPr marL="684000" indent="-342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−"/>
              <a:tabLst/>
              <a:defRPr sz="18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" panose="02000503040000020004" pitchFamily="2" charset="0"/>
                <a:ea typeface="+mn-ea"/>
                <a:cs typeface="+mn-cs"/>
              </a:rPr>
              <a:t>Multi-boundary mapping while drilling, with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" panose="02000503040000020004" pitchFamily="2" charset="0"/>
                <a:ea typeface="+mn-ea"/>
                <a:cs typeface="+mn-cs"/>
              </a:rPr>
              <a:t>PeriScopeHD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" panose="02000503040000020004" pitchFamily="2" charset="0"/>
                <a:ea typeface="+mn-ea"/>
                <a:cs typeface="+mn-cs"/>
              </a:rPr>
              <a:t>, to remain in the most productive layers of the reservoir</a:t>
            </a:r>
            <a:endParaRPr kumimoji="0" lang="en-US" sz="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LB Sans" panose="02000503040000020004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LB Sans" panose="02000503040000020004" pitchFamily="2" charset="0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FCFCE71-DBBE-60F6-3052-B5E98CD8DFA6}"/>
              </a:ext>
            </a:extLst>
          </p:cNvPr>
          <p:cNvSpPr txBox="1"/>
          <p:nvPr/>
        </p:nvSpPr>
        <p:spPr>
          <a:xfrm>
            <a:off x="448536" y="4992787"/>
            <a:ext cx="32081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2323C"/>
                </a:solidFill>
                <a:effectLst/>
                <a:uLnTx/>
                <a:uFillTx/>
                <a:latin typeface="SLB Sans Medium" panose="02000503040000020004" pitchFamily="50" charset="0"/>
                <a:ea typeface="+mn-ea"/>
                <a:cs typeface="+mn-cs"/>
              </a:rPr>
              <a:t>Custome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2323C"/>
                </a:solidFill>
                <a:effectLst/>
                <a:uLnTx/>
                <a:uFillTx/>
                <a:latin typeface="SLB Sans Medium" panose="02000503040000020004" pitchFamily="50" charset="0"/>
                <a:ea typeface="+mn-ea"/>
                <a:cs typeface="+mn-cs"/>
              </a:rPr>
              <a:t>SMP Energies / GPC IP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2323C"/>
              </a:solidFill>
              <a:effectLst/>
              <a:uLnTx/>
              <a:uFillTx/>
              <a:latin typeface="SLB Sans Medium" panose="02000503040000020004" pitchFamily="50" charset="0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3CC7540-F172-AD43-58AA-2283F6AB362A}"/>
              </a:ext>
            </a:extLst>
          </p:cNvPr>
          <p:cNvGrpSpPr/>
          <p:nvPr/>
        </p:nvGrpSpPr>
        <p:grpSpPr>
          <a:xfrm>
            <a:off x="159222" y="2495579"/>
            <a:ext cx="3795214" cy="2453398"/>
            <a:chOff x="5659560" y="265073"/>
            <a:chExt cx="6309293" cy="4090978"/>
          </a:xfrm>
        </p:grpSpPr>
        <p:sp>
          <p:nvSpPr>
            <p:cNvPr id="17" name="Freeform 4">
              <a:extLst>
                <a:ext uri="{FF2B5EF4-FFF2-40B4-BE49-F238E27FC236}">
                  <a16:creationId xmlns:a16="http://schemas.microsoft.com/office/drawing/2014/main" id="{4C8CDDCF-4C5F-0CFA-53E3-FB7782A7B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99875" y="2772005"/>
              <a:ext cx="133735" cy="160802"/>
            </a:xfrm>
            <a:custGeom>
              <a:avLst/>
              <a:gdLst>
                <a:gd name="connsiteX0" fmla="*/ 74991 w 282220"/>
                <a:gd name="connsiteY0" fmla="*/ 0 h 334378"/>
                <a:gd name="connsiteX1" fmla="*/ 80892 w 282220"/>
                <a:gd name="connsiteY1" fmla="*/ 7868 h 334378"/>
                <a:gd name="connsiteX2" fmla="*/ 84515 w 282220"/>
                <a:gd name="connsiteY2" fmla="*/ 7143 h 334378"/>
                <a:gd name="connsiteX3" fmla="*/ 104968 w 282220"/>
                <a:gd name="connsiteY3" fmla="*/ 34413 h 334378"/>
                <a:gd name="connsiteX4" fmla="*/ 117750 w 282220"/>
                <a:gd name="connsiteY4" fmla="*/ 63629 h 334378"/>
                <a:gd name="connsiteX5" fmla="*/ 154528 w 282220"/>
                <a:gd name="connsiteY5" fmla="*/ 63629 h 334378"/>
                <a:gd name="connsiteX6" fmla="*/ 157469 w 282220"/>
                <a:gd name="connsiteY6" fmla="*/ 70772 h 334378"/>
                <a:gd name="connsiteX7" fmla="*/ 164052 w 282220"/>
                <a:gd name="connsiteY7" fmla="*/ 70772 h 334378"/>
                <a:gd name="connsiteX8" fmla="*/ 179959 w 282220"/>
                <a:gd name="connsiteY8" fmla="*/ 109404 h 334378"/>
                <a:gd name="connsiteX9" fmla="*/ 154962 w 282220"/>
                <a:gd name="connsiteY9" fmla="*/ 113949 h 334378"/>
                <a:gd name="connsiteX10" fmla="*/ 148982 w 282220"/>
                <a:gd name="connsiteY10" fmla="*/ 129894 h 334378"/>
                <a:gd name="connsiteX11" fmla="*/ 181797 w 282220"/>
                <a:gd name="connsiteY11" fmla="*/ 145438 h 334378"/>
                <a:gd name="connsiteX12" fmla="*/ 184776 w 282220"/>
                <a:gd name="connsiteY12" fmla="*/ 149481 h 334378"/>
                <a:gd name="connsiteX13" fmla="*/ 191321 w 282220"/>
                <a:gd name="connsiteY13" fmla="*/ 152581 h 334378"/>
                <a:gd name="connsiteX14" fmla="*/ 223136 w 282220"/>
                <a:gd name="connsiteY14" fmla="*/ 195758 h 334378"/>
                <a:gd name="connsiteX15" fmla="*/ 245861 w 282220"/>
                <a:gd name="connsiteY15" fmla="*/ 234390 h 334378"/>
                <a:gd name="connsiteX16" fmla="*/ 273130 w 282220"/>
                <a:gd name="connsiteY16" fmla="*/ 259387 h 334378"/>
                <a:gd name="connsiteX17" fmla="*/ 282220 w 282220"/>
                <a:gd name="connsiteY17" fmla="*/ 286656 h 334378"/>
                <a:gd name="connsiteX18" fmla="*/ 277675 w 282220"/>
                <a:gd name="connsiteY18" fmla="*/ 325288 h 334378"/>
                <a:gd name="connsiteX19" fmla="*/ 239043 w 282220"/>
                <a:gd name="connsiteY19" fmla="*/ 309381 h 334378"/>
                <a:gd name="connsiteX20" fmla="*/ 223136 w 282220"/>
                <a:gd name="connsiteY20" fmla="*/ 334378 h 334378"/>
                <a:gd name="connsiteX21" fmla="*/ 195866 w 282220"/>
                <a:gd name="connsiteY21" fmla="*/ 318471 h 334378"/>
                <a:gd name="connsiteX22" fmla="*/ 196666 w 282220"/>
                <a:gd name="connsiteY22" fmla="*/ 317351 h 334378"/>
                <a:gd name="connsiteX23" fmla="*/ 186342 w 282220"/>
                <a:gd name="connsiteY23" fmla="*/ 311328 h 334378"/>
                <a:gd name="connsiteX24" fmla="*/ 197705 w 282220"/>
                <a:gd name="connsiteY24" fmla="*/ 295421 h 334378"/>
                <a:gd name="connsiteX25" fmla="*/ 197705 w 282220"/>
                <a:gd name="connsiteY25" fmla="*/ 263606 h 334378"/>
                <a:gd name="connsiteX26" fmla="*/ 170435 w 282220"/>
                <a:gd name="connsiteY26" fmla="*/ 231792 h 334378"/>
                <a:gd name="connsiteX27" fmla="*/ 165890 w 282220"/>
                <a:gd name="connsiteY27" fmla="*/ 193160 h 334378"/>
                <a:gd name="connsiteX28" fmla="*/ 144743 w 282220"/>
                <a:gd name="connsiteY28" fmla="*/ 168488 h 334378"/>
                <a:gd name="connsiteX29" fmla="*/ 120875 w 282220"/>
                <a:gd name="connsiteY29" fmla="*/ 168488 h 334378"/>
                <a:gd name="connsiteX30" fmla="*/ 116330 w 282220"/>
                <a:gd name="connsiteY30" fmla="*/ 179851 h 334378"/>
                <a:gd name="connsiteX31" fmla="*/ 89060 w 282220"/>
                <a:gd name="connsiteY31" fmla="*/ 184396 h 334378"/>
                <a:gd name="connsiteX32" fmla="*/ 85786 w 282220"/>
                <a:gd name="connsiteY32" fmla="*/ 176211 h 334378"/>
                <a:gd name="connsiteX33" fmla="*/ 79536 w 282220"/>
                <a:gd name="connsiteY33" fmla="*/ 177253 h 334378"/>
                <a:gd name="connsiteX34" fmla="*/ 79008 w 282220"/>
                <a:gd name="connsiteY34" fmla="*/ 175932 h 334378"/>
                <a:gd name="connsiteX35" fmla="*/ 41339 w 282220"/>
                <a:gd name="connsiteY35" fmla="*/ 195758 h 334378"/>
                <a:gd name="connsiteX36" fmla="*/ 41339 w 282220"/>
                <a:gd name="connsiteY36" fmla="*/ 183602 h 334378"/>
                <a:gd name="connsiteX37" fmla="*/ 31815 w 282220"/>
                <a:gd name="connsiteY37" fmla="*/ 188615 h 334378"/>
                <a:gd name="connsiteX38" fmla="*/ 31815 w 282220"/>
                <a:gd name="connsiteY38" fmla="*/ 156800 h 334378"/>
                <a:gd name="connsiteX39" fmla="*/ 41619 w 282220"/>
                <a:gd name="connsiteY39" fmla="*/ 123465 h 334378"/>
                <a:gd name="connsiteX40" fmla="*/ 25431 w 282220"/>
                <a:gd name="connsiteY40" fmla="*/ 120767 h 334378"/>
                <a:gd name="connsiteX41" fmla="*/ 25431 w 282220"/>
                <a:gd name="connsiteY41" fmla="*/ 115211 h 334378"/>
                <a:gd name="connsiteX42" fmla="*/ 15907 w 282220"/>
                <a:gd name="connsiteY42" fmla="*/ 113624 h 334378"/>
                <a:gd name="connsiteX43" fmla="*/ 15907 w 282220"/>
                <a:gd name="connsiteY43" fmla="*/ 92600 h 334378"/>
                <a:gd name="connsiteX44" fmla="*/ 9524 w 282220"/>
                <a:gd name="connsiteY44" fmla="*/ 88952 h 334378"/>
                <a:gd name="connsiteX45" fmla="*/ 9896 w 282220"/>
                <a:gd name="connsiteY45" fmla="*/ 87464 h 334378"/>
                <a:gd name="connsiteX46" fmla="*/ 0 w 282220"/>
                <a:gd name="connsiteY46" fmla="*/ 81809 h 334378"/>
                <a:gd name="connsiteX47" fmla="*/ 4545 w 282220"/>
                <a:gd name="connsiteY47" fmla="*/ 63629 h 334378"/>
                <a:gd name="connsiteX48" fmla="*/ 36359 w 282220"/>
                <a:gd name="connsiteY48" fmla="*/ 38632 h 334378"/>
                <a:gd name="connsiteX49" fmla="*/ 43177 w 282220"/>
                <a:gd name="connsiteY49" fmla="*/ 47722 h 334378"/>
                <a:gd name="connsiteX50" fmla="*/ 43405 w 282220"/>
                <a:gd name="connsiteY50" fmla="*/ 47722 h 334378"/>
                <a:gd name="connsiteX51" fmla="*/ 45883 w 282220"/>
                <a:gd name="connsiteY51" fmla="*/ 45775 h 334378"/>
                <a:gd name="connsiteX52" fmla="*/ 47343 w 282220"/>
                <a:gd name="connsiteY52" fmla="*/ 47722 h 334378"/>
                <a:gd name="connsiteX53" fmla="*/ 59084 w 282220"/>
                <a:gd name="connsiteY53" fmla="*/ 47722 h 334378"/>
                <a:gd name="connsiteX54" fmla="*/ 52267 w 282220"/>
                <a:gd name="connsiteY54" fmla="*/ 4545 h 334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282220" h="334378">
                  <a:moveTo>
                    <a:pt x="74991" y="0"/>
                  </a:moveTo>
                  <a:lnTo>
                    <a:pt x="80892" y="7868"/>
                  </a:lnTo>
                  <a:lnTo>
                    <a:pt x="84515" y="7143"/>
                  </a:lnTo>
                  <a:lnTo>
                    <a:pt x="104968" y="34413"/>
                  </a:lnTo>
                  <a:lnTo>
                    <a:pt x="117750" y="63629"/>
                  </a:lnTo>
                  <a:lnTo>
                    <a:pt x="154528" y="63629"/>
                  </a:lnTo>
                  <a:lnTo>
                    <a:pt x="157469" y="70772"/>
                  </a:lnTo>
                  <a:lnTo>
                    <a:pt x="164052" y="70772"/>
                  </a:lnTo>
                  <a:lnTo>
                    <a:pt x="179959" y="109404"/>
                  </a:lnTo>
                  <a:lnTo>
                    <a:pt x="154962" y="113949"/>
                  </a:lnTo>
                  <a:lnTo>
                    <a:pt x="148982" y="129894"/>
                  </a:lnTo>
                  <a:lnTo>
                    <a:pt x="181797" y="145438"/>
                  </a:lnTo>
                  <a:lnTo>
                    <a:pt x="184776" y="149481"/>
                  </a:lnTo>
                  <a:lnTo>
                    <a:pt x="191321" y="152581"/>
                  </a:lnTo>
                  <a:lnTo>
                    <a:pt x="223136" y="195758"/>
                  </a:lnTo>
                  <a:lnTo>
                    <a:pt x="245861" y="234390"/>
                  </a:lnTo>
                  <a:lnTo>
                    <a:pt x="273130" y="259387"/>
                  </a:lnTo>
                  <a:lnTo>
                    <a:pt x="282220" y="286656"/>
                  </a:lnTo>
                  <a:lnTo>
                    <a:pt x="277675" y="325288"/>
                  </a:lnTo>
                  <a:lnTo>
                    <a:pt x="239043" y="309381"/>
                  </a:lnTo>
                  <a:lnTo>
                    <a:pt x="223136" y="334378"/>
                  </a:lnTo>
                  <a:lnTo>
                    <a:pt x="195866" y="318471"/>
                  </a:lnTo>
                  <a:lnTo>
                    <a:pt x="196666" y="317351"/>
                  </a:lnTo>
                  <a:lnTo>
                    <a:pt x="186342" y="311328"/>
                  </a:lnTo>
                  <a:lnTo>
                    <a:pt x="197705" y="295421"/>
                  </a:lnTo>
                  <a:lnTo>
                    <a:pt x="197705" y="263606"/>
                  </a:lnTo>
                  <a:lnTo>
                    <a:pt x="170435" y="231792"/>
                  </a:lnTo>
                  <a:lnTo>
                    <a:pt x="165890" y="193160"/>
                  </a:lnTo>
                  <a:lnTo>
                    <a:pt x="144743" y="168488"/>
                  </a:lnTo>
                  <a:lnTo>
                    <a:pt x="120875" y="168488"/>
                  </a:lnTo>
                  <a:lnTo>
                    <a:pt x="116330" y="179851"/>
                  </a:lnTo>
                  <a:lnTo>
                    <a:pt x="89060" y="184396"/>
                  </a:lnTo>
                  <a:lnTo>
                    <a:pt x="85786" y="176211"/>
                  </a:lnTo>
                  <a:lnTo>
                    <a:pt x="79536" y="177253"/>
                  </a:lnTo>
                  <a:lnTo>
                    <a:pt x="79008" y="175932"/>
                  </a:lnTo>
                  <a:lnTo>
                    <a:pt x="41339" y="195758"/>
                  </a:lnTo>
                  <a:lnTo>
                    <a:pt x="41339" y="183602"/>
                  </a:lnTo>
                  <a:lnTo>
                    <a:pt x="31815" y="188615"/>
                  </a:lnTo>
                  <a:lnTo>
                    <a:pt x="31815" y="156800"/>
                  </a:lnTo>
                  <a:lnTo>
                    <a:pt x="41619" y="123465"/>
                  </a:lnTo>
                  <a:lnTo>
                    <a:pt x="25431" y="120767"/>
                  </a:lnTo>
                  <a:lnTo>
                    <a:pt x="25431" y="115211"/>
                  </a:lnTo>
                  <a:lnTo>
                    <a:pt x="15907" y="113624"/>
                  </a:lnTo>
                  <a:lnTo>
                    <a:pt x="15907" y="92600"/>
                  </a:lnTo>
                  <a:lnTo>
                    <a:pt x="9524" y="88952"/>
                  </a:lnTo>
                  <a:lnTo>
                    <a:pt x="9896" y="87464"/>
                  </a:lnTo>
                  <a:lnTo>
                    <a:pt x="0" y="81809"/>
                  </a:lnTo>
                  <a:lnTo>
                    <a:pt x="4545" y="63629"/>
                  </a:lnTo>
                  <a:lnTo>
                    <a:pt x="36359" y="38632"/>
                  </a:lnTo>
                  <a:lnTo>
                    <a:pt x="43177" y="47722"/>
                  </a:lnTo>
                  <a:lnTo>
                    <a:pt x="43405" y="47722"/>
                  </a:lnTo>
                  <a:lnTo>
                    <a:pt x="45883" y="45775"/>
                  </a:lnTo>
                  <a:lnTo>
                    <a:pt x="47343" y="47722"/>
                  </a:lnTo>
                  <a:lnTo>
                    <a:pt x="59084" y="47722"/>
                  </a:lnTo>
                  <a:lnTo>
                    <a:pt x="52267" y="454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C75834DE-1A6E-85CA-95A6-427A0CB734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50288" y="2805778"/>
              <a:ext cx="143274" cy="273414"/>
            </a:xfrm>
            <a:custGeom>
              <a:avLst/>
              <a:gdLst>
                <a:gd name="connsiteX0" fmla="*/ 102261 w 302346"/>
                <a:gd name="connsiteY0" fmla="*/ 0 h 568550"/>
                <a:gd name="connsiteX1" fmla="*/ 118168 w 302346"/>
                <a:gd name="connsiteY1" fmla="*/ 15907 h 568550"/>
                <a:gd name="connsiteX2" fmla="*/ 118168 w 302346"/>
                <a:gd name="connsiteY2" fmla="*/ 23050 h 568550"/>
                <a:gd name="connsiteX3" fmla="*/ 120549 w 302346"/>
                <a:gd name="connsiteY3" fmla="*/ 25431 h 568550"/>
                <a:gd name="connsiteX4" fmla="*/ 120549 w 302346"/>
                <a:gd name="connsiteY4" fmla="*/ 39029 h 568550"/>
                <a:gd name="connsiteX5" fmla="*/ 145438 w 302346"/>
                <a:gd name="connsiteY5" fmla="*/ 43177 h 568550"/>
                <a:gd name="connsiteX6" fmla="*/ 142879 w 302346"/>
                <a:gd name="connsiteY6" fmla="*/ 51878 h 568550"/>
                <a:gd name="connsiteX7" fmla="*/ 147819 w 302346"/>
                <a:gd name="connsiteY7" fmla="*/ 52701 h 568550"/>
                <a:gd name="connsiteX8" fmla="*/ 136456 w 302346"/>
                <a:gd name="connsiteY8" fmla="*/ 91333 h 568550"/>
                <a:gd name="connsiteX9" fmla="*/ 139561 w 302346"/>
                <a:gd name="connsiteY9" fmla="*/ 113070 h 568550"/>
                <a:gd name="connsiteX10" fmla="*/ 177252 w 302346"/>
                <a:gd name="connsiteY10" fmla="*/ 90899 h 568550"/>
                <a:gd name="connsiteX11" fmla="*/ 188614 w 302346"/>
                <a:gd name="connsiteY11" fmla="*/ 97716 h 568550"/>
                <a:gd name="connsiteX12" fmla="*/ 209067 w 302346"/>
                <a:gd name="connsiteY12" fmla="*/ 97716 h 568550"/>
                <a:gd name="connsiteX13" fmla="*/ 213611 w 302346"/>
                <a:gd name="connsiteY13" fmla="*/ 86354 h 568550"/>
                <a:gd name="connsiteX14" fmla="*/ 240881 w 302346"/>
                <a:gd name="connsiteY14" fmla="*/ 86354 h 568550"/>
                <a:gd name="connsiteX15" fmla="*/ 272695 w 302346"/>
                <a:gd name="connsiteY15" fmla="*/ 118168 h 568550"/>
                <a:gd name="connsiteX16" fmla="*/ 272695 w 302346"/>
                <a:gd name="connsiteY16" fmla="*/ 125311 h 568550"/>
                <a:gd name="connsiteX17" fmla="*/ 275076 w 302346"/>
                <a:gd name="connsiteY17" fmla="*/ 127692 h 568550"/>
                <a:gd name="connsiteX18" fmla="*/ 275076 w 302346"/>
                <a:gd name="connsiteY18" fmla="*/ 159578 h 568550"/>
                <a:gd name="connsiteX19" fmla="*/ 299965 w 302346"/>
                <a:gd name="connsiteY19" fmla="*/ 188615 h 568550"/>
                <a:gd name="connsiteX20" fmla="*/ 299965 w 302346"/>
                <a:gd name="connsiteY20" fmla="*/ 195361 h 568550"/>
                <a:gd name="connsiteX21" fmla="*/ 302346 w 302346"/>
                <a:gd name="connsiteY21" fmla="*/ 198139 h 568550"/>
                <a:gd name="connsiteX22" fmla="*/ 302346 w 302346"/>
                <a:gd name="connsiteY22" fmla="*/ 229953 h 568550"/>
                <a:gd name="connsiteX23" fmla="*/ 290984 w 302346"/>
                <a:gd name="connsiteY23" fmla="*/ 245860 h 568550"/>
                <a:gd name="connsiteX24" fmla="*/ 259169 w 302346"/>
                <a:gd name="connsiteY24" fmla="*/ 241316 h 568550"/>
                <a:gd name="connsiteX25" fmla="*/ 211448 w 302346"/>
                <a:gd name="connsiteY25" fmla="*/ 252678 h 568550"/>
                <a:gd name="connsiteX26" fmla="*/ 184178 w 302346"/>
                <a:gd name="connsiteY26" fmla="*/ 279947 h 568550"/>
                <a:gd name="connsiteX27" fmla="*/ 195540 w 302346"/>
                <a:gd name="connsiteY27" fmla="*/ 327669 h 568550"/>
                <a:gd name="connsiteX28" fmla="*/ 163726 w 302346"/>
                <a:gd name="connsiteY28" fmla="*/ 311762 h 568550"/>
                <a:gd name="connsiteX29" fmla="*/ 129639 w 302346"/>
                <a:gd name="connsiteY29" fmla="*/ 311762 h 568550"/>
                <a:gd name="connsiteX30" fmla="*/ 131680 w 302346"/>
                <a:gd name="connsiteY30" fmla="*/ 302238 h 568550"/>
                <a:gd name="connsiteX31" fmla="*/ 127258 w 302346"/>
                <a:gd name="connsiteY31" fmla="*/ 302238 h 568550"/>
                <a:gd name="connsiteX32" fmla="*/ 132034 w 302346"/>
                <a:gd name="connsiteY32" fmla="*/ 279947 h 568550"/>
                <a:gd name="connsiteX33" fmla="*/ 104642 w 302346"/>
                <a:gd name="connsiteY33" fmla="*/ 279947 h 568550"/>
                <a:gd name="connsiteX34" fmla="*/ 97824 w 302346"/>
                <a:gd name="connsiteY34" fmla="*/ 323124 h 568550"/>
                <a:gd name="connsiteX35" fmla="*/ 81917 w 302346"/>
                <a:gd name="connsiteY35" fmla="*/ 375391 h 568550"/>
                <a:gd name="connsiteX36" fmla="*/ 66010 w 302346"/>
                <a:gd name="connsiteY36" fmla="*/ 407205 h 568550"/>
                <a:gd name="connsiteX37" fmla="*/ 68968 w 302346"/>
                <a:gd name="connsiteY37" fmla="*/ 424951 h 568550"/>
                <a:gd name="connsiteX38" fmla="*/ 90898 w 302346"/>
                <a:gd name="connsiteY38" fmla="*/ 424951 h 568550"/>
                <a:gd name="connsiteX39" fmla="*/ 106806 w 302346"/>
                <a:gd name="connsiteY39" fmla="*/ 463583 h 568550"/>
                <a:gd name="connsiteX40" fmla="*/ 107854 w 302346"/>
                <a:gd name="connsiteY40" fmla="*/ 469869 h 568550"/>
                <a:gd name="connsiteX41" fmla="*/ 109187 w 302346"/>
                <a:gd name="connsiteY41" fmla="*/ 473107 h 568550"/>
                <a:gd name="connsiteX42" fmla="*/ 112323 w 302346"/>
                <a:gd name="connsiteY42" fmla="*/ 491921 h 568550"/>
                <a:gd name="connsiteX43" fmla="*/ 134075 w 302346"/>
                <a:gd name="connsiteY43" fmla="*/ 515849 h 568550"/>
                <a:gd name="connsiteX44" fmla="*/ 154527 w 302346"/>
                <a:gd name="connsiteY44" fmla="*/ 515849 h 568550"/>
                <a:gd name="connsiteX45" fmla="*/ 177252 w 302346"/>
                <a:gd name="connsiteY45" fmla="*/ 538574 h 568550"/>
                <a:gd name="connsiteX46" fmla="*/ 174276 w 302346"/>
                <a:gd name="connsiteY46" fmla="*/ 542741 h 568550"/>
                <a:gd name="connsiteX47" fmla="*/ 179633 w 302346"/>
                <a:gd name="connsiteY47" fmla="*/ 548098 h 568550"/>
                <a:gd name="connsiteX48" fmla="*/ 168271 w 302346"/>
                <a:gd name="connsiteY48" fmla="*/ 564005 h 568550"/>
                <a:gd name="connsiteX49" fmla="*/ 141001 w 302346"/>
                <a:gd name="connsiteY49" fmla="*/ 568550 h 568550"/>
                <a:gd name="connsiteX50" fmla="*/ 141001 w 302346"/>
                <a:gd name="connsiteY50" fmla="*/ 558629 h 568550"/>
                <a:gd name="connsiteX51" fmla="*/ 138620 w 302346"/>
                <a:gd name="connsiteY51" fmla="*/ 559026 h 568550"/>
                <a:gd name="connsiteX52" fmla="*/ 138620 w 302346"/>
                <a:gd name="connsiteY52" fmla="*/ 546908 h 568550"/>
                <a:gd name="connsiteX53" fmla="*/ 109187 w 302346"/>
                <a:gd name="connsiteY53" fmla="*/ 532191 h 568550"/>
                <a:gd name="connsiteX54" fmla="*/ 104642 w 302346"/>
                <a:gd name="connsiteY54" fmla="*/ 536736 h 568550"/>
                <a:gd name="connsiteX55" fmla="*/ 88735 w 302346"/>
                <a:gd name="connsiteY55" fmla="*/ 525373 h 568550"/>
                <a:gd name="connsiteX56" fmla="*/ 81917 w 302346"/>
                <a:gd name="connsiteY56" fmla="*/ 504921 h 568550"/>
                <a:gd name="connsiteX57" fmla="*/ 61465 w 302346"/>
                <a:gd name="connsiteY57" fmla="*/ 484469 h 568550"/>
                <a:gd name="connsiteX58" fmla="*/ 45558 w 302346"/>
                <a:gd name="connsiteY58" fmla="*/ 466289 h 568550"/>
                <a:gd name="connsiteX59" fmla="*/ 38740 w 302346"/>
                <a:gd name="connsiteY59" fmla="*/ 489014 h 568550"/>
                <a:gd name="connsiteX60" fmla="*/ 29651 w 302346"/>
                <a:gd name="connsiteY60" fmla="*/ 466289 h 568550"/>
                <a:gd name="connsiteX61" fmla="*/ 30161 w 302346"/>
                <a:gd name="connsiteY61" fmla="*/ 463994 h 568550"/>
                <a:gd name="connsiteX62" fmla="*/ 27270 w 302346"/>
                <a:gd name="connsiteY62" fmla="*/ 456765 h 568550"/>
                <a:gd name="connsiteX63" fmla="*/ 31814 w 302346"/>
                <a:gd name="connsiteY63" fmla="*/ 436313 h 568550"/>
                <a:gd name="connsiteX64" fmla="*/ 43177 w 302346"/>
                <a:gd name="connsiteY64" fmla="*/ 397681 h 568550"/>
                <a:gd name="connsiteX65" fmla="*/ 63629 w 302346"/>
                <a:gd name="connsiteY65" fmla="*/ 361322 h 568550"/>
                <a:gd name="connsiteX66" fmla="*/ 79271 w 302346"/>
                <a:gd name="connsiteY66" fmla="*/ 330036 h 568550"/>
                <a:gd name="connsiteX67" fmla="*/ 70555 w 302346"/>
                <a:gd name="connsiteY67" fmla="*/ 300400 h 568550"/>
                <a:gd name="connsiteX68" fmla="*/ 70555 w 302346"/>
                <a:gd name="connsiteY68" fmla="*/ 298971 h 568550"/>
                <a:gd name="connsiteX69" fmla="*/ 68174 w 302346"/>
                <a:gd name="connsiteY69" fmla="*/ 290876 h 568550"/>
                <a:gd name="connsiteX70" fmla="*/ 68174 w 302346"/>
                <a:gd name="connsiteY70" fmla="*/ 274968 h 568550"/>
                <a:gd name="connsiteX71" fmla="*/ 65427 w 302346"/>
                <a:gd name="connsiteY71" fmla="*/ 261233 h 568550"/>
                <a:gd name="connsiteX72" fmla="*/ 38740 w 302346"/>
                <a:gd name="connsiteY72" fmla="*/ 236771 h 568550"/>
                <a:gd name="connsiteX73" fmla="*/ 36942 w 302346"/>
                <a:gd name="connsiteY73" fmla="*/ 227781 h 568550"/>
                <a:gd name="connsiteX74" fmla="*/ 36359 w 302346"/>
                <a:gd name="connsiteY74" fmla="*/ 227247 h 568550"/>
                <a:gd name="connsiteX75" fmla="*/ 31814 w 302346"/>
                <a:gd name="connsiteY75" fmla="*/ 204522 h 568550"/>
                <a:gd name="connsiteX76" fmla="*/ 43177 w 302346"/>
                <a:gd name="connsiteY76" fmla="*/ 199977 h 568550"/>
                <a:gd name="connsiteX77" fmla="*/ 57619 w 302346"/>
                <a:gd name="connsiteY77" fmla="*/ 171093 h 568550"/>
                <a:gd name="connsiteX78" fmla="*/ 45558 w 302346"/>
                <a:gd name="connsiteY78" fmla="*/ 150417 h 568550"/>
                <a:gd name="connsiteX79" fmla="*/ 22833 w 302346"/>
                <a:gd name="connsiteY79" fmla="*/ 123147 h 568550"/>
                <a:gd name="connsiteX80" fmla="*/ 2381 w 302346"/>
                <a:gd name="connsiteY80" fmla="*/ 91333 h 568550"/>
                <a:gd name="connsiteX81" fmla="*/ 4945 w 302346"/>
                <a:gd name="connsiteY81" fmla="*/ 89501 h 568550"/>
                <a:gd name="connsiteX82" fmla="*/ 0 w 302346"/>
                <a:gd name="connsiteY82" fmla="*/ 81809 h 568550"/>
                <a:gd name="connsiteX83" fmla="*/ 15907 w 302346"/>
                <a:gd name="connsiteY83" fmla="*/ 70447 h 568550"/>
                <a:gd name="connsiteX84" fmla="*/ 31814 w 302346"/>
                <a:gd name="connsiteY84" fmla="*/ 31815 h 568550"/>
                <a:gd name="connsiteX85" fmla="*/ 59084 w 302346"/>
                <a:gd name="connsiteY85" fmla="*/ 27270 h 568550"/>
                <a:gd name="connsiteX86" fmla="*/ 79536 w 302346"/>
                <a:gd name="connsiteY86" fmla="*/ 11363 h 568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302346" h="568550">
                  <a:moveTo>
                    <a:pt x="102261" y="0"/>
                  </a:moveTo>
                  <a:lnTo>
                    <a:pt x="118168" y="15907"/>
                  </a:lnTo>
                  <a:lnTo>
                    <a:pt x="118168" y="23050"/>
                  </a:lnTo>
                  <a:lnTo>
                    <a:pt x="120549" y="25431"/>
                  </a:lnTo>
                  <a:lnTo>
                    <a:pt x="120549" y="39029"/>
                  </a:lnTo>
                  <a:lnTo>
                    <a:pt x="145438" y="43177"/>
                  </a:lnTo>
                  <a:lnTo>
                    <a:pt x="142879" y="51878"/>
                  </a:lnTo>
                  <a:lnTo>
                    <a:pt x="147819" y="52701"/>
                  </a:lnTo>
                  <a:lnTo>
                    <a:pt x="136456" y="91333"/>
                  </a:lnTo>
                  <a:lnTo>
                    <a:pt x="139561" y="113070"/>
                  </a:lnTo>
                  <a:lnTo>
                    <a:pt x="177252" y="90899"/>
                  </a:lnTo>
                  <a:lnTo>
                    <a:pt x="188614" y="97716"/>
                  </a:lnTo>
                  <a:lnTo>
                    <a:pt x="209067" y="97716"/>
                  </a:lnTo>
                  <a:lnTo>
                    <a:pt x="213611" y="86354"/>
                  </a:lnTo>
                  <a:lnTo>
                    <a:pt x="240881" y="86354"/>
                  </a:lnTo>
                  <a:lnTo>
                    <a:pt x="272695" y="118168"/>
                  </a:lnTo>
                  <a:lnTo>
                    <a:pt x="272695" y="125311"/>
                  </a:lnTo>
                  <a:lnTo>
                    <a:pt x="275076" y="127692"/>
                  </a:lnTo>
                  <a:lnTo>
                    <a:pt x="275076" y="159578"/>
                  </a:lnTo>
                  <a:lnTo>
                    <a:pt x="299965" y="188615"/>
                  </a:lnTo>
                  <a:lnTo>
                    <a:pt x="299965" y="195361"/>
                  </a:lnTo>
                  <a:lnTo>
                    <a:pt x="302346" y="198139"/>
                  </a:lnTo>
                  <a:lnTo>
                    <a:pt x="302346" y="229953"/>
                  </a:lnTo>
                  <a:lnTo>
                    <a:pt x="290984" y="245860"/>
                  </a:lnTo>
                  <a:lnTo>
                    <a:pt x="259169" y="241316"/>
                  </a:lnTo>
                  <a:lnTo>
                    <a:pt x="211448" y="252678"/>
                  </a:lnTo>
                  <a:lnTo>
                    <a:pt x="184178" y="279947"/>
                  </a:lnTo>
                  <a:lnTo>
                    <a:pt x="195540" y="327669"/>
                  </a:lnTo>
                  <a:lnTo>
                    <a:pt x="163726" y="311762"/>
                  </a:lnTo>
                  <a:lnTo>
                    <a:pt x="129639" y="311762"/>
                  </a:lnTo>
                  <a:lnTo>
                    <a:pt x="131680" y="302238"/>
                  </a:lnTo>
                  <a:lnTo>
                    <a:pt x="127258" y="302238"/>
                  </a:lnTo>
                  <a:lnTo>
                    <a:pt x="132034" y="279947"/>
                  </a:lnTo>
                  <a:lnTo>
                    <a:pt x="104642" y="279947"/>
                  </a:lnTo>
                  <a:lnTo>
                    <a:pt x="97824" y="323124"/>
                  </a:lnTo>
                  <a:lnTo>
                    <a:pt x="81917" y="375391"/>
                  </a:lnTo>
                  <a:lnTo>
                    <a:pt x="66010" y="407205"/>
                  </a:lnTo>
                  <a:lnTo>
                    <a:pt x="68968" y="424951"/>
                  </a:lnTo>
                  <a:lnTo>
                    <a:pt x="90898" y="424951"/>
                  </a:lnTo>
                  <a:lnTo>
                    <a:pt x="106806" y="463583"/>
                  </a:lnTo>
                  <a:lnTo>
                    <a:pt x="107854" y="469869"/>
                  </a:lnTo>
                  <a:lnTo>
                    <a:pt x="109187" y="473107"/>
                  </a:lnTo>
                  <a:lnTo>
                    <a:pt x="112323" y="491921"/>
                  </a:lnTo>
                  <a:lnTo>
                    <a:pt x="134075" y="515849"/>
                  </a:lnTo>
                  <a:lnTo>
                    <a:pt x="154527" y="515849"/>
                  </a:lnTo>
                  <a:lnTo>
                    <a:pt x="177252" y="538574"/>
                  </a:lnTo>
                  <a:lnTo>
                    <a:pt x="174276" y="542741"/>
                  </a:lnTo>
                  <a:lnTo>
                    <a:pt x="179633" y="548098"/>
                  </a:lnTo>
                  <a:lnTo>
                    <a:pt x="168271" y="564005"/>
                  </a:lnTo>
                  <a:lnTo>
                    <a:pt x="141001" y="568550"/>
                  </a:lnTo>
                  <a:lnTo>
                    <a:pt x="141001" y="558629"/>
                  </a:lnTo>
                  <a:lnTo>
                    <a:pt x="138620" y="559026"/>
                  </a:lnTo>
                  <a:lnTo>
                    <a:pt x="138620" y="546908"/>
                  </a:lnTo>
                  <a:lnTo>
                    <a:pt x="109187" y="532191"/>
                  </a:lnTo>
                  <a:lnTo>
                    <a:pt x="104642" y="536736"/>
                  </a:lnTo>
                  <a:lnTo>
                    <a:pt x="88735" y="525373"/>
                  </a:lnTo>
                  <a:lnTo>
                    <a:pt x="81917" y="504921"/>
                  </a:lnTo>
                  <a:lnTo>
                    <a:pt x="61465" y="484469"/>
                  </a:lnTo>
                  <a:lnTo>
                    <a:pt x="45558" y="466289"/>
                  </a:lnTo>
                  <a:lnTo>
                    <a:pt x="38740" y="489014"/>
                  </a:lnTo>
                  <a:lnTo>
                    <a:pt x="29651" y="466289"/>
                  </a:lnTo>
                  <a:lnTo>
                    <a:pt x="30161" y="463994"/>
                  </a:lnTo>
                  <a:lnTo>
                    <a:pt x="27270" y="456765"/>
                  </a:lnTo>
                  <a:lnTo>
                    <a:pt x="31814" y="436313"/>
                  </a:lnTo>
                  <a:lnTo>
                    <a:pt x="43177" y="397681"/>
                  </a:lnTo>
                  <a:lnTo>
                    <a:pt x="63629" y="361322"/>
                  </a:lnTo>
                  <a:lnTo>
                    <a:pt x="79271" y="330036"/>
                  </a:lnTo>
                  <a:lnTo>
                    <a:pt x="70555" y="300400"/>
                  </a:lnTo>
                  <a:lnTo>
                    <a:pt x="70555" y="298971"/>
                  </a:lnTo>
                  <a:lnTo>
                    <a:pt x="68174" y="290876"/>
                  </a:lnTo>
                  <a:lnTo>
                    <a:pt x="68174" y="274968"/>
                  </a:lnTo>
                  <a:lnTo>
                    <a:pt x="65427" y="261233"/>
                  </a:lnTo>
                  <a:lnTo>
                    <a:pt x="38740" y="236771"/>
                  </a:lnTo>
                  <a:lnTo>
                    <a:pt x="36942" y="227781"/>
                  </a:lnTo>
                  <a:lnTo>
                    <a:pt x="36359" y="227247"/>
                  </a:lnTo>
                  <a:lnTo>
                    <a:pt x="31814" y="204522"/>
                  </a:lnTo>
                  <a:lnTo>
                    <a:pt x="43177" y="199977"/>
                  </a:lnTo>
                  <a:lnTo>
                    <a:pt x="57619" y="171093"/>
                  </a:lnTo>
                  <a:lnTo>
                    <a:pt x="45558" y="150417"/>
                  </a:lnTo>
                  <a:lnTo>
                    <a:pt x="22833" y="123147"/>
                  </a:lnTo>
                  <a:lnTo>
                    <a:pt x="2381" y="91333"/>
                  </a:lnTo>
                  <a:lnTo>
                    <a:pt x="4945" y="89501"/>
                  </a:lnTo>
                  <a:lnTo>
                    <a:pt x="0" y="81809"/>
                  </a:lnTo>
                  <a:lnTo>
                    <a:pt x="15907" y="70447"/>
                  </a:lnTo>
                  <a:lnTo>
                    <a:pt x="31814" y="31815"/>
                  </a:lnTo>
                  <a:lnTo>
                    <a:pt x="59084" y="27270"/>
                  </a:lnTo>
                  <a:lnTo>
                    <a:pt x="79536" y="11363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C59BAD7A-307C-5A0F-284F-04A93D359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3888" y="2657207"/>
              <a:ext cx="55997" cy="34033"/>
            </a:xfrm>
            <a:custGeom>
              <a:avLst/>
              <a:gdLst>
                <a:gd name="connsiteX0" fmla="*/ 40904 w 118168"/>
                <a:gd name="connsiteY0" fmla="*/ 0 h 70772"/>
                <a:gd name="connsiteX1" fmla="*/ 68174 w 118168"/>
                <a:gd name="connsiteY1" fmla="*/ 4545 h 70772"/>
                <a:gd name="connsiteX2" fmla="*/ 84081 w 118168"/>
                <a:gd name="connsiteY2" fmla="*/ 11362 h 70772"/>
                <a:gd name="connsiteX3" fmla="*/ 99988 w 118168"/>
                <a:gd name="connsiteY3" fmla="*/ 20452 h 70772"/>
                <a:gd name="connsiteX4" fmla="*/ 118168 w 118168"/>
                <a:gd name="connsiteY4" fmla="*/ 31815 h 70772"/>
                <a:gd name="connsiteX5" fmla="*/ 118168 w 118168"/>
                <a:gd name="connsiteY5" fmla="*/ 38958 h 70772"/>
                <a:gd name="connsiteX6" fmla="*/ 118168 w 118168"/>
                <a:gd name="connsiteY6" fmla="*/ 59084 h 70772"/>
                <a:gd name="connsiteX7" fmla="*/ 118168 w 118168"/>
                <a:gd name="connsiteY7" fmla="*/ 66227 h 70772"/>
                <a:gd name="connsiteX8" fmla="*/ 84081 w 118168"/>
                <a:gd name="connsiteY8" fmla="*/ 66227 h 70772"/>
                <a:gd name="connsiteX9" fmla="*/ 52267 w 118168"/>
                <a:gd name="connsiteY9" fmla="*/ 66227 h 70772"/>
                <a:gd name="connsiteX10" fmla="*/ 31814 w 118168"/>
                <a:gd name="connsiteY10" fmla="*/ 70772 h 70772"/>
                <a:gd name="connsiteX11" fmla="*/ 0 w 118168"/>
                <a:gd name="connsiteY11" fmla="*/ 54865 h 70772"/>
                <a:gd name="connsiteX12" fmla="*/ 0 w 118168"/>
                <a:gd name="connsiteY12" fmla="*/ 47722 h 70772"/>
                <a:gd name="connsiteX13" fmla="*/ 0 w 118168"/>
                <a:gd name="connsiteY13" fmla="*/ 45775 h 70772"/>
                <a:gd name="connsiteX14" fmla="*/ 0 w 118168"/>
                <a:gd name="connsiteY14" fmla="*/ 38632 h 70772"/>
                <a:gd name="connsiteX15" fmla="*/ 20452 w 118168"/>
                <a:gd name="connsiteY15" fmla="*/ 11362 h 70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8168" h="70772">
                  <a:moveTo>
                    <a:pt x="40904" y="0"/>
                  </a:moveTo>
                  <a:lnTo>
                    <a:pt x="68174" y="4545"/>
                  </a:lnTo>
                  <a:lnTo>
                    <a:pt x="84081" y="11362"/>
                  </a:lnTo>
                  <a:lnTo>
                    <a:pt x="99988" y="20452"/>
                  </a:lnTo>
                  <a:lnTo>
                    <a:pt x="118168" y="31815"/>
                  </a:lnTo>
                  <a:lnTo>
                    <a:pt x="118168" y="38958"/>
                  </a:lnTo>
                  <a:lnTo>
                    <a:pt x="118168" y="59084"/>
                  </a:lnTo>
                  <a:lnTo>
                    <a:pt x="118168" y="66227"/>
                  </a:lnTo>
                  <a:lnTo>
                    <a:pt x="84081" y="66227"/>
                  </a:lnTo>
                  <a:lnTo>
                    <a:pt x="52267" y="66227"/>
                  </a:lnTo>
                  <a:lnTo>
                    <a:pt x="31814" y="70772"/>
                  </a:lnTo>
                  <a:lnTo>
                    <a:pt x="0" y="54865"/>
                  </a:lnTo>
                  <a:lnTo>
                    <a:pt x="0" y="47722"/>
                  </a:lnTo>
                  <a:lnTo>
                    <a:pt x="0" y="45775"/>
                  </a:lnTo>
                  <a:lnTo>
                    <a:pt x="0" y="38632"/>
                  </a:lnTo>
                  <a:lnTo>
                    <a:pt x="20452" y="1136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3FE01593-B095-91CE-C43D-A12084467F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6607" y="2692125"/>
              <a:ext cx="84098" cy="114903"/>
            </a:xfrm>
            <a:custGeom>
              <a:avLst/>
              <a:gdLst>
                <a:gd name="connsiteX0" fmla="*/ 27487 w 177469"/>
                <a:gd name="connsiteY0" fmla="*/ 0 h 238934"/>
                <a:gd name="connsiteX1" fmla="*/ 54756 w 177469"/>
                <a:gd name="connsiteY1" fmla="*/ 15907 h 238934"/>
                <a:gd name="connsiteX2" fmla="*/ 70663 w 177469"/>
                <a:gd name="connsiteY2" fmla="*/ 15907 h 238934"/>
                <a:gd name="connsiteX3" fmla="*/ 75208 w 177469"/>
                <a:gd name="connsiteY3" fmla="*/ 47722 h 238934"/>
                <a:gd name="connsiteX4" fmla="*/ 107023 w 177469"/>
                <a:gd name="connsiteY4" fmla="*/ 54539 h 238934"/>
                <a:gd name="connsiteX5" fmla="*/ 145655 w 177469"/>
                <a:gd name="connsiteY5" fmla="*/ 54539 h 238934"/>
                <a:gd name="connsiteX6" fmla="*/ 166107 w 177469"/>
                <a:gd name="connsiteY6" fmla="*/ 59084 h 238934"/>
                <a:gd name="connsiteX7" fmla="*/ 150199 w 177469"/>
                <a:gd name="connsiteY7" fmla="*/ 90899 h 238934"/>
                <a:gd name="connsiteX8" fmla="*/ 148684 w 177469"/>
                <a:gd name="connsiteY8" fmla="*/ 91548 h 238934"/>
                <a:gd name="connsiteX9" fmla="*/ 145437 w 177469"/>
                <a:gd name="connsiteY9" fmla="*/ 98042 h 238934"/>
                <a:gd name="connsiteX10" fmla="*/ 129530 w 177469"/>
                <a:gd name="connsiteY10" fmla="*/ 104859 h 238934"/>
                <a:gd name="connsiteX11" fmla="*/ 118811 w 177469"/>
                <a:gd name="connsiteY11" fmla="*/ 118641 h 238934"/>
                <a:gd name="connsiteX12" fmla="*/ 136508 w 177469"/>
                <a:gd name="connsiteY12" fmla="*/ 138305 h 238934"/>
                <a:gd name="connsiteX13" fmla="*/ 140893 w 177469"/>
                <a:gd name="connsiteY13" fmla="*/ 120766 h 238934"/>
                <a:gd name="connsiteX14" fmla="*/ 143869 w 177469"/>
                <a:gd name="connsiteY14" fmla="*/ 120766 h 238934"/>
                <a:gd name="connsiteX15" fmla="*/ 145655 w 177469"/>
                <a:gd name="connsiteY15" fmla="*/ 113623 h 238934"/>
                <a:gd name="connsiteX16" fmla="*/ 157017 w 177469"/>
                <a:gd name="connsiteY16" fmla="*/ 113623 h 238934"/>
                <a:gd name="connsiteX17" fmla="*/ 177469 w 177469"/>
                <a:gd name="connsiteY17" fmla="*/ 177252 h 238934"/>
                <a:gd name="connsiteX18" fmla="*/ 177469 w 177469"/>
                <a:gd name="connsiteY18" fmla="*/ 204522 h 238934"/>
                <a:gd name="connsiteX19" fmla="*/ 172707 w 177469"/>
                <a:gd name="connsiteY19" fmla="*/ 203161 h 238934"/>
                <a:gd name="connsiteX20" fmla="*/ 172707 w 177469"/>
                <a:gd name="connsiteY20" fmla="*/ 211665 h 238934"/>
                <a:gd name="connsiteX21" fmla="*/ 162829 w 177469"/>
                <a:gd name="connsiteY21" fmla="*/ 208842 h 238934"/>
                <a:gd name="connsiteX22" fmla="*/ 166107 w 177469"/>
                <a:gd name="connsiteY22" fmla="*/ 231791 h 238934"/>
                <a:gd name="connsiteX23" fmla="*/ 157112 w 177469"/>
                <a:gd name="connsiteY23" fmla="*/ 209305 h 238934"/>
                <a:gd name="connsiteX24" fmla="*/ 161345 w 177469"/>
                <a:gd name="connsiteY24" fmla="*/ 238934 h 238934"/>
                <a:gd name="connsiteX25" fmla="*/ 152255 w 177469"/>
                <a:gd name="connsiteY25" fmla="*/ 216210 h 238934"/>
                <a:gd name="connsiteX26" fmla="*/ 145437 w 177469"/>
                <a:gd name="connsiteY26" fmla="*/ 195757 h 238934"/>
                <a:gd name="connsiteX27" fmla="*/ 140893 w 177469"/>
                <a:gd name="connsiteY27" fmla="*/ 179850 h 238934"/>
                <a:gd name="connsiteX28" fmla="*/ 124985 w 177469"/>
                <a:gd name="connsiteY28" fmla="*/ 152581 h 238934"/>
                <a:gd name="connsiteX29" fmla="*/ 99974 w 177469"/>
                <a:gd name="connsiteY29" fmla="*/ 152581 h 238934"/>
                <a:gd name="connsiteX30" fmla="*/ 102478 w 177469"/>
                <a:gd name="connsiteY30" fmla="*/ 161345 h 238934"/>
                <a:gd name="connsiteX31" fmla="*/ 97647 w 177469"/>
                <a:gd name="connsiteY31" fmla="*/ 168246 h 238934"/>
                <a:gd name="connsiteX32" fmla="*/ 97716 w 177469"/>
                <a:gd name="connsiteY32" fmla="*/ 168488 h 238934"/>
                <a:gd name="connsiteX33" fmla="*/ 81809 w 177469"/>
                <a:gd name="connsiteY33" fmla="*/ 191213 h 238934"/>
                <a:gd name="connsiteX34" fmla="*/ 70446 w 177469"/>
                <a:gd name="connsiteY34" fmla="*/ 184395 h 238934"/>
                <a:gd name="connsiteX35" fmla="*/ 65901 w 177469"/>
                <a:gd name="connsiteY35" fmla="*/ 191213 h 238934"/>
                <a:gd name="connsiteX36" fmla="*/ 49994 w 177469"/>
                <a:gd name="connsiteY36" fmla="*/ 184395 h 238934"/>
                <a:gd name="connsiteX37" fmla="*/ 38632 w 177469"/>
                <a:gd name="connsiteY37" fmla="*/ 179850 h 238934"/>
                <a:gd name="connsiteX38" fmla="*/ 34087 w 177469"/>
                <a:gd name="connsiteY38" fmla="*/ 152581 h 238934"/>
                <a:gd name="connsiteX39" fmla="*/ 22725 w 177469"/>
                <a:gd name="connsiteY39" fmla="*/ 120766 h 238934"/>
                <a:gd name="connsiteX40" fmla="*/ 27270 w 177469"/>
                <a:gd name="connsiteY40" fmla="*/ 98042 h 238934"/>
                <a:gd name="connsiteX41" fmla="*/ 0 w 177469"/>
                <a:gd name="connsiteY41" fmla="*/ 82134 h 238934"/>
                <a:gd name="connsiteX42" fmla="*/ 6266 w 177469"/>
                <a:gd name="connsiteY42" fmla="*/ 75868 h 238934"/>
                <a:gd name="connsiteX43" fmla="*/ 4762 w 177469"/>
                <a:gd name="connsiteY43" fmla="*/ 74991 h 238934"/>
                <a:gd name="connsiteX44" fmla="*/ 16124 w 177469"/>
                <a:gd name="connsiteY44" fmla="*/ 63629 h 238934"/>
                <a:gd name="connsiteX45" fmla="*/ 31460 w 177469"/>
                <a:gd name="connsiteY45" fmla="*/ 52894 h 238934"/>
                <a:gd name="connsiteX46" fmla="*/ 6817 w 177469"/>
                <a:gd name="connsiteY46" fmla="*/ 34413 h 238934"/>
                <a:gd name="connsiteX47" fmla="*/ 22725 w 177469"/>
                <a:gd name="connsiteY47" fmla="*/ 7143 h 238934"/>
                <a:gd name="connsiteX48" fmla="*/ 23169 w 177469"/>
                <a:gd name="connsiteY48" fmla="*/ 7402 h 238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77469" h="238934">
                  <a:moveTo>
                    <a:pt x="27487" y="0"/>
                  </a:moveTo>
                  <a:lnTo>
                    <a:pt x="54756" y="15907"/>
                  </a:lnTo>
                  <a:lnTo>
                    <a:pt x="70663" y="15907"/>
                  </a:lnTo>
                  <a:lnTo>
                    <a:pt x="75208" y="47722"/>
                  </a:lnTo>
                  <a:lnTo>
                    <a:pt x="107023" y="54539"/>
                  </a:lnTo>
                  <a:lnTo>
                    <a:pt x="145655" y="54539"/>
                  </a:lnTo>
                  <a:lnTo>
                    <a:pt x="166107" y="59084"/>
                  </a:lnTo>
                  <a:lnTo>
                    <a:pt x="150199" y="90899"/>
                  </a:lnTo>
                  <a:lnTo>
                    <a:pt x="148684" y="91548"/>
                  </a:lnTo>
                  <a:lnTo>
                    <a:pt x="145437" y="98042"/>
                  </a:lnTo>
                  <a:lnTo>
                    <a:pt x="129530" y="104859"/>
                  </a:lnTo>
                  <a:lnTo>
                    <a:pt x="118811" y="118641"/>
                  </a:lnTo>
                  <a:lnTo>
                    <a:pt x="136508" y="138305"/>
                  </a:lnTo>
                  <a:lnTo>
                    <a:pt x="140893" y="120766"/>
                  </a:lnTo>
                  <a:lnTo>
                    <a:pt x="143869" y="120766"/>
                  </a:lnTo>
                  <a:lnTo>
                    <a:pt x="145655" y="113623"/>
                  </a:lnTo>
                  <a:lnTo>
                    <a:pt x="157017" y="113623"/>
                  </a:lnTo>
                  <a:lnTo>
                    <a:pt x="177469" y="177252"/>
                  </a:lnTo>
                  <a:lnTo>
                    <a:pt x="177469" y="204522"/>
                  </a:lnTo>
                  <a:lnTo>
                    <a:pt x="172707" y="203161"/>
                  </a:lnTo>
                  <a:lnTo>
                    <a:pt x="172707" y="211665"/>
                  </a:lnTo>
                  <a:lnTo>
                    <a:pt x="162829" y="208842"/>
                  </a:lnTo>
                  <a:lnTo>
                    <a:pt x="166107" y="231791"/>
                  </a:lnTo>
                  <a:lnTo>
                    <a:pt x="157112" y="209305"/>
                  </a:lnTo>
                  <a:lnTo>
                    <a:pt x="161345" y="238934"/>
                  </a:lnTo>
                  <a:lnTo>
                    <a:pt x="152255" y="216210"/>
                  </a:lnTo>
                  <a:lnTo>
                    <a:pt x="145437" y="195757"/>
                  </a:lnTo>
                  <a:lnTo>
                    <a:pt x="140893" y="179850"/>
                  </a:lnTo>
                  <a:lnTo>
                    <a:pt x="124985" y="152581"/>
                  </a:lnTo>
                  <a:lnTo>
                    <a:pt x="99974" y="152581"/>
                  </a:lnTo>
                  <a:lnTo>
                    <a:pt x="102478" y="161345"/>
                  </a:lnTo>
                  <a:lnTo>
                    <a:pt x="97647" y="168246"/>
                  </a:lnTo>
                  <a:lnTo>
                    <a:pt x="97716" y="168488"/>
                  </a:lnTo>
                  <a:lnTo>
                    <a:pt x="81809" y="191213"/>
                  </a:lnTo>
                  <a:lnTo>
                    <a:pt x="70446" y="184395"/>
                  </a:lnTo>
                  <a:lnTo>
                    <a:pt x="65901" y="191213"/>
                  </a:lnTo>
                  <a:lnTo>
                    <a:pt x="49994" y="184395"/>
                  </a:lnTo>
                  <a:lnTo>
                    <a:pt x="38632" y="179850"/>
                  </a:lnTo>
                  <a:lnTo>
                    <a:pt x="34087" y="152581"/>
                  </a:lnTo>
                  <a:lnTo>
                    <a:pt x="22725" y="120766"/>
                  </a:lnTo>
                  <a:lnTo>
                    <a:pt x="27270" y="98042"/>
                  </a:lnTo>
                  <a:lnTo>
                    <a:pt x="0" y="82134"/>
                  </a:lnTo>
                  <a:lnTo>
                    <a:pt x="6266" y="75868"/>
                  </a:lnTo>
                  <a:lnTo>
                    <a:pt x="4762" y="74991"/>
                  </a:lnTo>
                  <a:lnTo>
                    <a:pt x="16124" y="63629"/>
                  </a:lnTo>
                  <a:lnTo>
                    <a:pt x="31460" y="52894"/>
                  </a:lnTo>
                  <a:lnTo>
                    <a:pt x="6817" y="34413"/>
                  </a:lnTo>
                  <a:lnTo>
                    <a:pt x="22725" y="7143"/>
                  </a:lnTo>
                  <a:lnTo>
                    <a:pt x="23169" y="740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21" name="Freeform 59">
              <a:extLst>
                <a:ext uri="{FF2B5EF4-FFF2-40B4-BE49-F238E27FC236}">
                  <a16:creationId xmlns:a16="http://schemas.microsoft.com/office/drawing/2014/main" id="{9A98A4DE-0121-CF46-C6C9-EE12913A8F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38982" y="2060580"/>
              <a:ext cx="1069318" cy="791203"/>
            </a:xfrm>
            <a:custGeom>
              <a:avLst/>
              <a:gdLst>
                <a:gd name="T0" fmla="*/ 565 w 993"/>
                <a:gd name="T1" fmla="*/ 720 h 724"/>
                <a:gd name="T2" fmla="*/ 600 w 993"/>
                <a:gd name="T3" fmla="*/ 691 h 724"/>
                <a:gd name="T4" fmla="*/ 872 w 993"/>
                <a:gd name="T5" fmla="*/ 97 h 724"/>
                <a:gd name="T6" fmla="*/ 927 w 993"/>
                <a:gd name="T7" fmla="*/ 145 h 724"/>
                <a:gd name="T8" fmla="*/ 984 w 993"/>
                <a:gd name="T9" fmla="*/ 149 h 724"/>
                <a:gd name="T10" fmla="*/ 941 w 993"/>
                <a:gd name="T11" fmla="*/ 201 h 724"/>
                <a:gd name="T12" fmla="*/ 922 w 993"/>
                <a:gd name="T13" fmla="*/ 256 h 724"/>
                <a:gd name="T14" fmla="*/ 879 w 993"/>
                <a:gd name="T15" fmla="*/ 275 h 724"/>
                <a:gd name="T16" fmla="*/ 849 w 993"/>
                <a:gd name="T17" fmla="*/ 294 h 724"/>
                <a:gd name="T18" fmla="*/ 785 w 993"/>
                <a:gd name="T19" fmla="*/ 334 h 724"/>
                <a:gd name="T20" fmla="*/ 785 w 993"/>
                <a:gd name="T21" fmla="*/ 310 h 724"/>
                <a:gd name="T22" fmla="*/ 733 w 993"/>
                <a:gd name="T23" fmla="*/ 334 h 724"/>
                <a:gd name="T24" fmla="*/ 730 w 993"/>
                <a:gd name="T25" fmla="*/ 362 h 724"/>
                <a:gd name="T26" fmla="*/ 778 w 993"/>
                <a:gd name="T27" fmla="*/ 369 h 724"/>
                <a:gd name="T28" fmla="*/ 759 w 993"/>
                <a:gd name="T29" fmla="*/ 398 h 724"/>
                <a:gd name="T30" fmla="*/ 759 w 993"/>
                <a:gd name="T31" fmla="*/ 452 h 724"/>
                <a:gd name="T32" fmla="*/ 768 w 993"/>
                <a:gd name="T33" fmla="*/ 502 h 724"/>
                <a:gd name="T34" fmla="*/ 775 w 993"/>
                <a:gd name="T35" fmla="*/ 549 h 724"/>
                <a:gd name="T36" fmla="*/ 728 w 993"/>
                <a:gd name="T37" fmla="*/ 613 h 724"/>
                <a:gd name="T38" fmla="*/ 655 w 993"/>
                <a:gd name="T39" fmla="*/ 656 h 724"/>
                <a:gd name="T40" fmla="*/ 600 w 993"/>
                <a:gd name="T41" fmla="*/ 670 h 724"/>
                <a:gd name="T42" fmla="*/ 586 w 993"/>
                <a:gd name="T43" fmla="*/ 670 h 724"/>
                <a:gd name="T44" fmla="*/ 532 w 993"/>
                <a:gd name="T45" fmla="*/ 656 h 724"/>
                <a:gd name="T46" fmla="*/ 499 w 993"/>
                <a:gd name="T47" fmla="*/ 644 h 724"/>
                <a:gd name="T48" fmla="*/ 451 w 993"/>
                <a:gd name="T49" fmla="*/ 653 h 724"/>
                <a:gd name="T50" fmla="*/ 444 w 993"/>
                <a:gd name="T51" fmla="*/ 661 h 724"/>
                <a:gd name="T52" fmla="*/ 418 w 993"/>
                <a:gd name="T53" fmla="*/ 642 h 724"/>
                <a:gd name="T54" fmla="*/ 390 w 993"/>
                <a:gd name="T55" fmla="*/ 604 h 724"/>
                <a:gd name="T56" fmla="*/ 397 w 993"/>
                <a:gd name="T57" fmla="*/ 556 h 724"/>
                <a:gd name="T58" fmla="*/ 371 w 993"/>
                <a:gd name="T59" fmla="*/ 537 h 724"/>
                <a:gd name="T60" fmla="*/ 319 w 993"/>
                <a:gd name="T61" fmla="*/ 540 h 724"/>
                <a:gd name="T62" fmla="*/ 276 w 993"/>
                <a:gd name="T63" fmla="*/ 549 h 724"/>
                <a:gd name="T64" fmla="*/ 243 w 993"/>
                <a:gd name="T65" fmla="*/ 549 h 724"/>
                <a:gd name="T66" fmla="*/ 184 w 993"/>
                <a:gd name="T67" fmla="*/ 540 h 724"/>
                <a:gd name="T68" fmla="*/ 139 w 993"/>
                <a:gd name="T69" fmla="*/ 514 h 724"/>
                <a:gd name="T70" fmla="*/ 82 w 993"/>
                <a:gd name="T71" fmla="*/ 488 h 724"/>
                <a:gd name="T72" fmla="*/ 82 w 993"/>
                <a:gd name="T73" fmla="*/ 448 h 724"/>
                <a:gd name="T74" fmla="*/ 35 w 993"/>
                <a:gd name="T75" fmla="*/ 386 h 724"/>
                <a:gd name="T76" fmla="*/ 18 w 993"/>
                <a:gd name="T77" fmla="*/ 353 h 724"/>
                <a:gd name="T78" fmla="*/ 4 w 993"/>
                <a:gd name="T79" fmla="*/ 324 h 724"/>
                <a:gd name="T80" fmla="*/ 44 w 993"/>
                <a:gd name="T81" fmla="*/ 310 h 724"/>
                <a:gd name="T82" fmla="*/ 104 w 993"/>
                <a:gd name="T83" fmla="*/ 272 h 724"/>
                <a:gd name="T84" fmla="*/ 101 w 993"/>
                <a:gd name="T85" fmla="*/ 211 h 724"/>
                <a:gd name="T86" fmla="*/ 184 w 993"/>
                <a:gd name="T87" fmla="*/ 163 h 724"/>
                <a:gd name="T88" fmla="*/ 222 w 993"/>
                <a:gd name="T89" fmla="*/ 109 h 724"/>
                <a:gd name="T90" fmla="*/ 267 w 993"/>
                <a:gd name="T91" fmla="*/ 147 h 724"/>
                <a:gd name="T92" fmla="*/ 298 w 993"/>
                <a:gd name="T93" fmla="*/ 206 h 724"/>
                <a:gd name="T94" fmla="*/ 357 w 993"/>
                <a:gd name="T95" fmla="*/ 246 h 724"/>
                <a:gd name="T96" fmla="*/ 439 w 993"/>
                <a:gd name="T97" fmla="*/ 261 h 724"/>
                <a:gd name="T98" fmla="*/ 506 w 993"/>
                <a:gd name="T99" fmla="*/ 284 h 724"/>
                <a:gd name="T100" fmla="*/ 593 w 993"/>
                <a:gd name="T101" fmla="*/ 256 h 724"/>
                <a:gd name="T102" fmla="*/ 610 w 993"/>
                <a:gd name="T103" fmla="*/ 223 h 724"/>
                <a:gd name="T104" fmla="*/ 659 w 993"/>
                <a:gd name="T105" fmla="*/ 201 h 724"/>
                <a:gd name="T106" fmla="*/ 730 w 993"/>
                <a:gd name="T107" fmla="*/ 166 h 724"/>
                <a:gd name="T108" fmla="*/ 719 w 993"/>
                <a:gd name="T109" fmla="*/ 137 h 724"/>
                <a:gd name="T110" fmla="*/ 676 w 993"/>
                <a:gd name="T111" fmla="*/ 135 h 724"/>
                <a:gd name="T112" fmla="*/ 738 w 993"/>
                <a:gd name="T113" fmla="*/ 85 h 724"/>
                <a:gd name="T114" fmla="*/ 761 w 993"/>
                <a:gd name="T115" fmla="*/ 26 h 724"/>
                <a:gd name="T116" fmla="*/ 806 w 993"/>
                <a:gd name="T117" fmla="*/ 0 h 724"/>
                <a:gd name="T118" fmla="*/ 863 w 993"/>
                <a:gd name="T119" fmla="*/ 55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93" h="724">
                  <a:moveTo>
                    <a:pt x="593" y="715"/>
                  </a:moveTo>
                  <a:lnTo>
                    <a:pt x="593" y="715"/>
                  </a:lnTo>
                  <a:lnTo>
                    <a:pt x="579" y="724"/>
                  </a:lnTo>
                  <a:lnTo>
                    <a:pt x="565" y="720"/>
                  </a:lnTo>
                  <a:lnTo>
                    <a:pt x="565" y="703"/>
                  </a:lnTo>
                  <a:lnTo>
                    <a:pt x="574" y="696"/>
                  </a:lnTo>
                  <a:lnTo>
                    <a:pt x="591" y="691"/>
                  </a:lnTo>
                  <a:lnTo>
                    <a:pt x="600" y="691"/>
                  </a:lnTo>
                  <a:lnTo>
                    <a:pt x="603" y="698"/>
                  </a:lnTo>
                  <a:lnTo>
                    <a:pt x="596" y="706"/>
                  </a:lnTo>
                  <a:lnTo>
                    <a:pt x="593" y="715"/>
                  </a:lnTo>
                  <a:moveTo>
                    <a:pt x="872" y="97"/>
                  </a:moveTo>
                  <a:lnTo>
                    <a:pt x="872" y="97"/>
                  </a:lnTo>
                  <a:lnTo>
                    <a:pt x="901" y="104"/>
                  </a:lnTo>
                  <a:lnTo>
                    <a:pt x="920" y="121"/>
                  </a:lnTo>
                  <a:lnTo>
                    <a:pt x="927" y="145"/>
                  </a:lnTo>
                  <a:lnTo>
                    <a:pt x="950" y="145"/>
                  </a:lnTo>
                  <a:lnTo>
                    <a:pt x="965" y="135"/>
                  </a:lnTo>
                  <a:lnTo>
                    <a:pt x="993" y="128"/>
                  </a:lnTo>
                  <a:lnTo>
                    <a:pt x="984" y="149"/>
                  </a:lnTo>
                  <a:lnTo>
                    <a:pt x="976" y="159"/>
                  </a:lnTo>
                  <a:lnTo>
                    <a:pt x="972" y="185"/>
                  </a:lnTo>
                  <a:lnTo>
                    <a:pt x="960" y="206"/>
                  </a:lnTo>
                  <a:lnTo>
                    <a:pt x="941" y="201"/>
                  </a:lnTo>
                  <a:lnTo>
                    <a:pt x="927" y="211"/>
                  </a:lnTo>
                  <a:lnTo>
                    <a:pt x="931" y="230"/>
                  </a:lnTo>
                  <a:lnTo>
                    <a:pt x="929" y="256"/>
                  </a:lnTo>
                  <a:lnTo>
                    <a:pt x="922" y="256"/>
                  </a:lnTo>
                  <a:lnTo>
                    <a:pt x="922" y="268"/>
                  </a:lnTo>
                  <a:lnTo>
                    <a:pt x="910" y="253"/>
                  </a:lnTo>
                  <a:lnTo>
                    <a:pt x="905" y="268"/>
                  </a:lnTo>
                  <a:lnTo>
                    <a:pt x="879" y="275"/>
                  </a:lnTo>
                  <a:lnTo>
                    <a:pt x="882" y="287"/>
                  </a:lnTo>
                  <a:lnTo>
                    <a:pt x="868" y="287"/>
                  </a:lnTo>
                  <a:lnTo>
                    <a:pt x="861" y="279"/>
                  </a:lnTo>
                  <a:lnTo>
                    <a:pt x="849" y="294"/>
                  </a:lnTo>
                  <a:lnTo>
                    <a:pt x="832" y="308"/>
                  </a:lnTo>
                  <a:lnTo>
                    <a:pt x="818" y="320"/>
                  </a:lnTo>
                  <a:lnTo>
                    <a:pt x="797" y="327"/>
                  </a:lnTo>
                  <a:lnTo>
                    <a:pt x="785" y="334"/>
                  </a:lnTo>
                  <a:lnTo>
                    <a:pt x="766" y="341"/>
                  </a:lnTo>
                  <a:lnTo>
                    <a:pt x="775" y="332"/>
                  </a:lnTo>
                  <a:lnTo>
                    <a:pt x="771" y="324"/>
                  </a:lnTo>
                  <a:lnTo>
                    <a:pt x="785" y="310"/>
                  </a:lnTo>
                  <a:lnTo>
                    <a:pt x="775" y="298"/>
                  </a:lnTo>
                  <a:lnTo>
                    <a:pt x="761" y="306"/>
                  </a:lnTo>
                  <a:lnTo>
                    <a:pt x="742" y="320"/>
                  </a:lnTo>
                  <a:lnTo>
                    <a:pt x="733" y="334"/>
                  </a:lnTo>
                  <a:lnTo>
                    <a:pt x="719" y="334"/>
                  </a:lnTo>
                  <a:lnTo>
                    <a:pt x="709" y="346"/>
                  </a:lnTo>
                  <a:lnTo>
                    <a:pt x="719" y="358"/>
                  </a:lnTo>
                  <a:lnTo>
                    <a:pt x="730" y="362"/>
                  </a:lnTo>
                  <a:lnTo>
                    <a:pt x="733" y="372"/>
                  </a:lnTo>
                  <a:lnTo>
                    <a:pt x="745" y="377"/>
                  </a:lnTo>
                  <a:lnTo>
                    <a:pt x="761" y="362"/>
                  </a:lnTo>
                  <a:lnTo>
                    <a:pt x="778" y="369"/>
                  </a:lnTo>
                  <a:lnTo>
                    <a:pt x="787" y="372"/>
                  </a:lnTo>
                  <a:lnTo>
                    <a:pt x="790" y="381"/>
                  </a:lnTo>
                  <a:lnTo>
                    <a:pt x="766" y="386"/>
                  </a:lnTo>
                  <a:lnTo>
                    <a:pt x="759" y="398"/>
                  </a:lnTo>
                  <a:lnTo>
                    <a:pt x="745" y="407"/>
                  </a:lnTo>
                  <a:lnTo>
                    <a:pt x="735" y="421"/>
                  </a:lnTo>
                  <a:lnTo>
                    <a:pt x="752" y="433"/>
                  </a:lnTo>
                  <a:lnTo>
                    <a:pt x="759" y="452"/>
                  </a:lnTo>
                  <a:lnTo>
                    <a:pt x="768" y="469"/>
                  </a:lnTo>
                  <a:lnTo>
                    <a:pt x="780" y="483"/>
                  </a:lnTo>
                  <a:lnTo>
                    <a:pt x="780" y="497"/>
                  </a:lnTo>
                  <a:lnTo>
                    <a:pt x="768" y="502"/>
                  </a:lnTo>
                  <a:lnTo>
                    <a:pt x="773" y="511"/>
                  </a:lnTo>
                  <a:lnTo>
                    <a:pt x="782" y="519"/>
                  </a:lnTo>
                  <a:lnTo>
                    <a:pt x="780" y="533"/>
                  </a:lnTo>
                  <a:lnTo>
                    <a:pt x="775" y="549"/>
                  </a:lnTo>
                  <a:lnTo>
                    <a:pt x="766" y="549"/>
                  </a:lnTo>
                  <a:lnTo>
                    <a:pt x="756" y="571"/>
                  </a:lnTo>
                  <a:lnTo>
                    <a:pt x="742" y="592"/>
                  </a:lnTo>
                  <a:lnTo>
                    <a:pt x="728" y="613"/>
                  </a:lnTo>
                  <a:lnTo>
                    <a:pt x="704" y="630"/>
                  </a:lnTo>
                  <a:lnTo>
                    <a:pt x="683" y="644"/>
                  </a:lnTo>
                  <a:lnTo>
                    <a:pt x="664" y="646"/>
                  </a:lnTo>
                  <a:lnTo>
                    <a:pt x="655" y="656"/>
                  </a:lnTo>
                  <a:lnTo>
                    <a:pt x="650" y="649"/>
                  </a:lnTo>
                  <a:lnTo>
                    <a:pt x="641" y="658"/>
                  </a:lnTo>
                  <a:lnTo>
                    <a:pt x="617" y="665"/>
                  </a:lnTo>
                  <a:lnTo>
                    <a:pt x="600" y="670"/>
                  </a:lnTo>
                  <a:lnTo>
                    <a:pt x="596" y="687"/>
                  </a:lnTo>
                  <a:lnTo>
                    <a:pt x="586" y="689"/>
                  </a:lnTo>
                  <a:lnTo>
                    <a:pt x="581" y="677"/>
                  </a:lnTo>
                  <a:lnTo>
                    <a:pt x="586" y="670"/>
                  </a:lnTo>
                  <a:lnTo>
                    <a:pt x="562" y="663"/>
                  </a:lnTo>
                  <a:lnTo>
                    <a:pt x="555" y="665"/>
                  </a:lnTo>
                  <a:lnTo>
                    <a:pt x="539" y="661"/>
                  </a:lnTo>
                  <a:lnTo>
                    <a:pt x="532" y="656"/>
                  </a:lnTo>
                  <a:lnTo>
                    <a:pt x="534" y="644"/>
                  </a:lnTo>
                  <a:lnTo>
                    <a:pt x="520" y="642"/>
                  </a:lnTo>
                  <a:lnTo>
                    <a:pt x="510" y="635"/>
                  </a:lnTo>
                  <a:lnTo>
                    <a:pt x="499" y="644"/>
                  </a:lnTo>
                  <a:lnTo>
                    <a:pt x="482" y="646"/>
                  </a:lnTo>
                  <a:lnTo>
                    <a:pt x="468" y="646"/>
                  </a:lnTo>
                  <a:lnTo>
                    <a:pt x="461" y="651"/>
                  </a:lnTo>
                  <a:lnTo>
                    <a:pt x="451" y="653"/>
                  </a:lnTo>
                  <a:lnTo>
                    <a:pt x="454" y="672"/>
                  </a:lnTo>
                  <a:lnTo>
                    <a:pt x="447" y="672"/>
                  </a:lnTo>
                  <a:lnTo>
                    <a:pt x="444" y="668"/>
                  </a:lnTo>
                  <a:lnTo>
                    <a:pt x="444" y="661"/>
                  </a:lnTo>
                  <a:lnTo>
                    <a:pt x="432" y="665"/>
                  </a:lnTo>
                  <a:lnTo>
                    <a:pt x="425" y="663"/>
                  </a:lnTo>
                  <a:lnTo>
                    <a:pt x="413" y="656"/>
                  </a:lnTo>
                  <a:lnTo>
                    <a:pt x="418" y="642"/>
                  </a:lnTo>
                  <a:lnTo>
                    <a:pt x="409" y="639"/>
                  </a:lnTo>
                  <a:lnTo>
                    <a:pt x="404" y="623"/>
                  </a:lnTo>
                  <a:lnTo>
                    <a:pt x="387" y="625"/>
                  </a:lnTo>
                  <a:lnTo>
                    <a:pt x="390" y="604"/>
                  </a:lnTo>
                  <a:lnTo>
                    <a:pt x="404" y="590"/>
                  </a:lnTo>
                  <a:lnTo>
                    <a:pt x="404" y="575"/>
                  </a:lnTo>
                  <a:lnTo>
                    <a:pt x="404" y="561"/>
                  </a:lnTo>
                  <a:lnTo>
                    <a:pt x="397" y="556"/>
                  </a:lnTo>
                  <a:lnTo>
                    <a:pt x="392" y="547"/>
                  </a:lnTo>
                  <a:lnTo>
                    <a:pt x="383" y="547"/>
                  </a:lnTo>
                  <a:lnTo>
                    <a:pt x="364" y="545"/>
                  </a:lnTo>
                  <a:lnTo>
                    <a:pt x="371" y="537"/>
                  </a:lnTo>
                  <a:lnTo>
                    <a:pt x="361" y="526"/>
                  </a:lnTo>
                  <a:lnTo>
                    <a:pt x="352" y="533"/>
                  </a:lnTo>
                  <a:lnTo>
                    <a:pt x="338" y="528"/>
                  </a:lnTo>
                  <a:lnTo>
                    <a:pt x="319" y="540"/>
                  </a:lnTo>
                  <a:lnTo>
                    <a:pt x="305" y="554"/>
                  </a:lnTo>
                  <a:lnTo>
                    <a:pt x="290" y="556"/>
                  </a:lnTo>
                  <a:lnTo>
                    <a:pt x="283" y="552"/>
                  </a:lnTo>
                  <a:lnTo>
                    <a:pt x="276" y="549"/>
                  </a:lnTo>
                  <a:lnTo>
                    <a:pt x="264" y="547"/>
                  </a:lnTo>
                  <a:lnTo>
                    <a:pt x="255" y="552"/>
                  </a:lnTo>
                  <a:lnTo>
                    <a:pt x="246" y="566"/>
                  </a:lnTo>
                  <a:lnTo>
                    <a:pt x="243" y="549"/>
                  </a:lnTo>
                  <a:lnTo>
                    <a:pt x="234" y="554"/>
                  </a:lnTo>
                  <a:lnTo>
                    <a:pt x="215" y="552"/>
                  </a:lnTo>
                  <a:lnTo>
                    <a:pt x="196" y="549"/>
                  </a:lnTo>
                  <a:lnTo>
                    <a:pt x="184" y="540"/>
                  </a:lnTo>
                  <a:lnTo>
                    <a:pt x="170" y="537"/>
                  </a:lnTo>
                  <a:lnTo>
                    <a:pt x="165" y="528"/>
                  </a:lnTo>
                  <a:lnTo>
                    <a:pt x="156" y="526"/>
                  </a:lnTo>
                  <a:lnTo>
                    <a:pt x="139" y="514"/>
                  </a:lnTo>
                  <a:lnTo>
                    <a:pt x="127" y="507"/>
                  </a:lnTo>
                  <a:lnTo>
                    <a:pt x="120" y="511"/>
                  </a:lnTo>
                  <a:lnTo>
                    <a:pt x="97" y="500"/>
                  </a:lnTo>
                  <a:lnTo>
                    <a:pt x="82" y="488"/>
                  </a:lnTo>
                  <a:lnTo>
                    <a:pt x="78" y="466"/>
                  </a:lnTo>
                  <a:lnTo>
                    <a:pt x="89" y="469"/>
                  </a:lnTo>
                  <a:lnTo>
                    <a:pt x="89" y="459"/>
                  </a:lnTo>
                  <a:lnTo>
                    <a:pt x="82" y="448"/>
                  </a:lnTo>
                  <a:lnTo>
                    <a:pt x="85" y="433"/>
                  </a:lnTo>
                  <a:lnTo>
                    <a:pt x="68" y="410"/>
                  </a:lnTo>
                  <a:lnTo>
                    <a:pt x="40" y="403"/>
                  </a:lnTo>
                  <a:lnTo>
                    <a:pt x="35" y="386"/>
                  </a:lnTo>
                  <a:lnTo>
                    <a:pt x="23" y="377"/>
                  </a:lnTo>
                  <a:lnTo>
                    <a:pt x="21" y="372"/>
                  </a:lnTo>
                  <a:lnTo>
                    <a:pt x="18" y="360"/>
                  </a:lnTo>
                  <a:lnTo>
                    <a:pt x="18" y="353"/>
                  </a:lnTo>
                  <a:lnTo>
                    <a:pt x="9" y="348"/>
                  </a:lnTo>
                  <a:lnTo>
                    <a:pt x="4" y="350"/>
                  </a:lnTo>
                  <a:lnTo>
                    <a:pt x="0" y="332"/>
                  </a:lnTo>
                  <a:lnTo>
                    <a:pt x="4" y="324"/>
                  </a:lnTo>
                  <a:lnTo>
                    <a:pt x="2" y="320"/>
                  </a:lnTo>
                  <a:lnTo>
                    <a:pt x="18" y="310"/>
                  </a:lnTo>
                  <a:lnTo>
                    <a:pt x="28" y="308"/>
                  </a:lnTo>
                  <a:lnTo>
                    <a:pt x="44" y="310"/>
                  </a:lnTo>
                  <a:lnTo>
                    <a:pt x="52" y="296"/>
                  </a:lnTo>
                  <a:lnTo>
                    <a:pt x="73" y="294"/>
                  </a:lnTo>
                  <a:lnTo>
                    <a:pt x="78" y="284"/>
                  </a:lnTo>
                  <a:lnTo>
                    <a:pt x="104" y="272"/>
                  </a:lnTo>
                  <a:lnTo>
                    <a:pt x="106" y="268"/>
                  </a:lnTo>
                  <a:lnTo>
                    <a:pt x="104" y="256"/>
                  </a:lnTo>
                  <a:lnTo>
                    <a:pt x="115" y="249"/>
                  </a:lnTo>
                  <a:lnTo>
                    <a:pt x="101" y="211"/>
                  </a:lnTo>
                  <a:lnTo>
                    <a:pt x="134" y="201"/>
                  </a:lnTo>
                  <a:lnTo>
                    <a:pt x="141" y="197"/>
                  </a:lnTo>
                  <a:lnTo>
                    <a:pt x="153" y="154"/>
                  </a:lnTo>
                  <a:lnTo>
                    <a:pt x="184" y="163"/>
                  </a:lnTo>
                  <a:lnTo>
                    <a:pt x="193" y="152"/>
                  </a:lnTo>
                  <a:lnTo>
                    <a:pt x="196" y="128"/>
                  </a:lnTo>
                  <a:lnTo>
                    <a:pt x="208" y="126"/>
                  </a:lnTo>
                  <a:lnTo>
                    <a:pt x="222" y="109"/>
                  </a:lnTo>
                  <a:lnTo>
                    <a:pt x="227" y="107"/>
                  </a:lnTo>
                  <a:lnTo>
                    <a:pt x="231" y="123"/>
                  </a:lnTo>
                  <a:lnTo>
                    <a:pt x="246" y="137"/>
                  </a:lnTo>
                  <a:lnTo>
                    <a:pt x="267" y="147"/>
                  </a:lnTo>
                  <a:lnTo>
                    <a:pt x="279" y="166"/>
                  </a:lnTo>
                  <a:lnTo>
                    <a:pt x="274" y="192"/>
                  </a:lnTo>
                  <a:lnTo>
                    <a:pt x="279" y="204"/>
                  </a:lnTo>
                  <a:lnTo>
                    <a:pt x="298" y="206"/>
                  </a:lnTo>
                  <a:lnTo>
                    <a:pt x="319" y="211"/>
                  </a:lnTo>
                  <a:lnTo>
                    <a:pt x="340" y="225"/>
                  </a:lnTo>
                  <a:lnTo>
                    <a:pt x="350" y="227"/>
                  </a:lnTo>
                  <a:lnTo>
                    <a:pt x="357" y="246"/>
                  </a:lnTo>
                  <a:lnTo>
                    <a:pt x="366" y="261"/>
                  </a:lnTo>
                  <a:lnTo>
                    <a:pt x="385" y="261"/>
                  </a:lnTo>
                  <a:lnTo>
                    <a:pt x="418" y="265"/>
                  </a:lnTo>
                  <a:lnTo>
                    <a:pt x="439" y="261"/>
                  </a:lnTo>
                  <a:lnTo>
                    <a:pt x="456" y="265"/>
                  </a:lnTo>
                  <a:lnTo>
                    <a:pt x="480" y="277"/>
                  </a:lnTo>
                  <a:lnTo>
                    <a:pt x="499" y="277"/>
                  </a:lnTo>
                  <a:lnTo>
                    <a:pt x="506" y="284"/>
                  </a:lnTo>
                  <a:lnTo>
                    <a:pt x="525" y="272"/>
                  </a:lnTo>
                  <a:lnTo>
                    <a:pt x="551" y="265"/>
                  </a:lnTo>
                  <a:lnTo>
                    <a:pt x="574" y="265"/>
                  </a:lnTo>
                  <a:lnTo>
                    <a:pt x="593" y="256"/>
                  </a:lnTo>
                  <a:lnTo>
                    <a:pt x="605" y="246"/>
                  </a:lnTo>
                  <a:lnTo>
                    <a:pt x="617" y="237"/>
                  </a:lnTo>
                  <a:lnTo>
                    <a:pt x="615" y="230"/>
                  </a:lnTo>
                  <a:lnTo>
                    <a:pt x="610" y="223"/>
                  </a:lnTo>
                  <a:lnTo>
                    <a:pt x="617" y="206"/>
                  </a:lnTo>
                  <a:lnTo>
                    <a:pt x="626" y="208"/>
                  </a:lnTo>
                  <a:lnTo>
                    <a:pt x="643" y="213"/>
                  </a:lnTo>
                  <a:lnTo>
                    <a:pt x="659" y="201"/>
                  </a:lnTo>
                  <a:lnTo>
                    <a:pt x="683" y="192"/>
                  </a:lnTo>
                  <a:lnTo>
                    <a:pt x="695" y="178"/>
                  </a:lnTo>
                  <a:lnTo>
                    <a:pt x="707" y="171"/>
                  </a:lnTo>
                  <a:lnTo>
                    <a:pt x="730" y="166"/>
                  </a:lnTo>
                  <a:lnTo>
                    <a:pt x="745" y="171"/>
                  </a:lnTo>
                  <a:lnTo>
                    <a:pt x="745" y="161"/>
                  </a:lnTo>
                  <a:lnTo>
                    <a:pt x="730" y="145"/>
                  </a:lnTo>
                  <a:lnTo>
                    <a:pt x="719" y="137"/>
                  </a:lnTo>
                  <a:lnTo>
                    <a:pt x="704" y="147"/>
                  </a:lnTo>
                  <a:lnTo>
                    <a:pt x="690" y="142"/>
                  </a:lnTo>
                  <a:lnTo>
                    <a:pt x="681" y="145"/>
                  </a:lnTo>
                  <a:lnTo>
                    <a:pt x="676" y="135"/>
                  </a:lnTo>
                  <a:lnTo>
                    <a:pt x="688" y="111"/>
                  </a:lnTo>
                  <a:lnTo>
                    <a:pt x="695" y="92"/>
                  </a:lnTo>
                  <a:lnTo>
                    <a:pt x="714" y="102"/>
                  </a:lnTo>
                  <a:lnTo>
                    <a:pt x="738" y="85"/>
                  </a:lnTo>
                  <a:lnTo>
                    <a:pt x="738" y="76"/>
                  </a:lnTo>
                  <a:lnTo>
                    <a:pt x="752" y="48"/>
                  </a:lnTo>
                  <a:lnTo>
                    <a:pt x="761" y="40"/>
                  </a:lnTo>
                  <a:lnTo>
                    <a:pt x="761" y="26"/>
                  </a:lnTo>
                  <a:lnTo>
                    <a:pt x="752" y="19"/>
                  </a:lnTo>
                  <a:lnTo>
                    <a:pt x="766" y="5"/>
                  </a:lnTo>
                  <a:lnTo>
                    <a:pt x="785" y="0"/>
                  </a:lnTo>
                  <a:lnTo>
                    <a:pt x="806" y="0"/>
                  </a:lnTo>
                  <a:lnTo>
                    <a:pt x="832" y="7"/>
                  </a:lnTo>
                  <a:lnTo>
                    <a:pt x="846" y="17"/>
                  </a:lnTo>
                  <a:lnTo>
                    <a:pt x="856" y="45"/>
                  </a:lnTo>
                  <a:lnTo>
                    <a:pt x="863" y="55"/>
                  </a:lnTo>
                  <a:lnTo>
                    <a:pt x="868" y="71"/>
                  </a:lnTo>
                  <a:lnTo>
                    <a:pt x="872" y="97"/>
                  </a:lnTo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FADB8CB8-1B17-1264-1DF1-97F6418BB2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33154" y="2752231"/>
              <a:ext cx="128301" cy="275599"/>
            </a:xfrm>
            <a:custGeom>
              <a:avLst/>
              <a:gdLst>
                <a:gd name="connsiteX0" fmla="*/ 118494 w 270749"/>
                <a:gd name="connsiteY0" fmla="*/ 0 h 573095"/>
                <a:gd name="connsiteX1" fmla="*/ 141218 w 270749"/>
                <a:gd name="connsiteY1" fmla="*/ 15907 h 573095"/>
                <a:gd name="connsiteX2" fmla="*/ 173033 w 270749"/>
                <a:gd name="connsiteY2" fmla="*/ 24997 h 573095"/>
                <a:gd name="connsiteX3" fmla="*/ 168488 w 270749"/>
                <a:gd name="connsiteY3" fmla="*/ 47722 h 573095"/>
                <a:gd name="connsiteX4" fmla="*/ 184395 w 270749"/>
                <a:gd name="connsiteY4" fmla="*/ 63629 h 573095"/>
                <a:gd name="connsiteX5" fmla="*/ 220755 w 270749"/>
                <a:gd name="connsiteY5" fmla="*/ 74992 h 573095"/>
                <a:gd name="connsiteX6" fmla="*/ 208749 w 270749"/>
                <a:gd name="connsiteY6" fmla="*/ 82996 h 573095"/>
                <a:gd name="connsiteX7" fmla="*/ 213612 w 270749"/>
                <a:gd name="connsiteY7" fmla="*/ 84516 h 573095"/>
                <a:gd name="connsiteX8" fmla="*/ 165890 w 270749"/>
                <a:gd name="connsiteY8" fmla="*/ 116330 h 573095"/>
                <a:gd name="connsiteX9" fmla="*/ 140865 w 270749"/>
                <a:gd name="connsiteY9" fmla="*/ 144929 h 573095"/>
                <a:gd name="connsiteX10" fmla="*/ 136674 w 270749"/>
                <a:gd name="connsiteY10" fmla="*/ 165890 h 573095"/>
                <a:gd name="connsiteX11" fmla="*/ 161671 w 270749"/>
                <a:gd name="connsiteY11" fmla="*/ 209067 h 573095"/>
                <a:gd name="connsiteX12" fmla="*/ 195758 w 270749"/>
                <a:gd name="connsiteY12" fmla="*/ 256789 h 573095"/>
                <a:gd name="connsiteX13" fmla="*/ 232117 w 270749"/>
                <a:gd name="connsiteY13" fmla="*/ 284058 h 573095"/>
                <a:gd name="connsiteX14" fmla="*/ 254842 w 270749"/>
                <a:gd name="connsiteY14" fmla="*/ 311328 h 573095"/>
                <a:gd name="connsiteX15" fmla="*/ 270749 w 270749"/>
                <a:gd name="connsiteY15" fmla="*/ 381774 h 573095"/>
                <a:gd name="connsiteX16" fmla="*/ 263932 w 270749"/>
                <a:gd name="connsiteY16" fmla="*/ 449948 h 573095"/>
                <a:gd name="connsiteX17" fmla="*/ 257265 w 270749"/>
                <a:gd name="connsiteY17" fmla="*/ 454710 h 573095"/>
                <a:gd name="connsiteX18" fmla="*/ 256789 w 270749"/>
                <a:gd name="connsiteY18" fmla="*/ 459472 h 573095"/>
                <a:gd name="connsiteX19" fmla="*/ 224974 w 270749"/>
                <a:gd name="connsiteY19" fmla="*/ 482197 h 573095"/>
                <a:gd name="connsiteX20" fmla="*/ 188615 w 270749"/>
                <a:gd name="connsiteY20" fmla="*/ 509466 h 573095"/>
                <a:gd name="connsiteX21" fmla="*/ 154528 w 270749"/>
                <a:gd name="connsiteY21" fmla="*/ 541281 h 573095"/>
                <a:gd name="connsiteX22" fmla="*/ 106806 w 270749"/>
                <a:gd name="connsiteY22" fmla="*/ 573095 h 573095"/>
                <a:gd name="connsiteX23" fmla="*/ 95444 w 270749"/>
                <a:gd name="connsiteY23" fmla="*/ 545826 h 573095"/>
                <a:gd name="connsiteX24" fmla="*/ 106806 w 270749"/>
                <a:gd name="connsiteY24" fmla="*/ 525373 h 573095"/>
                <a:gd name="connsiteX25" fmla="*/ 79536 w 270749"/>
                <a:gd name="connsiteY25" fmla="*/ 502649 h 573095"/>
                <a:gd name="connsiteX26" fmla="*/ 91144 w 270749"/>
                <a:gd name="connsiteY26" fmla="*/ 496845 h 573095"/>
                <a:gd name="connsiteX27" fmla="*/ 86679 w 270749"/>
                <a:gd name="connsiteY27" fmla="*/ 493125 h 573095"/>
                <a:gd name="connsiteX28" fmla="*/ 118494 w 270749"/>
                <a:gd name="connsiteY28" fmla="*/ 477218 h 573095"/>
                <a:gd name="connsiteX29" fmla="*/ 144427 w 270749"/>
                <a:gd name="connsiteY29" fmla="*/ 477218 h 573095"/>
                <a:gd name="connsiteX30" fmla="*/ 134075 w 270749"/>
                <a:gd name="connsiteY30" fmla="*/ 459472 h 573095"/>
                <a:gd name="connsiteX31" fmla="*/ 144260 w 270749"/>
                <a:gd name="connsiteY31" fmla="*/ 455163 h 573095"/>
                <a:gd name="connsiteX32" fmla="*/ 141218 w 270749"/>
                <a:gd name="connsiteY32" fmla="*/ 449948 h 573095"/>
                <a:gd name="connsiteX33" fmla="*/ 193876 w 270749"/>
                <a:gd name="connsiteY33" fmla="*/ 427670 h 573095"/>
                <a:gd name="connsiteX34" fmla="*/ 197704 w 270749"/>
                <a:gd name="connsiteY34" fmla="*/ 391298 h 573095"/>
                <a:gd name="connsiteX35" fmla="*/ 193160 w 270749"/>
                <a:gd name="connsiteY35" fmla="*/ 364029 h 573095"/>
                <a:gd name="connsiteX36" fmla="*/ 197704 w 270749"/>
                <a:gd name="connsiteY36" fmla="*/ 325397 h 573095"/>
                <a:gd name="connsiteX37" fmla="*/ 188615 w 270749"/>
                <a:gd name="connsiteY37" fmla="*/ 298127 h 573095"/>
                <a:gd name="connsiteX38" fmla="*/ 161345 w 270749"/>
                <a:gd name="connsiteY38" fmla="*/ 273130 h 573095"/>
                <a:gd name="connsiteX39" fmla="*/ 138620 w 270749"/>
                <a:gd name="connsiteY39" fmla="*/ 239043 h 573095"/>
                <a:gd name="connsiteX40" fmla="*/ 106806 w 270749"/>
                <a:gd name="connsiteY40" fmla="*/ 191321 h 573095"/>
                <a:gd name="connsiteX41" fmla="*/ 63629 w 270749"/>
                <a:gd name="connsiteY41" fmla="*/ 170869 h 573095"/>
                <a:gd name="connsiteX42" fmla="*/ 72387 w 270749"/>
                <a:gd name="connsiteY42" fmla="*/ 162110 h 573095"/>
                <a:gd name="connsiteX43" fmla="*/ 70772 w 270749"/>
                <a:gd name="connsiteY43" fmla="*/ 161345 h 573095"/>
                <a:gd name="connsiteX44" fmla="*/ 82134 w 270749"/>
                <a:gd name="connsiteY44" fmla="*/ 149983 h 573095"/>
                <a:gd name="connsiteX45" fmla="*/ 93582 w 270749"/>
                <a:gd name="connsiteY45" fmla="*/ 143623 h 573095"/>
                <a:gd name="connsiteX46" fmla="*/ 79536 w 270749"/>
                <a:gd name="connsiteY46" fmla="*/ 109513 h 573095"/>
                <a:gd name="connsiteX47" fmla="*/ 36359 w 270749"/>
                <a:gd name="connsiteY47" fmla="*/ 109513 h 573095"/>
                <a:gd name="connsiteX48" fmla="*/ 20452 w 270749"/>
                <a:gd name="connsiteY48" fmla="*/ 77698 h 573095"/>
                <a:gd name="connsiteX49" fmla="*/ 0 w 270749"/>
                <a:gd name="connsiteY49" fmla="*/ 45884 h 573095"/>
                <a:gd name="connsiteX50" fmla="*/ 9775 w 270749"/>
                <a:gd name="connsiteY50" fmla="*/ 40453 h 573095"/>
                <a:gd name="connsiteX51" fmla="*/ 7143 w 270749"/>
                <a:gd name="connsiteY51" fmla="*/ 36360 h 573095"/>
                <a:gd name="connsiteX52" fmla="*/ 27595 w 270749"/>
                <a:gd name="connsiteY52" fmla="*/ 24997 h 573095"/>
                <a:gd name="connsiteX53" fmla="*/ 54865 w 270749"/>
                <a:gd name="connsiteY53" fmla="*/ 24997 h 573095"/>
                <a:gd name="connsiteX54" fmla="*/ 93497 w 270749"/>
                <a:gd name="connsiteY54" fmla="*/ 24997 h 573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270749" h="573095">
                  <a:moveTo>
                    <a:pt x="118494" y="0"/>
                  </a:moveTo>
                  <a:lnTo>
                    <a:pt x="141218" y="15907"/>
                  </a:lnTo>
                  <a:lnTo>
                    <a:pt x="173033" y="24997"/>
                  </a:lnTo>
                  <a:lnTo>
                    <a:pt x="168488" y="47722"/>
                  </a:lnTo>
                  <a:lnTo>
                    <a:pt x="184395" y="63629"/>
                  </a:lnTo>
                  <a:lnTo>
                    <a:pt x="220755" y="74992"/>
                  </a:lnTo>
                  <a:lnTo>
                    <a:pt x="208749" y="82996"/>
                  </a:lnTo>
                  <a:lnTo>
                    <a:pt x="213612" y="84516"/>
                  </a:lnTo>
                  <a:lnTo>
                    <a:pt x="165890" y="116330"/>
                  </a:lnTo>
                  <a:lnTo>
                    <a:pt x="140865" y="144929"/>
                  </a:lnTo>
                  <a:lnTo>
                    <a:pt x="136674" y="165890"/>
                  </a:lnTo>
                  <a:lnTo>
                    <a:pt x="161671" y="209067"/>
                  </a:lnTo>
                  <a:lnTo>
                    <a:pt x="195758" y="256789"/>
                  </a:lnTo>
                  <a:lnTo>
                    <a:pt x="232117" y="284058"/>
                  </a:lnTo>
                  <a:lnTo>
                    <a:pt x="254842" y="311328"/>
                  </a:lnTo>
                  <a:lnTo>
                    <a:pt x="270749" y="381774"/>
                  </a:lnTo>
                  <a:lnTo>
                    <a:pt x="263932" y="449948"/>
                  </a:lnTo>
                  <a:lnTo>
                    <a:pt x="257265" y="454710"/>
                  </a:lnTo>
                  <a:lnTo>
                    <a:pt x="256789" y="459472"/>
                  </a:lnTo>
                  <a:lnTo>
                    <a:pt x="224974" y="482197"/>
                  </a:lnTo>
                  <a:lnTo>
                    <a:pt x="188615" y="509466"/>
                  </a:lnTo>
                  <a:lnTo>
                    <a:pt x="154528" y="541281"/>
                  </a:lnTo>
                  <a:lnTo>
                    <a:pt x="106806" y="573095"/>
                  </a:lnTo>
                  <a:lnTo>
                    <a:pt x="95444" y="545826"/>
                  </a:lnTo>
                  <a:lnTo>
                    <a:pt x="106806" y="525373"/>
                  </a:lnTo>
                  <a:lnTo>
                    <a:pt x="79536" y="502649"/>
                  </a:lnTo>
                  <a:lnTo>
                    <a:pt x="91144" y="496845"/>
                  </a:lnTo>
                  <a:lnTo>
                    <a:pt x="86679" y="493125"/>
                  </a:lnTo>
                  <a:lnTo>
                    <a:pt x="118494" y="477218"/>
                  </a:lnTo>
                  <a:lnTo>
                    <a:pt x="144427" y="477218"/>
                  </a:lnTo>
                  <a:lnTo>
                    <a:pt x="134075" y="459472"/>
                  </a:lnTo>
                  <a:lnTo>
                    <a:pt x="144260" y="455163"/>
                  </a:lnTo>
                  <a:lnTo>
                    <a:pt x="141218" y="449948"/>
                  </a:lnTo>
                  <a:lnTo>
                    <a:pt x="193876" y="427670"/>
                  </a:lnTo>
                  <a:lnTo>
                    <a:pt x="197704" y="391298"/>
                  </a:lnTo>
                  <a:lnTo>
                    <a:pt x="193160" y="364029"/>
                  </a:lnTo>
                  <a:lnTo>
                    <a:pt x="197704" y="325397"/>
                  </a:lnTo>
                  <a:lnTo>
                    <a:pt x="188615" y="298127"/>
                  </a:lnTo>
                  <a:lnTo>
                    <a:pt x="161345" y="273130"/>
                  </a:lnTo>
                  <a:lnTo>
                    <a:pt x="138620" y="239043"/>
                  </a:lnTo>
                  <a:lnTo>
                    <a:pt x="106806" y="191321"/>
                  </a:lnTo>
                  <a:lnTo>
                    <a:pt x="63629" y="170869"/>
                  </a:lnTo>
                  <a:lnTo>
                    <a:pt x="72387" y="162110"/>
                  </a:lnTo>
                  <a:lnTo>
                    <a:pt x="70772" y="161345"/>
                  </a:lnTo>
                  <a:lnTo>
                    <a:pt x="82134" y="149983"/>
                  </a:lnTo>
                  <a:lnTo>
                    <a:pt x="93582" y="143623"/>
                  </a:lnTo>
                  <a:lnTo>
                    <a:pt x="79536" y="109513"/>
                  </a:lnTo>
                  <a:lnTo>
                    <a:pt x="36359" y="109513"/>
                  </a:lnTo>
                  <a:lnTo>
                    <a:pt x="20452" y="77698"/>
                  </a:lnTo>
                  <a:lnTo>
                    <a:pt x="0" y="45884"/>
                  </a:lnTo>
                  <a:lnTo>
                    <a:pt x="9775" y="40453"/>
                  </a:lnTo>
                  <a:lnTo>
                    <a:pt x="7143" y="36360"/>
                  </a:lnTo>
                  <a:lnTo>
                    <a:pt x="27595" y="24997"/>
                  </a:lnTo>
                  <a:lnTo>
                    <a:pt x="54865" y="24997"/>
                  </a:lnTo>
                  <a:lnTo>
                    <a:pt x="93497" y="2499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B9F8A91E-A6E1-8A65-35ED-52594571E8D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62664" y="2569832"/>
              <a:ext cx="10819" cy="26227"/>
            </a:xfrm>
            <a:custGeom>
              <a:avLst/>
              <a:gdLst>
                <a:gd name="connsiteX0" fmla="*/ 4545 w 22834"/>
                <a:gd name="connsiteY0" fmla="*/ 0 h 54539"/>
                <a:gd name="connsiteX1" fmla="*/ 6719 w 22834"/>
                <a:gd name="connsiteY1" fmla="*/ 1553 h 54539"/>
                <a:gd name="connsiteX2" fmla="*/ 6926 w 22834"/>
                <a:gd name="connsiteY2" fmla="*/ 0 h 54539"/>
                <a:gd name="connsiteX3" fmla="*/ 22834 w 22834"/>
                <a:gd name="connsiteY3" fmla="*/ 11362 h 54539"/>
                <a:gd name="connsiteX4" fmla="*/ 22834 w 22834"/>
                <a:gd name="connsiteY4" fmla="*/ 38632 h 54539"/>
                <a:gd name="connsiteX5" fmla="*/ 18289 w 22834"/>
                <a:gd name="connsiteY5" fmla="*/ 49994 h 54539"/>
                <a:gd name="connsiteX6" fmla="*/ 2381 w 22834"/>
                <a:gd name="connsiteY6" fmla="*/ 54539 h 54539"/>
                <a:gd name="connsiteX7" fmla="*/ 2381 w 22834"/>
                <a:gd name="connsiteY7" fmla="*/ 53859 h 54539"/>
                <a:gd name="connsiteX8" fmla="*/ 0 w 22834"/>
                <a:gd name="connsiteY8" fmla="*/ 54539 h 54539"/>
                <a:gd name="connsiteX9" fmla="*/ 0 w 22834"/>
                <a:gd name="connsiteY9" fmla="*/ 43177 h 54539"/>
                <a:gd name="connsiteX10" fmla="*/ 9090 w 22834"/>
                <a:gd name="connsiteY10" fmla="*/ 38632 h 54539"/>
                <a:gd name="connsiteX11" fmla="*/ 0 w 22834"/>
                <a:gd name="connsiteY11" fmla="*/ 34087 h 54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834" h="54539">
                  <a:moveTo>
                    <a:pt x="4545" y="0"/>
                  </a:moveTo>
                  <a:lnTo>
                    <a:pt x="6719" y="1553"/>
                  </a:lnTo>
                  <a:lnTo>
                    <a:pt x="6926" y="0"/>
                  </a:lnTo>
                  <a:lnTo>
                    <a:pt x="22834" y="11362"/>
                  </a:lnTo>
                  <a:lnTo>
                    <a:pt x="22834" y="38632"/>
                  </a:lnTo>
                  <a:lnTo>
                    <a:pt x="18289" y="49994"/>
                  </a:lnTo>
                  <a:lnTo>
                    <a:pt x="2381" y="54539"/>
                  </a:lnTo>
                  <a:lnTo>
                    <a:pt x="2381" y="53859"/>
                  </a:lnTo>
                  <a:lnTo>
                    <a:pt x="0" y="54539"/>
                  </a:lnTo>
                  <a:lnTo>
                    <a:pt x="0" y="43177"/>
                  </a:lnTo>
                  <a:lnTo>
                    <a:pt x="9090" y="38632"/>
                  </a:lnTo>
                  <a:lnTo>
                    <a:pt x="0" y="3408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9E542ACF-B936-6E01-285B-40132BB49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9261536" y="2553390"/>
              <a:ext cx="76610" cy="88675"/>
            </a:xfrm>
            <a:custGeom>
              <a:avLst/>
              <a:gdLst>
                <a:gd name="connsiteX0" fmla="*/ 138621 w 161671"/>
                <a:gd name="connsiteY0" fmla="*/ 0 h 184395"/>
                <a:gd name="connsiteX1" fmla="*/ 141471 w 161671"/>
                <a:gd name="connsiteY1" fmla="*/ 9774 h 184395"/>
                <a:gd name="connsiteX2" fmla="*/ 145764 w 161671"/>
                <a:gd name="connsiteY2" fmla="*/ 7143 h 184395"/>
                <a:gd name="connsiteX3" fmla="*/ 161671 w 161671"/>
                <a:gd name="connsiteY3" fmla="*/ 61682 h 184395"/>
                <a:gd name="connsiteX4" fmla="*/ 157126 w 161671"/>
                <a:gd name="connsiteY4" fmla="*/ 66227 h 184395"/>
                <a:gd name="connsiteX5" fmla="*/ 82135 w 161671"/>
                <a:gd name="connsiteY5" fmla="*/ 88952 h 184395"/>
                <a:gd name="connsiteX6" fmla="*/ 104227 w 161671"/>
                <a:gd name="connsiteY6" fmla="*/ 111044 h 184395"/>
                <a:gd name="connsiteX7" fmla="*/ 118494 w 161671"/>
                <a:gd name="connsiteY7" fmla="*/ 125311 h 184395"/>
                <a:gd name="connsiteX8" fmla="*/ 102587 w 161671"/>
                <a:gd name="connsiteY8" fmla="*/ 136673 h 184395"/>
                <a:gd name="connsiteX9" fmla="*/ 98042 w 161671"/>
                <a:gd name="connsiteY9" fmla="*/ 152581 h 184395"/>
                <a:gd name="connsiteX10" fmla="*/ 70772 w 161671"/>
                <a:gd name="connsiteY10" fmla="*/ 159398 h 184395"/>
                <a:gd name="connsiteX11" fmla="*/ 59410 w 161671"/>
                <a:gd name="connsiteY11" fmla="*/ 168488 h 184395"/>
                <a:gd name="connsiteX12" fmla="*/ 43503 w 161671"/>
                <a:gd name="connsiteY12" fmla="*/ 184395 h 184395"/>
                <a:gd name="connsiteX13" fmla="*/ 7143 w 161671"/>
                <a:gd name="connsiteY13" fmla="*/ 175305 h 184395"/>
                <a:gd name="connsiteX14" fmla="*/ 7143 w 161671"/>
                <a:gd name="connsiteY14" fmla="*/ 169948 h 184395"/>
                <a:gd name="connsiteX15" fmla="*/ 0 w 161671"/>
                <a:gd name="connsiteY15" fmla="*/ 168162 h 184395"/>
                <a:gd name="connsiteX16" fmla="*/ 0 w 161671"/>
                <a:gd name="connsiteY16" fmla="*/ 161345 h 184395"/>
                <a:gd name="connsiteX17" fmla="*/ 15908 w 161671"/>
                <a:gd name="connsiteY17" fmla="*/ 97716 h 184395"/>
                <a:gd name="connsiteX18" fmla="*/ 15908 w 161671"/>
                <a:gd name="connsiteY18" fmla="*/ 81809 h 184395"/>
                <a:gd name="connsiteX19" fmla="*/ 20452 w 161671"/>
                <a:gd name="connsiteY19" fmla="*/ 65902 h 184395"/>
                <a:gd name="connsiteX20" fmla="*/ 20452 w 161671"/>
                <a:gd name="connsiteY20" fmla="*/ 43177 h 184395"/>
                <a:gd name="connsiteX21" fmla="*/ 27270 w 161671"/>
                <a:gd name="connsiteY21" fmla="*/ 27270 h 184395"/>
                <a:gd name="connsiteX22" fmla="*/ 68174 w 161671"/>
                <a:gd name="connsiteY22" fmla="*/ 43177 h 184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61671" h="184395">
                  <a:moveTo>
                    <a:pt x="138621" y="0"/>
                  </a:moveTo>
                  <a:lnTo>
                    <a:pt x="141471" y="9774"/>
                  </a:lnTo>
                  <a:lnTo>
                    <a:pt x="145764" y="7143"/>
                  </a:lnTo>
                  <a:lnTo>
                    <a:pt x="161671" y="61682"/>
                  </a:lnTo>
                  <a:lnTo>
                    <a:pt x="157126" y="66227"/>
                  </a:lnTo>
                  <a:lnTo>
                    <a:pt x="82135" y="88952"/>
                  </a:lnTo>
                  <a:lnTo>
                    <a:pt x="104227" y="111044"/>
                  </a:lnTo>
                  <a:lnTo>
                    <a:pt x="118494" y="125311"/>
                  </a:lnTo>
                  <a:lnTo>
                    <a:pt x="102587" y="136673"/>
                  </a:lnTo>
                  <a:lnTo>
                    <a:pt x="98042" y="152581"/>
                  </a:lnTo>
                  <a:lnTo>
                    <a:pt x="70772" y="159398"/>
                  </a:lnTo>
                  <a:lnTo>
                    <a:pt x="59410" y="168488"/>
                  </a:lnTo>
                  <a:lnTo>
                    <a:pt x="43503" y="184395"/>
                  </a:lnTo>
                  <a:lnTo>
                    <a:pt x="7143" y="175305"/>
                  </a:lnTo>
                  <a:lnTo>
                    <a:pt x="7143" y="169948"/>
                  </a:lnTo>
                  <a:lnTo>
                    <a:pt x="0" y="168162"/>
                  </a:lnTo>
                  <a:lnTo>
                    <a:pt x="0" y="161345"/>
                  </a:lnTo>
                  <a:lnTo>
                    <a:pt x="15908" y="97716"/>
                  </a:lnTo>
                  <a:lnTo>
                    <a:pt x="15908" y="81809"/>
                  </a:lnTo>
                  <a:lnTo>
                    <a:pt x="20452" y="65902"/>
                  </a:lnTo>
                  <a:lnTo>
                    <a:pt x="20452" y="43177"/>
                  </a:lnTo>
                  <a:lnTo>
                    <a:pt x="27270" y="27270"/>
                  </a:lnTo>
                  <a:lnTo>
                    <a:pt x="68174" y="4317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790D1E51-BD3D-5DD9-3439-FB59C7CD06E7}"/>
                </a:ext>
              </a:extLst>
            </p:cNvPr>
            <p:cNvSpPr>
              <a:spLocks/>
            </p:cNvSpPr>
            <p:nvPr/>
          </p:nvSpPr>
          <p:spPr bwMode="auto">
            <a:xfrm>
              <a:off x="9265948" y="2529398"/>
              <a:ext cx="26973" cy="32889"/>
            </a:xfrm>
            <a:custGeom>
              <a:avLst/>
              <a:gdLst>
                <a:gd name="connsiteX0" fmla="*/ 31815 w 56920"/>
                <a:gd name="connsiteY0" fmla="*/ 0 h 68391"/>
                <a:gd name="connsiteX1" fmla="*/ 47722 w 56920"/>
                <a:gd name="connsiteY1" fmla="*/ 0 h 68391"/>
                <a:gd name="connsiteX2" fmla="*/ 49763 w 56920"/>
                <a:gd name="connsiteY2" fmla="*/ 4762 h 68391"/>
                <a:gd name="connsiteX3" fmla="*/ 50103 w 56920"/>
                <a:gd name="connsiteY3" fmla="*/ 4762 h 68391"/>
                <a:gd name="connsiteX4" fmla="*/ 56920 w 56920"/>
                <a:gd name="connsiteY4" fmla="*/ 20669 h 68391"/>
                <a:gd name="connsiteX5" fmla="*/ 41013 w 56920"/>
                <a:gd name="connsiteY5" fmla="*/ 36577 h 68391"/>
                <a:gd name="connsiteX6" fmla="*/ 29651 w 56920"/>
                <a:gd name="connsiteY6" fmla="*/ 57029 h 68391"/>
                <a:gd name="connsiteX7" fmla="*/ 18288 w 56920"/>
                <a:gd name="connsiteY7" fmla="*/ 63846 h 68391"/>
                <a:gd name="connsiteX8" fmla="*/ 13744 w 56920"/>
                <a:gd name="connsiteY8" fmla="*/ 68391 h 68391"/>
                <a:gd name="connsiteX9" fmla="*/ 2381 w 56920"/>
                <a:gd name="connsiteY9" fmla="*/ 68391 h 68391"/>
                <a:gd name="connsiteX10" fmla="*/ 4082 w 56920"/>
                <a:gd name="connsiteY10" fmla="*/ 63629 h 68391"/>
                <a:gd name="connsiteX11" fmla="*/ 0 w 56920"/>
                <a:gd name="connsiteY11" fmla="*/ 63629 h 68391"/>
                <a:gd name="connsiteX12" fmla="*/ 11363 w 56920"/>
                <a:gd name="connsiteY12" fmla="*/ 31815 h 6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6920" h="68391">
                  <a:moveTo>
                    <a:pt x="31815" y="0"/>
                  </a:moveTo>
                  <a:lnTo>
                    <a:pt x="47722" y="0"/>
                  </a:lnTo>
                  <a:lnTo>
                    <a:pt x="49763" y="4762"/>
                  </a:lnTo>
                  <a:lnTo>
                    <a:pt x="50103" y="4762"/>
                  </a:lnTo>
                  <a:lnTo>
                    <a:pt x="56920" y="20669"/>
                  </a:lnTo>
                  <a:lnTo>
                    <a:pt x="41013" y="36577"/>
                  </a:lnTo>
                  <a:lnTo>
                    <a:pt x="29651" y="57029"/>
                  </a:lnTo>
                  <a:lnTo>
                    <a:pt x="18288" y="63846"/>
                  </a:lnTo>
                  <a:lnTo>
                    <a:pt x="13744" y="68391"/>
                  </a:lnTo>
                  <a:lnTo>
                    <a:pt x="2381" y="68391"/>
                  </a:lnTo>
                  <a:lnTo>
                    <a:pt x="4082" y="63629"/>
                  </a:lnTo>
                  <a:lnTo>
                    <a:pt x="0" y="63629"/>
                  </a:lnTo>
                  <a:lnTo>
                    <a:pt x="11363" y="3181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295EAD6E-F09C-759B-9CFE-EE81F34AC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76715" y="2468148"/>
              <a:ext cx="114147" cy="109440"/>
            </a:xfrm>
            <a:custGeom>
              <a:avLst/>
              <a:gdLst>
                <a:gd name="connsiteX0" fmla="*/ 240881 w 240881"/>
                <a:gd name="connsiteY0" fmla="*/ 0 h 227573"/>
                <a:gd name="connsiteX1" fmla="*/ 235354 w 240881"/>
                <a:gd name="connsiteY1" fmla="*/ 8598 h 227573"/>
                <a:gd name="connsiteX2" fmla="*/ 240881 w 240881"/>
                <a:gd name="connsiteY2" fmla="*/ 7143 h 227573"/>
                <a:gd name="connsiteX3" fmla="*/ 220429 w 240881"/>
                <a:gd name="connsiteY3" fmla="*/ 38958 h 227573"/>
                <a:gd name="connsiteX4" fmla="*/ 203599 w 240881"/>
                <a:gd name="connsiteY4" fmla="*/ 49476 h 227573"/>
                <a:gd name="connsiteX5" fmla="*/ 209067 w 240881"/>
                <a:gd name="connsiteY5" fmla="*/ 74992 h 227573"/>
                <a:gd name="connsiteX6" fmla="*/ 208184 w 240881"/>
                <a:gd name="connsiteY6" fmla="*/ 78017 h 227573"/>
                <a:gd name="connsiteX7" fmla="*/ 209067 w 240881"/>
                <a:gd name="connsiteY7" fmla="*/ 82135 h 227573"/>
                <a:gd name="connsiteX8" fmla="*/ 193160 w 240881"/>
                <a:gd name="connsiteY8" fmla="*/ 136674 h 227573"/>
                <a:gd name="connsiteX9" fmla="*/ 111351 w 240881"/>
                <a:gd name="connsiteY9" fmla="*/ 184396 h 227573"/>
                <a:gd name="connsiteX10" fmla="*/ 40905 w 240881"/>
                <a:gd name="connsiteY10" fmla="*/ 227573 h 227573"/>
                <a:gd name="connsiteX11" fmla="*/ 0 w 240881"/>
                <a:gd name="connsiteY11" fmla="*/ 211666 h 227573"/>
                <a:gd name="connsiteX12" fmla="*/ 4545 w 240881"/>
                <a:gd name="connsiteY12" fmla="*/ 207121 h 227573"/>
                <a:gd name="connsiteX13" fmla="*/ 4545 w 240881"/>
                <a:gd name="connsiteY13" fmla="*/ 206290 h 227573"/>
                <a:gd name="connsiteX14" fmla="*/ 0 w 240881"/>
                <a:gd name="connsiteY14" fmla="*/ 204523 h 227573"/>
                <a:gd name="connsiteX15" fmla="*/ 4545 w 240881"/>
                <a:gd name="connsiteY15" fmla="*/ 199978 h 227573"/>
                <a:gd name="connsiteX16" fmla="*/ 4545 w 240881"/>
                <a:gd name="connsiteY16" fmla="*/ 184396 h 227573"/>
                <a:gd name="connsiteX17" fmla="*/ 4545 w 240881"/>
                <a:gd name="connsiteY17" fmla="*/ 177253 h 227573"/>
                <a:gd name="connsiteX18" fmla="*/ 9090 w 240881"/>
                <a:gd name="connsiteY18" fmla="*/ 156801 h 227573"/>
                <a:gd name="connsiteX19" fmla="*/ 29460 w 240881"/>
                <a:gd name="connsiteY19" fmla="*/ 142542 h 227573"/>
                <a:gd name="connsiteX20" fmla="*/ 24997 w 240881"/>
                <a:gd name="connsiteY20" fmla="*/ 132129 h 227573"/>
                <a:gd name="connsiteX21" fmla="*/ 9090 w 240881"/>
                <a:gd name="connsiteY21" fmla="*/ 125312 h 227573"/>
                <a:gd name="connsiteX22" fmla="*/ 9090 w 240881"/>
                <a:gd name="connsiteY22" fmla="*/ 118169 h 227573"/>
                <a:gd name="connsiteX23" fmla="*/ 9090 w 240881"/>
                <a:gd name="connsiteY23" fmla="*/ 93497 h 227573"/>
                <a:gd name="connsiteX24" fmla="*/ 9090 w 240881"/>
                <a:gd name="connsiteY24" fmla="*/ 86354 h 227573"/>
                <a:gd name="connsiteX25" fmla="*/ 15907 w 240881"/>
                <a:gd name="connsiteY25" fmla="*/ 65902 h 227573"/>
                <a:gd name="connsiteX26" fmla="*/ 24997 w 240881"/>
                <a:gd name="connsiteY26" fmla="*/ 54540 h 227573"/>
                <a:gd name="connsiteX27" fmla="*/ 36360 w 240881"/>
                <a:gd name="connsiteY27" fmla="*/ 47722 h 227573"/>
                <a:gd name="connsiteX28" fmla="*/ 36360 w 240881"/>
                <a:gd name="connsiteY28" fmla="*/ 29868 h 227573"/>
                <a:gd name="connsiteX29" fmla="*/ 36360 w 240881"/>
                <a:gd name="connsiteY29" fmla="*/ 22725 h 227573"/>
                <a:gd name="connsiteX30" fmla="*/ 47722 w 240881"/>
                <a:gd name="connsiteY30" fmla="*/ 31815 h 227573"/>
                <a:gd name="connsiteX31" fmla="*/ 90899 w 240881"/>
                <a:gd name="connsiteY31" fmla="*/ 15907 h 227573"/>
                <a:gd name="connsiteX32" fmla="*/ 111351 w 240881"/>
                <a:gd name="connsiteY32" fmla="*/ 27270 h 227573"/>
                <a:gd name="connsiteX33" fmla="*/ 138620 w 240881"/>
                <a:gd name="connsiteY33" fmla="*/ 27270 h 227573"/>
                <a:gd name="connsiteX34" fmla="*/ 181797 w 240881"/>
                <a:gd name="connsiteY34" fmla="*/ 11362 h 227573"/>
                <a:gd name="connsiteX35" fmla="*/ 197704 w 240881"/>
                <a:gd name="connsiteY35" fmla="*/ 11362 h 227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40881" h="227573">
                  <a:moveTo>
                    <a:pt x="240881" y="0"/>
                  </a:moveTo>
                  <a:lnTo>
                    <a:pt x="235354" y="8598"/>
                  </a:lnTo>
                  <a:lnTo>
                    <a:pt x="240881" y="7143"/>
                  </a:lnTo>
                  <a:lnTo>
                    <a:pt x="220429" y="38958"/>
                  </a:lnTo>
                  <a:lnTo>
                    <a:pt x="203599" y="49476"/>
                  </a:lnTo>
                  <a:lnTo>
                    <a:pt x="209067" y="74992"/>
                  </a:lnTo>
                  <a:lnTo>
                    <a:pt x="208184" y="78017"/>
                  </a:lnTo>
                  <a:lnTo>
                    <a:pt x="209067" y="82135"/>
                  </a:lnTo>
                  <a:lnTo>
                    <a:pt x="193160" y="136674"/>
                  </a:lnTo>
                  <a:lnTo>
                    <a:pt x="111351" y="184396"/>
                  </a:lnTo>
                  <a:lnTo>
                    <a:pt x="40905" y="227573"/>
                  </a:lnTo>
                  <a:lnTo>
                    <a:pt x="0" y="211666"/>
                  </a:lnTo>
                  <a:lnTo>
                    <a:pt x="4545" y="207121"/>
                  </a:lnTo>
                  <a:lnTo>
                    <a:pt x="4545" y="206290"/>
                  </a:lnTo>
                  <a:lnTo>
                    <a:pt x="0" y="204523"/>
                  </a:lnTo>
                  <a:lnTo>
                    <a:pt x="4545" y="199978"/>
                  </a:lnTo>
                  <a:lnTo>
                    <a:pt x="4545" y="184396"/>
                  </a:lnTo>
                  <a:lnTo>
                    <a:pt x="4545" y="177253"/>
                  </a:lnTo>
                  <a:lnTo>
                    <a:pt x="9090" y="156801"/>
                  </a:lnTo>
                  <a:lnTo>
                    <a:pt x="29460" y="142542"/>
                  </a:lnTo>
                  <a:lnTo>
                    <a:pt x="24997" y="132129"/>
                  </a:lnTo>
                  <a:lnTo>
                    <a:pt x="9090" y="125312"/>
                  </a:lnTo>
                  <a:lnTo>
                    <a:pt x="9090" y="118169"/>
                  </a:lnTo>
                  <a:lnTo>
                    <a:pt x="9090" y="93497"/>
                  </a:lnTo>
                  <a:lnTo>
                    <a:pt x="9090" y="86354"/>
                  </a:lnTo>
                  <a:lnTo>
                    <a:pt x="15907" y="65902"/>
                  </a:lnTo>
                  <a:lnTo>
                    <a:pt x="24997" y="54540"/>
                  </a:lnTo>
                  <a:lnTo>
                    <a:pt x="36360" y="47722"/>
                  </a:lnTo>
                  <a:lnTo>
                    <a:pt x="36360" y="29868"/>
                  </a:lnTo>
                  <a:lnTo>
                    <a:pt x="36360" y="22725"/>
                  </a:lnTo>
                  <a:lnTo>
                    <a:pt x="47722" y="31815"/>
                  </a:lnTo>
                  <a:lnTo>
                    <a:pt x="90899" y="15907"/>
                  </a:lnTo>
                  <a:lnTo>
                    <a:pt x="111351" y="27270"/>
                  </a:lnTo>
                  <a:lnTo>
                    <a:pt x="138620" y="27270"/>
                  </a:lnTo>
                  <a:lnTo>
                    <a:pt x="181797" y="11362"/>
                  </a:lnTo>
                  <a:lnTo>
                    <a:pt x="197704" y="1136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9836918D-3E96-4DBB-4E22-9FECD755AB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6095" y="2465964"/>
              <a:ext cx="176861" cy="177090"/>
            </a:xfrm>
            <a:custGeom>
              <a:avLst/>
              <a:gdLst>
                <a:gd name="connsiteX0" fmla="*/ 145438 w 373227"/>
                <a:gd name="connsiteY0" fmla="*/ 0 h 368248"/>
                <a:gd name="connsiteX1" fmla="*/ 188615 w 373227"/>
                <a:gd name="connsiteY1" fmla="*/ 4545 h 368248"/>
                <a:gd name="connsiteX2" fmla="*/ 189875 w 373227"/>
                <a:gd name="connsiteY2" fmla="*/ 5806 h 368248"/>
                <a:gd name="connsiteX3" fmla="*/ 200520 w 373227"/>
                <a:gd name="connsiteY3" fmla="*/ 6926 h 368248"/>
                <a:gd name="connsiteX4" fmla="*/ 210583 w 373227"/>
                <a:gd name="connsiteY4" fmla="*/ 16989 h 368248"/>
                <a:gd name="connsiteX5" fmla="*/ 220429 w 373227"/>
                <a:gd name="connsiteY5" fmla="*/ 11362 h 368248"/>
                <a:gd name="connsiteX6" fmla="*/ 223628 w 373227"/>
                <a:gd name="connsiteY6" fmla="*/ 18719 h 368248"/>
                <a:gd name="connsiteX7" fmla="*/ 232334 w 373227"/>
                <a:gd name="connsiteY7" fmla="*/ 13743 h 368248"/>
                <a:gd name="connsiteX8" fmla="*/ 255059 w 373227"/>
                <a:gd name="connsiteY8" fmla="*/ 66010 h 368248"/>
                <a:gd name="connsiteX9" fmla="*/ 280056 w 373227"/>
                <a:gd name="connsiteY9" fmla="*/ 81917 h 368248"/>
                <a:gd name="connsiteX10" fmla="*/ 280056 w 373227"/>
                <a:gd name="connsiteY10" fmla="*/ 109187 h 368248"/>
                <a:gd name="connsiteX11" fmla="*/ 264149 w 373227"/>
                <a:gd name="connsiteY11" fmla="*/ 125094 h 368248"/>
                <a:gd name="connsiteX12" fmla="*/ 255059 w 373227"/>
                <a:gd name="connsiteY12" fmla="*/ 156909 h 368248"/>
                <a:gd name="connsiteX13" fmla="*/ 280056 w 373227"/>
                <a:gd name="connsiteY13" fmla="*/ 200086 h 368248"/>
                <a:gd name="connsiteX14" fmla="*/ 323233 w 373227"/>
                <a:gd name="connsiteY14" fmla="*/ 222810 h 368248"/>
                <a:gd name="connsiteX15" fmla="*/ 345958 w 373227"/>
                <a:gd name="connsiteY15" fmla="*/ 254625 h 368248"/>
                <a:gd name="connsiteX16" fmla="*/ 341413 w 373227"/>
                <a:gd name="connsiteY16" fmla="*/ 286439 h 368248"/>
                <a:gd name="connsiteX17" fmla="*/ 350503 w 373227"/>
                <a:gd name="connsiteY17" fmla="*/ 286439 h 368248"/>
                <a:gd name="connsiteX18" fmla="*/ 350503 w 373227"/>
                <a:gd name="connsiteY18" fmla="*/ 309164 h 368248"/>
                <a:gd name="connsiteX19" fmla="*/ 373227 w 373227"/>
                <a:gd name="connsiteY19" fmla="*/ 329616 h 368248"/>
                <a:gd name="connsiteX20" fmla="*/ 350503 w 373227"/>
                <a:gd name="connsiteY20" fmla="*/ 329616 h 368248"/>
                <a:gd name="connsiteX21" fmla="*/ 323233 w 373227"/>
                <a:gd name="connsiteY21" fmla="*/ 325071 h 368248"/>
                <a:gd name="connsiteX22" fmla="*/ 298236 w 373227"/>
                <a:gd name="connsiteY22" fmla="*/ 368248 h 368248"/>
                <a:gd name="connsiteX23" fmla="*/ 232334 w 373227"/>
                <a:gd name="connsiteY23" fmla="*/ 361431 h 368248"/>
                <a:gd name="connsiteX24" fmla="*/ 230653 w 373227"/>
                <a:gd name="connsiteY24" fmla="*/ 360107 h 368248"/>
                <a:gd name="connsiteX25" fmla="*/ 220429 w 373227"/>
                <a:gd name="connsiteY25" fmla="*/ 359050 h 368248"/>
                <a:gd name="connsiteX26" fmla="*/ 113624 w 373227"/>
                <a:gd name="connsiteY26" fmla="*/ 274969 h 368248"/>
                <a:gd name="connsiteX27" fmla="*/ 59084 w 373227"/>
                <a:gd name="connsiteY27" fmla="*/ 247699 h 368248"/>
                <a:gd name="connsiteX28" fmla="*/ 15908 w 373227"/>
                <a:gd name="connsiteY28" fmla="*/ 236337 h 368248"/>
                <a:gd name="connsiteX29" fmla="*/ 0 w 373227"/>
                <a:gd name="connsiteY29" fmla="*/ 181797 h 368248"/>
                <a:gd name="connsiteX30" fmla="*/ 81809 w 373227"/>
                <a:gd name="connsiteY30" fmla="*/ 134076 h 368248"/>
                <a:gd name="connsiteX31" fmla="*/ 97716 w 373227"/>
                <a:gd name="connsiteY31" fmla="*/ 79536 h 368248"/>
                <a:gd name="connsiteX32" fmla="*/ 90899 w 373227"/>
                <a:gd name="connsiteY32" fmla="*/ 47722 h 368248"/>
                <a:gd name="connsiteX33" fmla="*/ 113624 w 373227"/>
                <a:gd name="connsiteY33" fmla="*/ 36360 h 368248"/>
                <a:gd name="connsiteX34" fmla="*/ 129531 w 373227"/>
                <a:gd name="connsiteY34" fmla="*/ 11362 h 368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373227" h="368248">
                  <a:moveTo>
                    <a:pt x="145438" y="0"/>
                  </a:moveTo>
                  <a:lnTo>
                    <a:pt x="188615" y="4545"/>
                  </a:lnTo>
                  <a:lnTo>
                    <a:pt x="189875" y="5806"/>
                  </a:lnTo>
                  <a:lnTo>
                    <a:pt x="200520" y="6926"/>
                  </a:lnTo>
                  <a:lnTo>
                    <a:pt x="210583" y="16989"/>
                  </a:lnTo>
                  <a:lnTo>
                    <a:pt x="220429" y="11362"/>
                  </a:lnTo>
                  <a:lnTo>
                    <a:pt x="223628" y="18719"/>
                  </a:lnTo>
                  <a:lnTo>
                    <a:pt x="232334" y="13743"/>
                  </a:lnTo>
                  <a:lnTo>
                    <a:pt x="255059" y="66010"/>
                  </a:lnTo>
                  <a:lnTo>
                    <a:pt x="280056" y="81917"/>
                  </a:lnTo>
                  <a:lnTo>
                    <a:pt x="280056" y="109187"/>
                  </a:lnTo>
                  <a:lnTo>
                    <a:pt x="264149" y="125094"/>
                  </a:lnTo>
                  <a:lnTo>
                    <a:pt x="255059" y="156909"/>
                  </a:lnTo>
                  <a:lnTo>
                    <a:pt x="280056" y="200086"/>
                  </a:lnTo>
                  <a:lnTo>
                    <a:pt x="323233" y="222810"/>
                  </a:lnTo>
                  <a:lnTo>
                    <a:pt x="345958" y="254625"/>
                  </a:lnTo>
                  <a:lnTo>
                    <a:pt x="341413" y="286439"/>
                  </a:lnTo>
                  <a:lnTo>
                    <a:pt x="350503" y="286439"/>
                  </a:lnTo>
                  <a:lnTo>
                    <a:pt x="350503" y="309164"/>
                  </a:lnTo>
                  <a:lnTo>
                    <a:pt x="373227" y="329616"/>
                  </a:lnTo>
                  <a:lnTo>
                    <a:pt x="350503" y="329616"/>
                  </a:lnTo>
                  <a:lnTo>
                    <a:pt x="323233" y="325071"/>
                  </a:lnTo>
                  <a:lnTo>
                    <a:pt x="298236" y="368248"/>
                  </a:lnTo>
                  <a:lnTo>
                    <a:pt x="232334" y="361431"/>
                  </a:lnTo>
                  <a:lnTo>
                    <a:pt x="230653" y="360107"/>
                  </a:lnTo>
                  <a:lnTo>
                    <a:pt x="220429" y="359050"/>
                  </a:lnTo>
                  <a:lnTo>
                    <a:pt x="113624" y="274969"/>
                  </a:lnTo>
                  <a:lnTo>
                    <a:pt x="59084" y="247699"/>
                  </a:lnTo>
                  <a:lnTo>
                    <a:pt x="15908" y="236337"/>
                  </a:lnTo>
                  <a:lnTo>
                    <a:pt x="0" y="181797"/>
                  </a:lnTo>
                  <a:lnTo>
                    <a:pt x="81809" y="134076"/>
                  </a:lnTo>
                  <a:lnTo>
                    <a:pt x="97716" y="79536"/>
                  </a:lnTo>
                  <a:lnTo>
                    <a:pt x="90899" y="47722"/>
                  </a:lnTo>
                  <a:lnTo>
                    <a:pt x="113624" y="36360"/>
                  </a:lnTo>
                  <a:lnTo>
                    <a:pt x="129531" y="1136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28" name="Freeform 15">
              <a:extLst>
                <a:ext uri="{FF2B5EF4-FFF2-40B4-BE49-F238E27FC236}">
                  <a16:creationId xmlns:a16="http://schemas.microsoft.com/office/drawing/2014/main" id="{8DAF9649-66FC-7DAC-674A-113701FA0C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420860" y="2411219"/>
              <a:ext cx="340595" cy="310569"/>
            </a:xfrm>
            <a:custGeom>
              <a:avLst/>
              <a:gdLst>
                <a:gd name="connsiteX0" fmla="*/ 20452 w 718750"/>
                <a:gd name="connsiteY0" fmla="*/ 0 h 645814"/>
                <a:gd name="connsiteX1" fmla="*/ 25871 w 718750"/>
                <a:gd name="connsiteY1" fmla="*/ 14450 h 645814"/>
                <a:gd name="connsiteX2" fmla="*/ 34738 w 718750"/>
                <a:gd name="connsiteY2" fmla="*/ 9524 h 645814"/>
                <a:gd name="connsiteX3" fmla="*/ 41556 w 718750"/>
                <a:gd name="connsiteY3" fmla="*/ 27704 h 645814"/>
                <a:gd name="connsiteX4" fmla="*/ 53845 w 718750"/>
                <a:gd name="connsiteY4" fmla="*/ 39993 h 645814"/>
                <a:gd name="connsiteX5" fmla="*/ 68174 w 718750"/>
                <a:gd name="connsiteY5" fmla="*/ 43177 h 645814"/>
                <a:gd name="connsiteX6" fmla="*/ 86354 w 718750"/>
                <a:gd name="connsiteY6" fmla="*/ 43177 h 645814"/>
                <a:gd name="connsiteX7" fmla="*/ 129531 w 718750"/>
                <a:gd name="connsiteY7" fmla="*/ 11362 h 645814"/>
                <a:gd name="connsiteX8" fmla="*/ 138621 w 718750"/>
                <a:gd name="connsiteY8" fmla="*/ 6818 h 645814"/>
                <a:gd name="connsiteX9" fmla="*/ 147393 w 718750"/>
                <a:gd name="connsiteY9" fmla="*/ 19099 h 645814"/>
                <a:gd name="connsiteX10" fmla="*/ 152907 w 718750"/>
                <a:gd name="connsiteY10" fmla="*/ 16342 h 645814"/>
                <a:gd name="connsiteX11" fmla="*/ 164269 w 718750"/>
                <a:gd name="connsiteY11" fmla="*/ 32249 h 645814"/>
                <a:gd name="connsiteX12" fmla="*/ 152907 w 718750"/>
                <a:gd name="connsiteY12" fmla="*/ 52701 h 645814"/>
                <a:gd name="connsiteX13" fmla="*/ 166107 w 718750"/>
                <a:gd name="connsiteY13" fmla="*/ 65902 h 645814"/>
                <a:gd name="connsiteX14" fmla="*/ 170435 w 718750"/>
                <a:gd name="connsiteY14" fmla="*/ 65902 h 645814"/>
                <a:gd name="connsiteX15" fmla="*/ 172840 w 718750"/>
                <a:gd name="connsiteY15" fmla="*/ 72634 h 645814"/>
                <a:gd name="connsiteX16" fmla="*/ 175631 w 718750"/>
                <a:gd name="connsiteY16" fmla="*/ 75426 h 645814"/>
                <a:gd name="connsiteX17" fmla="*/ 184721 w 718750"/>
                <a:gd name="connsiteY17" fmla="*/ 75426 h 645814"/>
                <a:gd name="connsiteX18" fmla="*/ 193959 w 718750"/>
                <a:gd name="connsiteY18" fmla="*/ 101293 h 645814"/>
                <a:gd name="connsiteX19" fmla="*/ 220429 w 718750"/>
                <a:gd name="connsiteY19" fmla="*/ 109078 h 645814"/>
                <a:gd name="connsiteX20" fmla="*/ 232104 w 718750"/>
                <a:gd name="connsiteY20" fmla="*/ 117834 h 645814"/>
                <a:gd name="connsiteX21" fmla="*/ 234715 w 718750"/>
                <a:gd name="connsiteY21" fmla="*/ 118602 h 645814"/>
                <a:gd name="connsiteX22" fmla="*/ 250024 w 718750"/>
                <a:gd name="connsiteY22" fmla="*/ 130084 h 645814"/>
                <a:gd name="connsiteX23" fmla="*/ 295421 w 718750"/>
                <a:gd name="connsiteY23" fmla="*/ 140893 h 645814"/>
                <a:gd name="connsiteX24" fmla="*/ 354505 w 718750"/>
                <a:gd name="connsiteY24" fmla="*/ 129531 h 645814"/>
                <a:gd name="connsiteX25" fmla="*/ 359050 w 718750"/>
                <a:gd name="connsiteY25" fmla="*/ 120441 h 645814"/>
                <a:gd name="connsiteX26" fmla="*/ 390864 w 718750"/>
                <a:gd name="connsiteY26" fmla="*/ 109078 h 645814"/>
                <a:gd name="connsiteX27" fmla="*/ 418134 w 718750"/>
                <a:gd name="connsiteY27" fmla="*/ 81809 h 645814"/>
                <a:gd name="connsiteX28" fmla="*/ 440858 w 718750"/>
                <a:gd name="connsiteY28" fmla="*/ 81809 h 645814"/>
                <a:gd name="connsiteX29" fmla="*/ 456766 w 718750"/>
                <a:gd name="connsiteY29" fmla="*/ 77264 h 645814"/>
                <a:gd name="connsiteX30" fmla="*/ 484035 w 718750"/>
                <a:gd name="connsiteY30" fmla="*/ 81809 h 645814"/>
                <a:gd name="connsiteX31" fmla="*/ 520395 w 718750"/>
                <a:gd name="connsiteY31" fmla="*/ 102261 h 645814"/>
                <a:gd name="connsiteX32" fmla="*/ 552209 w 718750"/>
                <a:gd name="connsiteY32" fmla="*/ 109078 h 645814"/>
                <a:gd name="connsiteX33" fmla="*/ 562503 w 718750"/>
                <a:gd name="connsiteY33" fmla="*/ 117747 h 645814"/>
                <a:gd name="connsiteX34" fmla="*/ 566495 w 718750"/>
                <a:gd name="connsiteY34" fmla="*/ 118602 h 645814"/>
                <a:gd name="connsiteX35" fmla="*/ 599619 w 718750"/>
                <a:gd name="connsiteY35" fmla="*/ 146496 h 645814"/>
                <a:gd name="connsiteX36" fmla="*/ 622655 w 718750"/>
                <a:gd name="connsiteY36" fmla="*/ 152255 h 645814"/>
                <a:gd name="connsiteX37" fmla="*/ 622655 w 718750"/>
                <a:gd name="connsiteY37" fmla="*/ 158208 h 645814"/>
                <a:gd name="connsiteX38" fmla="*/ 636941 w 718750"/>
                <a:gd name="connsiteY38" fmla="*/ 161779 h 645814"/>
                <a:gd name="connsiteX39" fmla="*/ 636941 w 718750"/>
                <a:gd name="connsiteY39" fmla="*/ 198139 h 645814"/>
                <a:gd name="connsiteX40" fmla="*/ 625579 w 718750"/>
                <a:gd name="connsiteY40" fmla="*/ 252678 h 645814"/>
                <a:gd name="connsiteX41" fmla="*/ 617355 w 718750"/>
                <a:gd name="connsiteY41" fmla="*/ 281462 h 645814"/>
                <a:gd name="connsiteX42" fmla="*/ 618111 w 718750"/>
                <a:gd name="connsiteY42" fmla="*/ 281786 h 645814"/>
                <a:gd name="connsiteX43" fmla="*/ 616572 w 718750"/>
                <a:gd name="connsiteY43" fmla="*/ 284204 h 645814"/>
                <a:gd name="connsiteX44" fmla="*/ 616489 w 718750"/>
                <a:gd name="connsiteY44" fmla="*/ 284492 h 645814"/>
                <a:gd name="connsiteX45" fmla="*/ 632397 w 718750"/>
                <a:gd name="connsiteY45" fmla="*/ 291310 h 645814"/>
                <a:gd name="connsiteX46" fmla="*/ 616489 w 718750"/>
                <a:gd name="connsiteY46" fmla="*/ 316307 h 645814"/>
                <a:gd name="connsiteX47" fmla="*/ 625579 w 718750"/>
                <a:gd name="connsiteY47" fmla="*/ 350394 h 645814"/>
                <a:gd name="connsiteX48" fmla="*/ 630655 w 718750"/>
                <a:gd name="connsiteY48" fmla="*/ 369003 h 645814"/>
                <a:gd name="connsiteX49" fmla="*/ 645380 w 718750"/>
                <a:gd name="connsiteY49" fmla="*/ 372684 h 645814"/>
                <a:gd name="connsiteX50" fmla="*/ 645380 w 718750"/>
                <a:gd name="connsiteY50" fmla="*/ 378637 h 645814"/>
                <a:gd name="connsiteX51" fmla="*/ 659666 w 718750"/>
                <a:gd name="connsiteY51" fmla="*/ 382208 h 645814"/>
                <a:gd name="connsiteX52" fmla="*/ 659666 w 718750"/>
                <a:gd name="connsiteY52" fmla="*/ 414023 h 645814"/>
                <a:gd name="connsiteX53" fmla="*/ 625579 w 718750"/>
                <a:gd name="connsiteY53" fmla="*/ 452655 h 645814"/>
                <a:gd name="connsiteX54" fmla="*/ 641486 w 718750"/>
                <a:gd name="connsiteY54" fmla="*/ 473107 h 645814"/>
                <a:gd name="connsiteX55" fmla="*/ 656585 w 718750"/>
                <a:gd name="connsiteY55" fmla="*/ 495754 h 645814"/>
                <a:gd name="connsiteX56" fmla="*/ 681740 w 718750"/>
                <a:gd name="connsiteY56" fmla="*/ 506760 h 645814"/>
                <a:gd name="connsiteX57" fmla="*/ 681740 w 718750"/>
                <a:gd name="connsiteY57" fmla="*/ 510034 h 645814"/>
                <a:gd name="connsiteX58" fmla="*/ 696026 w 718750"/>
                <a:gd name="connsiteY58" fmla="*/ 516284 h 645814"/>
                <a:gd name="connsiteX59" fmla="*/ 696026 w 718750"/>
                <a:gd name="connsiteY59" fmla="*/ 549473 h 645814"/>
                <a:gd name="connsiteX60" fmla="*/ 697647 w 718750"/>
                <a:gd name="connsiteY60" fmla="*/ 549937 h 645814"/>
                <a:gd name="connsiteX61" fmla="*/ 699652 w 718750"/>
                <a:gd name="connsiteY61" fmla="*/ 555952 h 645814"/>
                <a:gd name="connsiteX62" fmla="*/ 711933 w 718750"/>
                <a:gd name="connsiteY62" fmla="*/ 559461 h 645814"/>
                <a:gd name="connsiteX63" fmla="*/ 718750 w 718750"/>
                <a:gd name="connsiteY63" fmla="*/ 579913 h 645814"/>
                <a:gd name="connsiteX64" fmla="*/ 664211 w 718750"/>
                <a:gd name="connsiteY64" fmla="*/ 602637 h 645814"/>
                <a:gd name="connsiteX65" fmla="*/ 648304 w 718750"/>
                <a:gd name="connsiteY65" fmla="*/ 645814 h 645814"/>
                <a:gd name="connsiteX66" fmla="*/ 582402 w 718750"/>
                <a:gd name="connsiteY66" fmla="*/ 634452 h 645814"/>
                <a:gd name="connsiteX67" fmla="*/ 541498 w 718750"/>
                <a:gd name="connsiteY67" fmla="*/ 629907 h 645814"/>
                <a:gd name="connsiteX68" fmla="*/ 498321 w 718750"/>
                <a:gd name="connsiteY68" fmla="*/ 623090 h 645814"/>
                <a:gd name="connsiteX69" fmla="*/ 496685 w 718750"/>
                <a:gd name="connsiteY69" fmla="*/ 615563 h 645814"/>
                <a:gd name="connsiteX70" fmla="*/ 484035 w 718750"/>
                <a:gd name="connsiteY70" fmla="*/ 613566 h 645814"/>
                <a:gd name="connsiteX71" fmla="*/ 473891 w 718750"/>
                <a:gd name="connsiteY71" fmla="*/ 566903 h 645814"/>
                <a:gd name="connsiteX72" fmla="*/ 464234 w 718750"/>
                <a:gd name="connsiteY72" fmla="*/ 564006 h 645814"/>
                <a:gd name="connsiteX73" fmla="*/ 439237 w 718750"/>
                <a:gd name="connsiteY73" fmla="*/ 570823 h 645814"/>
                <a:gd name="connsiteX74" fmla="*/ 400605 w 718750"/>
                <a:gd name="connsiteY74" fmla="*/ 591275 h 645814"/>
                <a:gd name="connsiteX75" fmla="*/ 357428 w 718750"/>
                <a:gd name="connsiteY75" fmla="*/ 575368 h 645814"/>
                <a:gd name="connsiteX76" fmla="*/ 349017 w 718750"/>
                <a:gd name="connsiteY76" fmla="*/ 568008 h 645814"/>
                <a:gd name="connsiteX77" fmla="*/ 343142 w 718750"/>
                <a:gd name="connsiteY77" fmla="*/ 565844 h 645814"/>
                <a:gd name="connsiteX78" fmla="*/ 315945 w 718750"/>
                <a:gd name="connsiteY78" fmla="*/ 542046 h 645814"/>
                <a:gd name="connsiteX79" fmla="*/ 282437 w 718750"/>
                <a:gd name="connsiteY79" fmla="*/ 532191 h 645814"/>
                <a:gd name="connsiteX80" fmla="*/ 279100 w 718750"/>
                <a:gd name="connsiteY80" fmla="*/ 525887 h 645814"/>
                <a:gd name="connsiteX81" fmla="*/ 268151 w 718750"/>
                <a:gd name="connsiteY81" fmla="*/ 522667 h 645814"/>
                <a:gd name="connsiteX82" fmla="*/ 247699 w 718750"/>
                <a:gd name="connsiteY82" fmla="*/ 484035 h 645814"/>
                <a:gd name="connsiteX83" fmla="*/ 226679 w 718750"/>
                <a:gd name="connsiteY83" fmla="*/ 438493 h 645814"/>
                <a:gd name="connsiteX84" fmla="*/ 211991 w 718750"/>
                <a:gd name="connsiteY84" fmla="*/ 445837 h 645814"/>
                <a:gd name="connsiteX85" fmla="*/ 198947 w 718750"/>
                <a:gd name="connsiteY85" fmla="*/ 435692 h 645814"/>
                <a:gd name="connsiteX86" fmla="*/ 197705 w 718750"/>
                <a:gd name="connsiteY86" fmla="*/ 436313 h 645814"/>
                <a:gd name="connsiteX87" fmla="*/ 190645 w 718750"/>
                <a:gd name="connsiteY87" fmla="*/ 430823 h 645814"/>
                <a:gd name="connsiteX88" fmla="*/ 175631 w 718750"/>
                <a:gd name="connsiteY88" fmla="*/ 445837 h 645814"/>
                <a:gd name="connsiteX89" fmla="*/ 163100 w 718750"/>
                <a:gd name="connsiteY89" fmla="*/ 434559 h 645814"/>
                <a:gd name="connsiteX90" fmla="*/ 161345 w 718750"/>
                <a:gd name="connsiteY90" fmla="*/ 436313 h 645814"/>
                <a:gd name="connsiteX91" fmla="*/ 138621 w 718750"/>
                <a:gd name="connsiteY91" fmla="*/ 415861 h 645814"/>
                <a:gd name="connsiteX92" fmla="*/ 138621 w 718750"/>
                <a:gd name="connsiteY92" fmla="*/ 393136 h 645814"/>
                <a:gd name="connsiteX93" fmla="*/ 129531 w 718750"/>
                <a:gd name="connsiteY93" fmla="*/ 393136 h 645814"/>
                <a:gd name="connsiteX94" fmla="*/ 134076 w 718750"/>
                <a:gd name="connsiteY94" fmla="*/ 361322 h 645814"/>
                <a:gd name="connsiteX95" fmla="*/ 120129 w 718750"/>
                <a:gd name="connsiteY95" fmla="*/ 333429 h 645814"/>
                <a:gd name="connsiteX96" fmla="*/ 82460 w 718750"/>
                <a:gd name="connsiteY96" fmla="*/ 316307 h 645814"/>
                <a:gd name="connsiteX97" fmla="*/ 80079 w 718750"/>
                <a:gd name="connsiteY97" fmla="*/ 312194 h 645814"/>
                <a:gd name="connsiteX98" fmla="*/ 68174 w 718750"/>
                <a:gd name="connsiteY98" fmla="*/ 306783 h 645814"/>
                <a:gd name="connsiteX99" fmla="*/ 43177 w 718750"/>
                <a:gd name="connsiteY99" fmla="*/ 263606 h 645814"/>
                <a:gd name="connsiteX100" fmla="*/ 52267 w 718750"/>
                <a:gd name="connsiteY100" fmla="*/ 227247 h 645814"/>
                <a:gd name="connsiteX101" fmla="*/ 68174 w 718750"/>
                <a:gd name="connsiteY101" fmla="*/ 211339 h 645814"/>
                <a:gd name="connsiteX102" fmla="*/ 68174 w 718750"/>
                <a:gd name="connsiteY102" fmla="*/ 189048 h 645814"/>
                <a:gd name="connsiteX103" fmla="*/ 57463 w 718750"/>
                <a:gd name="connsiteY103" fmla="*/ 182231 h 645814"/>
                <a:gd name="connsiteX104" fmla="*/ 57203 w 718750"/>
                <a:gd name="connsiteY104" fmla="*/ 181633 h 645814"/>
                <a:gd name="connsiteX105" fmla="*/ 43177 w 718750"/>
                <a:gd name="connsiteY105" fmla="*/ 172707 h 645814"/>
                <a:gd name="connsiteX106" fmla="*/ 20452 w 718750"/>
                <a:gd name="connsiteY106" fmla="*/ 120441 h 645814"/>
                <a:gd name="connsiteX107" fmla="*/ 0 w 718750"/>
                <a:gd name="connsiteY107" fmla="*/ 81809 h 645814"/>
                <a:gd name="connsiteX108" fmla="*/ 4545 w 718750"/>
                <a:gd name="connsiteY108" fmla="*/ 65902 h 645814"/>
                <a:gd name="connsiteX109" fmla="*/ 0 w 718750"/>
                <a:gd name="connsiteY109" fmla="*/ 11362 h 64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</a:cxnLst>
              <a:rect l="l" t="t" r="r" b="b"/>
              <a:pathLst>
                <a:path w="718750" h="645814">
                  <a:moveTo>
                    <a:pt x="20452" y="0"/>
                  </a:moveTo>
                  <a:lnTo>
                    <a:pt x="25871" y="14450"/>
                  </a:lnTo>
                  <a:lnTo>
                    <a:pt x="34738" y="9524"/>
                  </a:lnTo>
                  <a:lnTo>
                    <a:pt x="41556" y="27704"/>
                  </a:lnTo>
                  <a:lnTo>
                    <a:pt x="53845" y="39993"/>
                  </a:lnTo>
                  <a:lnTo>
                    <a:pt x="68174" y="43177"/>
                  </a:lnTo>
                  <a:lnTo>
                    <a:pt x="86354" y="43177"/>
                  </a:lnTo>
                  <a:lnTo>
                    <a:pt x="129531" y="11362"/>
                  </a:lnTo>
                  <a:lnTo>
                    <a:pt x="138621" y="6818"/>
                  </a:lnTo>
                  <a:lnTo>
                    <a:pt x="147393" y="19099"/>
                  </a:lnTo>
                  <a:lnTo>
                    <a:pt x="152907" y="16342"/>
                  </a:lnTo>
                  <a:lnTo>
                    <a:pt x="164269" y="32249"/>
                  </a:lnTo>
                  <a:lnTo>
                    <a:pt x="152907" y="52701"/>
                  </a:lnTo>
                  <a:lnTo>
                    <a:pt x="166107" y="65902"/>
                  </a:lnTo>
                  <a:lnTo>
                    <a:pt x="170435" y="65902"/>
                  </a:lnTo>
                  <a:lnTo>
                    <a:pt x="172840" y="72634"/>
                  </a:lnTo>
                  <a:lnTo>
                    <a:pt x="175631" y="75426"/>
                  </a:lnTo>
                  <a:lnTo>
                    <a:pt x="184721" y="75426"/>
                  </a:lnTo>
                  <a:lnTo>
                    <a:pt x="193959" y="101293"/>
                  </a:lnTo>
                  <a:lnTo>
                    <a:pt x="220429" y="109078"/>
                  </a:lnTo>
                  <a:lnTo>
                    <a:pt x="232104" y="117834"/>
                  </a:lnTo>
                  <a:lnTo>
                    <a:pt x="234715" y="118602"/>
                  </a:lnTo>
                  <a:lnTo>
                    <a:pt x="250024" y="130084"/>
                  </a:lnTo>
                  <a:lnTo>
                    <a:pt x="295421" y="140893"/>
                  </a:lnTo>
                  <a:lnTo>
                    <a:pt x="354505" y="129531"/>
                  </a:lnTo>
                  <a:lnTo>
                    <a:pt x="359050" y="120441"/>
                  </a:lnTo>
                  <a:lnTo>
                    <a:pt x="390864" y="109078"/>
                  </a:lnTo>
                  <a:lnTo>
                    <a:pt x="418134" y="81809"/>
                  </a:lnTo>
                  <a:lnTo>
                    <a:pt x="440858" y="81809"/>
                  </a:lnTo>
                  <a:lnTo>
                    <a:pt x="456766" y="77264"/>
                  </a:lnTo>
                  <a:lnTo>
                    <a:pt x="484035" y="81809"/>
                  </a:lnTo>
                  <a:lnTo>
                    <a:pt x="520395" y="102261"/>
                  </a:lnTo>
                  <a:lnTo>
                    <a:pt x="552209" y="109078"/>
                  </a:lnTo>
                  <a:lnTo>
                    <a:pt x="562503" y="117747"/>
                  </a:lnTo>
                  <a:lnTo>
                    <a:pt x="566495" y="118602"/>
                  </a:lnTo>
                  <a:lnTo>
                    <a:pt x="599619" y="146496"/>
                  </a:lnTo>
                  <a:lnTo>
                    <a:pt x="622655" y="152255"/>
                  </a:lnTo>
                  <a:lnTo>
                    <a:pt x="622655" y="158208"/>
                  </a:lnTo>
                  <a:lnTo>
                    <a:pt x="636941" y="161779"/>
                  </a:lnTo>
                  <a:lnTo>
                    <a:pt x="636941" y="198139"/>
                  </a:lnTo>
                  <a:lnTo>
                    <a:pt x="625579" y="252678"/>
                  </a:lnTo>
                  <a:lnTo>
                    <a:pt x="617355" y="281462"/>
                  </a:lnTo>
                  <a:lnTo>
                    <a:pt x="618111" y="281786"/>
                  </a:lnTo>
                  <a:lnTo>
                    <a:pt x="616572" y="284204"/>
                  </a:lnTo>
                  <a:lnTo>
                    <a:pt x="616489" y="284492"/>
                  </a:lnTo>
                  <a:lnTo>
                    <a:pt x="632397" y="291310"/>
                  </a:lnTo>
                  <a:lnTo>
                    <a:pt x="616489" y="316307"/>
                  </a:lnTo>
                  <a:lnTo>
                    <a:pt x="625579" y="350394"/>
                  </a:lnTo>
                  <a:lnTo>
                    <a:pt x="630655" y="369003"/>
                  </a:lnTo>
                  <a:lnTo>
                    <a:pt x="645380" y="372684"/>
                  </a:lnTo>
                  <a:lnTo>
                    <a:pt x="645380" y="378637"/>
                  </a:lnTo>
                  <a:lnTo>
                    <a:pt x="659666" y="382208"/>
                  </a:lnTo>
                  <a:lnTo>
                    <a:pt x="659666" y="414023"/>
                  </a:lnTo>
                  <a:lnTo>
                    <a:pt x="625579" y="452655"/>
                  </a:lnTo>
                  <a:lnTo>
                    <a:pt x="641486" y="473107"/>
                  </a:lnTo>
                  <a:lnTo>
                    <a:pt x="656585" y="495754"/>
                  </a:lnTo>
                  <a:lnTo>
                    <a:pt x="681740" y="506760"/>
                  </a:lnTo>
                  <a:lnTo>
                    <a:pt x="681740" y="510034"/>
                  </a:lnTo>
                  <a:lnTo>
                    <a:pt x="696026" y="516284"/>
                  </a:lnTo>
                  <a:lnTo>
                    <a:pt x="696026" y="549473"/>
                  </a:lnTo>
                  <a:lnTo>
                    <a:pt x="697647" y="549937"/>
                  </a:lnTo>
                  <a:lnTo>
                    <a:pt x="699652" y="555952"/>
                  </a:lnTo>
                  <a:lnTo>
                    <a:pt x="711933" y="559461"/>
                  </a:lnTo>
                  <a:lnTo>
                    <a:pt x="718750" y="579913"/>
                  </a:lnTo>
                  <a:lnTo>
                    <a:pt x="664211" y="602637"/>
                  </a:lnTo>
                  <a:lnTo>
                    <a:pt x="648304" y="645814"/>
                  </a:lnTo>
                  <a:lnTo>
                    <a:pt x="582402" y="634452"/>
                  </a:lnTo>
                  <a:lnTo>
                    <a:pt x="541498" y="629907"/>
                  </a:lnTo>
                  <a:lnTo>
                    <a:pt x="498321" y="623090"/>
                  </a:lnTo>
                  <a:lnTo>
                    <a:pt x="496685" y="615563"/>
                  </a:lnTo>
                  <a:lnTo>
                    <a:pt x="484035" y="613566"/>
                  </a:lnTo>
                  <a:lnTo>
                    <a:pt x="473891" y="566903"/>
                  </a:lnTo>
                  <a:lnTo>
                    <a:pt x="464234" y="564006"/>
                  </a:lnTo>
                  <a:lnTo>
                    <a:pt x="439237" y="570823"/>
                  </a:lnTo>
                  <a:lnTo>
                    <a:pt x="400605" y="591275"/>
                  </a:lnTo>
                  <a:lnTo>
                    <a:pt x="357428" y="575368"/>
                  </a:lnTo>
                  <a:lnTo>
                    <a:pt x="349017" y="568008"/>
                  </a:lnTo>
                  <a:lnTo>
                    <a:pt x="343142" y="565844"/>
                  </a:lnTo>
                  <a:lnTo>
                    <a:pt x="315945" y="542046"/>
                  </a:lnTo>
                  <a:lnTo>
                    <a:pt x="282437" y="532191"/>
                  </a:lnTo>
                  <a:lnTo>
                    <a:pt x="279100" y="525887"/>
                  </a:lnTo>
                  <a:lnTo>
                    <a:pt x="268151" y="522667"/>
                  </a:lnTo>
                  <a:lnTo>
                    <a:pt x="247699" y="484035"/>
                  </a:lnTo>
                  <a:lnTo>
                    <a:pt x="226679" y="438493"/>
                  </a:lnTo>
                  <a:lnTo>
                    <a:pt x="211991" y="445837"/>
                  </a:lnTo>
                  <a:lnTo>
                    <a:pt x="198947" y="435692"/>
                  </a:lnTo>
                  <a:lnTo>
                    <a:pt x="197705" y="436313"/>
                  </a:lnTo>
                  <a:lnTo>
                    <a:pt x="190645" y="430823"/>
                  </a:lnTo>
                  <a:lnTo>
                    <a:pt x="175631" y="445837"/>
                  </a:lnTo>
                  <a:lnTo>
                    <a:pt x="163100" y="434559"/>
                  </a:lnTo>
                  <a:lnTo>
                    <a:pt x="161345" y="436313"/>
                  </a:lnTo>
                  <a:lnTo>
                    <a:pt x="138621" y="415861"/>
                  </a:lnTo>
                  <a:lnTo>
                    <a:pt x="138621" y="393136"/>
                  </a:lnTo>
                  <a:lnTo>
                    <a:pt x="129531" y="393136"/>
                  </a:lnTo>
                  <a:lnTo>
                    <a:pt x="134076" y="361322"/>
                  </a:lnTo>
                  <a:lnTo>
                    <a:pt x="120129" y="333429"/>
                  </a:lnTo>
                  <a:lnTo>
                    <a:pt x="82460" y="316307"/>
                  </a:lnTo>
                  <a:lnTo>
                    <a:pt x="80079" y="312194"/>
                  </a:lnTo>
                  <a:lnTo>
                    <a:pt x="68174" y="306783"/>
                  </a:lnTo>
                  <a:lnTo>
                    <a:pt x="43177" y="263606"/>
                  </a:lnTo>
                  <a:lnTo>
                    <a:pt x="52267" y="227247"/>
                  </a:lnTo>
                  <a:lnTo>
                    <a:pt x="68174" y="211339"/>
                  </a:lnTo>
                  <a:lnTo>
                    <a:pt x="68174" y="189048"/>
                  </a:lnTo>
                  <a:lnTo>
                    <a:pt x="57463" y="182231"/>
                  </a:lnTo>
                  <a:lnTo>
                    <a:pt x="57203" y="181633"/>
                  </a:lnTo>
                  <a:lnTo>
                    <a:pt x="43177" y="172707"/>
                  </a:lnTo>
                  <a:lnTo>
                    <a:pt x="20452" y="120441"/>
                  </a:lnTo>
                  <a:lnTo>
                    <a:pt x="0" y="81809"/>
                  </a:lnTo>
                  <a:lnTo>
                    <a:pt x="4545" y="65902"/>
                  </a:lnTo>
                  <a:lnTo>
                    <a:pt x="0" y="1136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29" name="Freeform 22">
              <a:extLst>
                <a:ext uri="{FF2B5EF4-FFF2-40B4-BE49-F238E27FC236}">
                  <a16:creationId xmlns:a16="http://schemas.microsoft.com/office/drawing/2014/main" id="{6859C21B-4EE9-F1EB-ECA5-D90C89F756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33936" y="2365476"/>
              <a:ext cx="96918" cy="83053"/>
            </a:xfrm>
            <a:custGeom>
              <a:avLst/>
              <a:gdLst>
                <a:gd name="T0" fmla="*/ 3 w 90"/>
                <a:gd name="T1" fmla="*/ 45 h 76"/>
                <a:gd name="T2" fmla="*/ 3 w 90"/>
                <a:gd name="T3" fmla="*/ 45 h 76"/>
                <a:gd name="T4" fmla="*/ 7 w 90"/>
                <a:gd name="T5" fmla="*/ 50 h 76"/>
                <a:gd name="T6" fmla="*/ 17 w 90"/>
                <a:gd name="T7" fmla="*/ 50 h 76"/>
                <a:gd name="T8" fmla="*/ 14 w 90"/>
                <a:gd name="T9" fmla="*/ 55 h 76"/>
                <a:gd name="T10" fmla="*/ 21 w 90"/>
                <a:gd name="T11" fmla="*/ 67 h 76"/>
                <a:gd name="T12" fmla="*/ 10 w 90"/>
                <a:gd name="T13" fmla="*/ 64 h 76"/>
                <a:gd name="T14" fmla="*/ 3 w 90"/>
                <a:gd name="T15" fmla="*/ 53 h 76"/>
                <a:gd name="T16" fmla="*/ 0 w 90"/>
                <a:gd name="T17" fmla="*/ 45 h 76"/>
                <a:gd name="T18" fmla="*/ 3 w 90"/>
                <a:gd name="T19" fmla="*/ 45 h 76"/>
                <a:gd name="T20" fmla="*/ 43 w 90"/>
                <a:gd name="T21" fmla="*/ 12 h 76"/>
                <a:gd name="T22" fmla="*/ 43 w 90"/>
                <a:gd name="T23" fmla="*/ 12 h 76"/>
                <a:gd name="T24" fmla="*/ 50 w 90"/>
                <a:gd name="T25" fmla="*/ 15 h 76"/>
                <a:gd name="T26" fmla="*/ 52 w 90"/>
                <a:gd name="T27" fmla="*/ 10 h 76"/>
                <a:gd name="T28" fmla="*/ 62 w 90"/>
                <a:gd name="T29" fmla="*/ 0 h 76"/>
                <a:gd name="T30" fmla="*/ 69 w 90"/>
                <a:gd name="T31" fmla="*/ 12 h 76"/>
                <a:gd name="T32" fmla="*/ 78 w 90"/>
                <a:gd name="T33" fmla="*/ 29 h 76"/>
                <a:gd name="T34" fmla="*/ 85 w 90"/>
                <a:gd name="T35" fmla="*/ 29 h 76"/>
                <a:gd name="T36" fmla="*/ 90 w 90"/>
                <a:gd name="T37" fmla="*/ 34 h 76"/>
                <a:gd name="T38" fmla="*/ 78 w 90"/>
                <a:gd name="T39" fmla="*/ 36 h 76"/>
                <a:gd name="T40" fmla="*/ 74 w 90"/>
                <a:gd name="T41" fmla="*/ 53 h 76"/>
                <a:gd name="T42" fmla="*/ 71 w 90"/>
                <a:gd name="T43" fmla="*/ 60 h 76"/>
                <a:gd name="T44" fmla="*/ 66 w 90"/>
                <a:gd name="T45" fmla="*/ 64 h 76"/>
                <a:gd name="T46" fmla="*/ 66 w 90"/>
                <a:gd name="T47" fmla="*/ 74 h 76"/>
                <a:gd name="T48" fmla="*/ 62 w 90"/>
                <a:gd name="T49" fmla="*/ 76 h 76"/>
                <a:gd name="T50" fmla="*/ 52 w 90"/>
                <a:gd name="T51" fmla="*/ 64 h 76"/>
                <a:gd name="T52" fmla="*/ 57 w 90"/>
                <a:gd name="T53" fmla="*/ 55 h 76"/>
                <a:gd name="T54" fmla="*/ 52 w 90"/>
                <a:gd name="T55" fmla="*/ 48 h 76"/>
                <a:gd name="T56" fmla="*/ 48 w 90"/>
                <a:gd name="T57" fmla="*/ 50 h 76"/>
                <a:gd name="T58" fmla="*/ 29 w 90"/>
                <a:gd name="T59" fmla="*/ 64 h 76"/>
                <a:gd name="T60" fmla="*/ 29 w 90"/>
                <a:gd name="T61" fmla="*/ 50 h 76"/>
                <a:gd name="T62" fmla="*/ 19 w 90"/>
                <a:gd name="T63" fmla="*/ 48 h 76"/>
                <a:gd name="T64" fmla="*/ 14 w 90"/>
                <a:gd name="T65" fmla="*/ 41 h 76"/>
                <a:gd name="T66" fmla="*/ 19 w 90"/>
                <a:gd name="T67" fmla="*/ 36 h 76"/>
                <a:gd name="T68" fmla="*/ 10 w 90"/>
                <a:gd name="T69" fmla="*/ 29 h 76"/>
                <a:gd name="T70" fmla="*/ 12 w 90"/>
                <a:gd name="T71" fmla="*/ 22 h 76"/>
                <a:gd name="T72" fmla="*/ 5 w 90"/>
                <a:gd name="T73" fmla="*/ 19 h 76"/>
                <a:gd name="T74" fmla="*/ 3 w 90"/>
                <a:gd name="T75" fmla="*/ 12 h 76"/>
                <a:gd name="T76" fmla="*/ 7 w 90"/>
                <a:gd name="T77" fmla="*/ 10 h 76"/>
                <a:gd name="T78" fmla="*/ 19 w 90"/>
                <a:gd name="T79" fmla="*/ 15 h 76"/>
                <a:gd name="T80" fmla="*/ 29 w 90"/>
                <a:gd name="T81" fmla="*/ 17 h 76"/>
                <a:gd name="T82" fmla="*/ 31 w 90"/>
                <a:gd name="T83" fmla="*/ 15 h 76"/>
                <a:gd name="T84" fmla="*/ 21 w 90"/>
                <a:gd name="T85" fmla="*/ 3 h 76"/>
                <a:gd name="T86" fmla="*/ 26 w 90"/>
                <a:gd name="T87" fmla="*/ 0 h 76"/>
                <a:gd name="T88" fmla="*/ 31 w 90"/>
                <a:gd name="T89" fmla="*/ 0 h 76"/>
                <a:gd name="T90" fmla="*/ 43 w 90"/>
                <a:gd name="T91" fmla="*/ 12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0" h="76">
                  <a:moveTo>
                    <a:pt x="3" y="45"/>
                  </a:moveTo>
                  <a:lnTo>
                    <a:pt x="3" y="45"/>
                  </a:lnTo>
                  <a:lnTo>
                    <a:pt x="7" y="50"/>
                  </a:lnTo>
                  <a:lnTo>
                    <a:pt x="17" y="50"/>
                  </a:lnTo>
                  <a:lnTo>
                    <a:pt x="14" y="55"/>
                  </a:lnTo>
                  <a:lnTo>
                    <a:pt x="21" y="67"/>
                  </a:lnTo>
                  <a:lnTo>
                    <a:pt x="10" y="64"/>
                  </a:lnTo>
                  <a:lnTo>
                    <a:pt x="3" y="53"/>
                  </a:lnTo>
                  <a:lnTo>
                    <a:pt x="0" y="45"/>
                  </a:lnTo>
                  <a:lnTo>
                    <a:pt x="3" y="45"/>
                  </a:lnTo>
                  <a:close/>
                  <a:moveTo>
                    <a:pt x="43" y="12"/>
                  </a:moveTo>
                  <a:lnTo>
                    <a:pt x="43" y="12"/>
                  </a:lnTo>
                  <a:lnTo>
                    <a:pt x="50" y="15"/>
                  </a:lnTo>
                  <a:lnTo>
                    <a:pt x="52" y="10"/>
                  </a:lnTo>
                  <a:lnTo>
                    <a:pt x="62" y="0"/>
                  </a:lnTo>
                  <a:lnTo>
                    <a:pt x="69" y="12"/>
                  </a:lnTo>
                  <a:lnTo>
                    <a:pt x="78" y="29"/>
                  </a:lnTo>
                  <a:lnTo>
                    <a:pt x="85" y="29"/>
                  </a:lnTo>
                  <a:lnTo>
                    <a:pt x="90" y="34"/>
                  </a:lnTo>
                  <a:lnTo>
                    <a:pt x="78" y="36"/>
                  </a:lnTo>
                  <a:lnTo>
                    <a:pt x="74" y="53"/>
                  </a:lnTo>
                  <a:lnTo>
                    <a:pt x="71" y="60"/>
                  </a:lnTo>
                  <a:lnTo>
                    <a:pt x="66" y="64"/>
                  </a:lnTo>
                  <a:lnTo>
                    <a:pt x="66" y="74"/>
                  </a:lnTo>
                  <a:lnTo>
                    <a:pt x="62" y="76"/>
                  </a:lnTo>
                  <a:lnTo>
                    <a:pt x="52" y="64"/>
                  </a:lnTo>
                  <a:lnTo>
                    <a:pt x="57" y="55"/>
                  </a:lnTo>
                  <a:lnTo>
                    <a:pt x="52" y="48"/>
                  </a:lnTo>
                  <a:lnTo>
                    <a:pt x="48" y="50"/>
                  </a:lnTo>
                  <a:lnTo>
                    <a:pt x="29" y="64"/>
                  </a:lnTo>
                  <a:lnTo>
                    <a:pt x="29" y="50"/>
                  </a:lnTo>
                  <a:lnTo>
                    <a:pt x="19" y="48"/>
                  </a:lnTo>
                  <a:lnTo>
                    <a:pt x="14" y="41"/>
                  </a:lnTo>
                  <a:lnTo>
                    <a:pt x="19" y="36"/>
                  </a:lnTo>
                  <a:lnTo>
                    <a:pt x="10" y="2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3" y="12"/>
                  </a:lnTo>
                  <a:lnTo>
                    <a:pt x="7" y="10"/>
                  </a:lnTo>
                  <a:lnTo>
                    <a:pt x="19" y="15"/>
                  </a:lnTo>
                  <a:lnTo>
                    <a:pt x="29" y="17"/>
                  </a:lnTo>
                  <a:lnTo>
                    <a:pt x="31" y="15"/>
                  </a:lnTo>
                  <a:lnTo>
                    <a:pt x="21" y="3"/>
                  </a:lnTo>
                  <a:lnTo>
                    <a:pt x="26" y="0"/>
                  </a:lnTo>
                  <a:lnTo>
                    <a:pt x="31" y="0"/>
                  </a:lnTo>
                  <a:lnTo>
                    <a:pt x="43" y="1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30" name="Freeform 17">
              <a:extLst>
                <a:ext uri="{FF2B5EF4-FFF2-40B4-BE49-F238E27FC236}">
                  <a16:creationId xmlns:a16="http://schemas.microsoft.com/office/drawing/2014/main" id="{2443A206-FB4F-40BC-DA22-1E816FDFDFE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1218" y="2377444"/>
              <a:ext cx="57330" cy="60260"/>
            </a:xfrm>
            <a:custGeom>
              <a:avLst/>
              <a:gdLst>
                <a:gd name="connsiteX0" fmla="*/ 84498 w 120983"/>
                <a:gd name="connsiteY0" fmla="*/ 86354 h 125311"/>
                <a:gd name="connsiteX1" fmla="*/ 86354 w 120983"/>
                <a:gd name="connsiteY1" fmla="*/ 88952 h 125311"/>
                <a:gd name="connsiteX2" fmla="*/ 91533 w 120983"/>
                <a:gd name="connsiteY2" fmla="*/ 89988 h 125311"/>
                <a:gd name="connsiteX3" fmla="*/ 93714 w 120983"/>
                <a:gd name="connsiteY3" fmla="*/ 86354 h 125311"/>
                <a:gd name="connsiteX4" fmla="*/ 61899 w 120983"/>
                <a:gd name="connsiteY4" fmla="*/ 0 h 125311"/>
                <a:gd name="connsiteX5" fmla="*/ 70989 w 120983"/>
                <a:gd name="connsiteY5" fmla="*/ 15907 h 125311"/>
                <a:gd name="connsiteX6" fmla="*/ 82351 w 120983"/>
                <a:gd name="connsiteY6" fmla="*/ 22725 h 125311"/>
                <a:gd name="connsiteX7" fmla="*/ 77807 w 120983"/>
                <a:gd name="connsiteY7" fmla="*/ 38632 h 125311"/>
                <a:gd name="connsiteX8" fmla="*/ 98259 w 120983"/>
                <a:gd name="connsiteY8" fmla="*/ 49994 h 125311"/>
                <a:gd name="connsiteX9" fmla="*/ 86896 w 120983"/>
                <a:gd name="connsiteY9" fmla="*/ 65902 h 125311"/>
                <a:gd name="connsiteX10" fmla="*/ 98259 w 120983"/>
                <a:gd name="connsiteY10" fmla="*/ 81809 h 125311"/>
                <a:gd name="connsiteX11" fmla="*/ 120983 w 120983"/>
                <a:gd name="connsiteY11" fmla="*/ 86354 h 125311"/>
                <a:gd name="connsiteX12" fmla="*/ 120983 w 120983"/>
                <a:gd name="connsiteY12" fmla="*/ 118168 h 125311"/>
                <a:gd name="connsiteX13" fmla="*/ 109078 w 120983"/>
                <a:gd name="connsiteY13" fmla="*/ 118168 h 125311"/>
                <a:gd name="connsiteX14" fmla="*/ 109078 w 120983"/>
                <a:gd name="connsiteY14" fmla="*/ 125311 h 125311"/>
                <a:gd name="connsiteX15" fmla="*/ 90899 w 120983"/>
                <a:gd name="connsiteY15" fmla="*/ 125311 h 125311"/>
                <a:gd name="connsiteX16" fmla="*/ 74991 w 120983"/>
                <a:gd name="connsiteY16" fmla="*/ 104859 h 125311"/>
                <a:gd name="connsiteX17" fmla="*/ 81809 w 120983"/>
                <a:gd name="connsiteY17" fmla="*/ 93497 h 125311"/>
                <a:gd name="connsiteX18" fmla="*/ 65902 w 120983"/>
                <a:gd name="connsiteY18" fmla="*/ 93497 h 125311"/>
                <a:gd name="connsiteX19" fmla="*/ 54539 w 120983"/>
                <a:gd name="connsiteY19" fmla="*/ 82134 h 125311"/>
                <a:gd name="connsiteX20" fmla="*/ 43177 w 120983"/>
                <a:gd name="connsiteY20" fmla="*/ 82134 h 125311"/>
                <a:gd name="connsiteX21" fmla="*/ 31815 w 120983"/>
                <a:gd name="connsiteY21" fmla="*/ 66227 h 125311"/>
                <a:gd name="connsiteX22" fmla="*/ 0 w 120983"/>
                <a:gd name="connsiteY22" fmla="*/ 57137 h 125311"/>
                <a:gd name="connsiteX23" fmla="*/ 6818 w 120983"/>
                <a:gd name="connsiteY23" fmla="*/ 34413 h 125311"/>
                <a:gd name="connsiteX24" fmla="*/ 0 w 120983"/>
                <a:gd name="connsiteY24" fmla="*/ 18505 h 125311"/>
                <a:gd name="connsiteX25" fmla="*/ 13638 w 120983"/>
                <a:gd name="connsiteY25" fmla="*/ 15406 h 125311"/>
                <a:gd name="connsiteX26" fmla="*/ 11905 w 120983"/>
                <a:gd name="connsiteY26" fmla="*/ 11362 h 125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20983" h="125311">
                  <a:moveTo>
                    <a:pt x="84498" y="86354"/>
                  </a:moveTo>
                  <a:lnTo>
                    <a:pt x="86354" y="88952"/>
                  </a:lnTo>
                  <a:lnTo>
                    <a:pt x="91533" y="89988"/>
                  </a:lnTo>
                  <a:lnTo>
                    <a:pt x="93714" y="86354"/>
                  </a:lnTo>
                  <a:close/>
                  <a:moveTo>
                    <a:pt x="61899" y="0"/>
                  </a:moveTo>
                  <a:lnTo>
                    <a:pt x="70989" y="15907"/>
                  </a:lnTo>
                  <a:lnTo>
                    <a:pt x="82351" y="22725"/>
                  </a:lnTo>
                  <a:lnTo>
                    <a:pt x="77807" y="38632"/>
                  </a:lnTo>
                  <a:lnTo>
                    <a:pt x="98259" y="49994"/>
                  </a:lnTo>
                  <a:lnTo>
                    <a:pt x="86896" y="65902"/>
                  </a:lnTo>
                  <a:lnTo>
                    <a:pt x="98259" y="81809"/>
                  </a:lnTo>
                  <a:lnTo>
                    <a:pt x="120983" y="86354"/>
                  </a:lnTo>
                  <a:lnTo>
                    <a:pt x="120983" y="118168"/>
                  </a:lnTo>
                  <a:lnTo>
                    <a:pt x="109078" y="118168"/>
                  </a:lnTo>
                  <a:lnTo>
                    <a:pt x="109078" y="125311"/>
                  </a:lnTo>
                  <a:lnTo>
                    <a:pt x="90899" y="125311"/>
                  </a:lnTo>
                  <a:lnTo>
                    <a:pt x="74991" y="104859"/>
                  </a:lnTo>
                  <a:lnTo>
                    <a:pt x="81809" y="93497"/>
                  </a:lnTo>
                  <a:lnTo>
                    <a:pt x="65902" y="93497"/>
                  </a:lnTo>
                  <a:lnTo>
                    <a:pt x="54539" y="82134"/>
                  </a:lnTo>
                  <a:lnTo>
                    <a:pt x="43177" y="82134"/>
                  </a:lnTo>
                  <a:lnTo>
                    <a:pt x="31815" y="66227"/>
                  </a:lnTo>
                  <a:lnTo>
                    <a:pt x="0" y="57137"/>
                  </a:lnTo>
                  <a:lnTo>
                    <a:pt x="6818" y="34413"/>
                  </a:lnTo>
                  <a:lnTo>
                    <a:pt x="0" y="18505"/>
                  </a:lnTo>
                  <a:lnTo>
                    <a:pt x="13638" y="15406"/>
                  </a:lnTo>
                  <a:lnTo>
                    <a:pt x="11905" y="1136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31" name="Freeform 18">
              <a:extLst>
                <a:ext uri="{FF2B5EF4-FFF2-40B4-BE49-F238E27FC236}">
                  <a16:creationId xmlns:a16="http://schemas.microsoft.com/office/drawing/2014/main" id="{DE1584B7-CF9C-2EED-C7A3-D6E2146F1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1069" y="2322751"/>
              <a:ext cx="117753" cy="64358"/>
            </a:xfrm>
            <a:custGeom>
              <a:avLst/>
              <a:gdLst>
                <a:gd name="connsiteX0" fmla="*/ 6818 w 248493"/>
                <a:gd name="connsiteY0" fmla="*/ 0 h 133825"/>
                <a:gd name="connsiteX1" fmla="*/ 38632 w 248493"/>
                <a:gd name="connsiteY1" fmla="*/ 9090 h 133825"/>
                <a:gd name="connsiteX2" fmla="*/ 90899 w 248493"/>
                <a:gd name="connsiteY2" fmla="*/ 15907 h 133825"/>
                <a:gd name="connsiteX3" fmla="*/ 140893 w 248493"/>
                <a:gd name="connsiteY3" fmla="*/ 43177 h 133825"/>
                <a:gd name="connsiteX4" fmla="*/ 145438 w 248493"/>
                <a:gd name="connsiteY4" fmla="*/ 52267 h 133825"/>
                <a:gd name="connsiteX5" fmla="*/ 165890 w 248493"/>
                <a:gd name="connsiteY5" fmla="*/ 43177 h 133825"/>
                <a:gd name="connsiteX6" fmla="*/ 204522 w 248493"/>
                <a:gd name="connsiteY6" fmla="*/ 52267 h 133825"/>
                <a:gd name="connsiteX7" fmla="*/ 215885 w 248493"/>
                <a:gd name="connsiteY7" fmla="*/ 74991 h 133825"/>
                <a:gd name="connsiteX8" fmla="*/ 236337 w 248493"/>
                <a:gd name="connsiteY8" fmla="*/ 84081 h 133825"/>
                <a:gd name="connsiteX9" fmla="*/ 226036 w 248493"/>
                <a:gd name="connsiteY9" fmla="*/ 90262 h 133825"/>
                <a:gd name="connsiteX10" fmla="*/ 237131 w 248493"/>
                <a:gd name="connsiteY10" fmla="*/ 95193 h 133825"/>
                <a:gd name="connsiteX11" fmla="*/ 231413 w 248493"/>
                <a:gd name="connsiteY11" fmla="*/ 98624 h 133825"/>
                <a:gd name="connsiteX12" fmla="*/ 247699 w 248493"/>
                <a:gd name="connsiteY12" fmla="*/ 118168 h 133825"/>
                <a:gd name="connsiteX13" fmla="*/ 243154 w 248493"/>
                <a:gd name="connsiteY13" fmla="*/ 122713 h 133825"/>
                <a:gd name="connsiteX14" fmla="*/ 242994 w 248493"/>
                <a:gd name="connsiteY14" fmla="*/ 122681 h 133825"/>
                <a:gd name="connsiteX15" fmla="*/ 248493 w 248493"/>
                <a:gd name="connsiteY15" fmla="*/ 129280 h 133825"/>
                <a:gd name="connsiteX16" fmla="*/ 243948 w 248493"/>
                <a:gd name="connsiteY16" fmla="*/ 133825 h 133825"/>
                <a:gd name="connsiteX17" fmla="*/ 221224 w 248493"/>
                <a:gd name="connsiteY17" fmla="*/ 129280 h 133825"/>
                <a:gd name="connsiteX18" fmla="*/ 193954 w 248493"/>
                <a:gd name="connsiteY18" fmla="*/ 117918 h 133825"/>
                <a:gd name="connsiteX19" fmla="*/ 184864 w 248493"/>
                <a:gd name="connsiteY19" fmla="*/ 129280 h 133825"/>
                <a:gd name="connsiteX20" fmla="*/ 134870 w 248493"/>
                <a:gd name="connsiteY20" fmla="*/ 133825 h 133825"/>
                <a:gd name="connsiteX21" fmla="*/ 98510 w 248493"/>
                <a:gd name="connsiteY21" fmla="*/ 113373 h 133825"/>
                <a:gd name="connsiteX22" fmla="*/ 59878 w 248493"/>
                <a:gd name="connsiteY22" fmla="*/ 113373 h 133825"/>
                <a:gd name="connsiteX23" fmla="*/ 63212 w 248493"/>
                <a:gd name="connsiteY23" fmla="*/ 102261 h 133825"/>
                <a:gd name="connsiteX24" fmla="*/ 59084 w 248493"/>
                <a:gd name="connsiteY24" fmla="*/ 102261 h 133825"/>
                <a:gd name="connsiteX25" fmla="*/ 64452 w 248493"/>
                <a:gd name="connsiteY25" fmla="*/ 84367 h 133825"/>
                <a:gd name="connsiteX26" fmla="*/ 55333 w 248493"/>
                <a:gd name="connsiteY26" fmla="*/ 58834 h 133825"/>
                <a:gd name="connsiteX27" fmla="*/ 39426 w 248493"/>
                <a:gd name="connsiteY27" fmla="*/ 36109 h 133825"/>
                <a:gd name="connsiteX28" fmla="*/ 16702 w 248493"/>
                <a:gd name="connsiteY28" fmla="*/ 31564 h 133825"/>
                <a:gd name="connsiteX29" fmla="*/ 794 w 248493"/>
                <a:gd name="connsiteY29" fmla="*/ 20202 h 133825"/>
                <a:gd name="connsiteX30" fmla="*/ 5944 w 248493"/>
                <a:gd name="connsiteY30" fmla="*/ 13336 h 133825"/>
                <a:gd name="connsiteX31" fmla="*/ 0 w 248493"/>
                <a:gd name="connsiteY31" fmla="*/ 9090 h 13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48493" h="133825">
                  <a:moveTo>
                    <a:pt x="6818" y="0"/>
                  </a:moveTo>
                  <a:lnTo>
                    <a:pt x="38632" y="9090"/>
                  </a:lnTo>
                  <a:lnTo>
                    <a:pt x="90899" y="15907"/>
                  </a:lnTo>
                  <a:lnTo>
                    <a:pt x="140893" y="43177"/>
                  </a:lnTo>
                  <a:lnTo>
                    <a:pt x="145438" y="52267"/>
                  </a:lnTo>
                  <a:lnTo>
                    <a:pt x="165890" y="43177"/>
                  </a:lnTo>
                  <a:lnTo>
                    <a:pt x="204522" y="52267"/>
                  </a:lnTo>
                  <a:lnTo>
                    <a:pt x="215885" y="74991"/>
                  </a:lnTo>
                  <a:lnTo>
                    <a:pt x="236337" y="84081"/>
                  </a:lnTo>
                  <a:lnTo>
                    <a:pt x="226036" y="90262"/>
                  </a:lnTo>
                  <a:lnTo>
                    <a:pt x="237131" y="95193"/>
                  </a:lnTo>
                  <a:lnTo>
                    <a:pt x="231413" y="98624"/>
                  </a:lnTo>
                  <a:lnTo>
                    <a:pt x="247699" y="118168"/>
                  </a:lnTo>
                  <a:lnTo>
                    <a:pt x="243154" y="122713"/>
                  </a:lnTo>
                  <a:lnTo>
                    <a:pt x="242994" y="122681"/>
                  </a:lnTo>
                  <a:lnTo>
                    <a:pt x="248493" y="129280"/>
                  </a:lnTo>
                  <a:lnTo>
                    <a:pt x="243948" y="133825"/>
                  </a:lnTo>
                  <a:lnTo>
                    <a:pt x="221224" y="129280"/>
                  </a:lnTo>
                  <a:lnTo>
                    <a:pt x="193954" y="117918"/>
                  </a:lnTo>
                  <a:lnTo>
                    <a:pt x="184864" y="129280"/>
                  </a:lnTo>
                  <a:lnTo>
                    <a:pt x="134870" y="133825"/>
                  </a:lnTo>
                  <a:lnTo>
                    <a:pt x="98510" y="113373"/>
                  </a:lnTo>
                  <a:lnTo>
                    <a:pt x="59878" y="113373"/>
                  </a:lnTo>
                  <a:lnTo>
                    <a:pt x="63212" y="102261"/>
                  </a:lnTo>
                  <a:lnTo>
                    <a:pt x="59084" y="102261"/>
                  </a:lnTo>
                  <a:lnTo>
                    <a:pt x="64452" y="84367"/>
                  </a:lnTo>
                  <a:lnTo>
                    <a:pt x="55333" y="58834"/>
                  </a:lnTo>
                  <a:lnTo>
                    <a:pt x="39426" y="36109"/>
                  </a:lnTo>
                  <a:lnTo>
                    <a:pt x="16702" y="31564"/>
                  </a:lnTo>
                  <a:lnTo>
                    <a:pt x="794" y="20202"/>
                  </a:lnTo>
                  <a:lnTo>
                    <a:pt x="5944" y="13336"/>
                  </a:lnTo>
                  <a:lnTo>
                    <a:pt x="0" y="909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32" name="Freeform 19">
              <a:extLst>
                <a:ext uri="{FF2B5EF4-FFF2-40B4-BE49-F238E27FC236}">
                  <a16:creationId xmlns:a16="http://schemas.microsoft.com/office/drawing/2014/main" id="{DFC75D6B-2455-F702-833D-CD487FA79A6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69620" y="2343515"/>
              <a:ext cx="244447" cy="172927"/>
            </a:xfrm>
            <a:custGeom>
              <a:avLst/>
              <a:gdLst>
                <a:gd name="connsiteX0" fmla="*/ 40905 w 515850"/>
                <a:gd name="connsiteY0" fmla="*/ 31815 h 359593"/>
                <a:gd name="connsiteX1" fmla="*/ 15908 w 515850"/>
                <a:gd name="connsiteY1" fmla="*/ 40905 h 359593"/>
                <a:gd name="connsiteX2" fmla="*/ 15204 w 515850"/>
                <a:gd name="connsiteY2" fmla="*/ 44423 h 359593"/>
                <a:gd name="connsiteX3" fmla="*/ 15908 w 515850"/>
                <a:gd name="connsiteY3" fmla="*/ 43720 h 359593"/>
                <a:gd name="connsiteX4" fmla="*/ 42414 w 515850"/>
                <a:gd name="connsiteY4" fmla="*/ 35436 h 359593"/>
                <a:gd name="connsiteX5" fmla="*/ 224974 w 515850"/>
                <a:gd name="connsiteY5" fmla="*/ 0 h 359593"/>
                <a:gd name="connsiteX6" fmla="*/ 272696 w 515850"/>
                <a:gd name="connsiteY6" fmla="*/ 24997 h 359593"/>
                <a:gd name="connsiteX7" fmla="*/ 279514 w 515850"/>
                <a:gd name="connsiteY7" fmla="*/ 63629 h 359593"/>
                <a:gd name="connsiteX8" fmla="*/ 288604 w 515850"/>
                <a:gd name="connsiteY8" fmla="*/ 74992 h 359593"/>
                <a:gd name="connsiteX9" fmla="*/ 331780 w 515850"/>
                <a:gd name="connsiteY9" fmla="*/ 68174 h 359593"/>
                <a:gd name="connsiteX10" fmla="*/ 343143 w 515850"/>
                <a:gd name="connsiteY10" fmla="*/ 79537 h 359593"/>
                <a:gd name="connsiteX11" fmla="*/ 363595 w 515850"/>
                <a:gd name="connsiteY11" fmla="*/ 127258 h 359593"/>
                <a:gd name="connsiteX12" fmla="*/ 402227 w 515850"/>
                <a:gd name="connsiteY12" fmla="*/ 161346 h 359593"/>
                <a:gd name="connsiteX13" fmla="*/ 429496 w 515850"/>
                <a:gd name="connsiteY13" fmla="*/ 181798 h 359593"/>
                <a:gd name="connsiteX14" fmla="*/ 465856 w 515850"/>
                <a:gd name="connsiteY14" fmla="*/ 209067 h 359593"/>
                <a:gd name="connsiteX15" fmla="*/ 515850 w 515850"/>
                <a:gd name="connsiteY15" fmla="*/ 224975 h 359593"/>
                <a:gd name="connsiteX16" fmla="*/ 515850 w 515850"/>
                <a:gd name="connsiteY16" fmla="*/ 236880 h 359593"/>
                <a:gd name="connsiteX17" fmla="*/ 515850 w 515850"/>
                <a:gd name="connsiteY17" fmla="*/ 252244 h 359593"/>
                <a:gd name="connsiteX18" fmla="*/ 515850 w 515850"/>
                <a:gd name="connsiteY18" fmla="*/ 264149 h 359593"/>
                <a:gd name="connsiteX19" fmla="*/ 504488 w 515850"/>
                <a:gd name="connsiteY19" fmla="*/ 264149 h 359593"/>
                <a:gd name="connsiteX20" fmla="*/ 488581 w 515850"/>
                <a:gd name="connsiteY20" fmla="*/ 252787 h 359593"/>
                <a:gd name="connsiteX21" fmla="*/ 481763 w 515850"/>
                <a:gd name="connsiteY21" fmla="*/ 268694 h 359593"/>
                <a:gd name="connsiteX22" fmla="*/ 449949 w 515850"/>
                <a:gd name="connsiteY22" fmla="*/ 275512 h 359593"/>
                <a:gd name="connsiteX23" fmla="*/ 440859 w 515850"/>
                <a:gd name="connsiteY23" fmla="*/ 311871 h 359593"/>
                <a:gd name="connsiteX24" fmla="*/ 422679 w 515850"/>
                <a:gd name="connsiteY24" fmla="*/ 327779 h 359593"/>
                <a:gd name="connsiteX25" fmla="*/ 390865 w 515850"/>
                <a:gd name="connsiteY25" fmla="*/ 334596 h 359593"/>
                <a:gd name="connsiteX26" fmla="*/ 386320 w 515850"/>
                <a:gd name="connsiteY26" fmla="*/ 355048 h 359593"/>
                <a:gd name="connsiteX27" fmla="*/ 354505 w 515850"/>
                <a:gd name="connsiteY27" fmla="*/ 359593 h 359593"/>
                <a:gd name="connsiteX28" fmla="*/ 315873 w 515850"/>
                <a:gd name="connsiteY28" fmla="*/ 343686 h 359593"/>
                <a:gd name="connsiteX29" fmla="*/ 315873 w 515850"/>
                <a:gd name="connsiteY29" fmla="*/ 331781 h 359593"/>
                <a:gd name="connsiteX30" fmla="*/ 315873 w 515850"/>
                <a:gd name="connsiteY30" fmla="*/ 307326 h 359593"/>
                <a:gd name="connsiteX31" fmla="*/ 288604 w 515850"/>
                <a:gd name="connsiteY31" fmla="*/ 300509 h 359593"/>
                <a:gd name="connsiteX32" fmla="*/ 245427 w 515850"/>
                <a:gd name="connsiteY32" fmla="*/ 264149 h 359593"/>
                <a:gd name="connsiteX33" fmla="*/ 213612 w 515850"/>
                <a:gd name="connsiteY33" fmla="*/ 257332 h 359593"/>
                <a:gd name="connsiteX34" fmla="*/ 177253 w 515850"/>
                <a:gd name="connsiteY34" fmla="*/ 236880 h 359593"/>
                <a:gd name="connsiteX35" fmla="*/ 149983 w 515850"/>
                <a:gd name="connsiteY35" fmla="*/ 232335 h 359593"/>
                <a:gd name="connsiteX36" fmla="*/ 134076 w 515850"/>
                <a:gd name="connsiteY36" fmla="*/ 236880 h 359593"/>
                <a:gd name="connsiteX37" fmla="*/ 111351 w 515850"/>
                <a:gd name="connsiteY37" fmla="*/ 236880 h 359593"/>
                <a:gd name="connsiteX38" fmla="*/ 84082 w 515850"/>
                <a:gd name="connsiteY38" fmla="*/ 264149 h 359593"/>
                <a:gd name="connsiteX39" fmla="*/ 52267 w 515850"/>
                <a:gd name="connsiteY39" fmla="*/ 275512 h 359593"/>
                <a:gd name="connsiteX40" fmla="*/ 40905 w 515850"/>
                <a:gd name="connsiteY40" fmla="*/ 241425 h 359593"/>
                <a:gd name="connsiteX41" fmla="*/ 42095 w 515850"/>
                <a:gd name="connsiteY41" fmla="*/ 233091 h 359593"/>
                <a:gd name="connsiteX42" fmla="*/ 40905 w 515850"/>
                <a:gd name="connsiteY42" fmla="*/ 229520 h 359593"/>
                <a:gd name="connsiteX43" fmla="*/ 46152 w 515850"/>
                <a:gd name="connsiteY43" fmla="*/ 192787 h 359593"/>
                <a:gd name="connsiteX44" fmla="*/ 20452 w 515850"/>
                <a:gd name="connsiteY44" fmla="*/ 177795 h 359593"/>
                <a:gd name="connsiteX45" fmla="*/ 23971 w 515850"/>
                <a:gd name="connsiteY45" fmla="*/ 167943 h 359593"/>
                <a:gd name="connsiteX46" fmla="*/ 20452 w 515850"/>
                <a:gd name="connsiteY46" fmla="*/ 165890 h 359593"/>
                <a:gd name="connsiteX47" fmla="*/ 27911 w 515850"/>
                <a:gd name="connsiteY47" fmla="*/ 145005 h 359593"/>
                <a:gd name="connsiteX48" fmla="*/ 4545 w 515850"/>
                <a:gd name="connsiteY48" fmla="*/ 139163 h 359593"/>
                <a:gd name="connsiteX49" fmla="*/ 7996 w 515850"/>
                <a:gd name="connsiteY49" fmla="*/ 128121 h 359593"/>
                <a:gd name="connsiteX50" fmla="*/ 4545 w 515850"/>
                <a:gd name="connsiteY50" fmla="*/ 127258 h 359593"/>
                <a:gd name="connsiteX51" fmla="*/ 15908 w 515850"/>
                <a:gd name="connsiteY51" fmla="*/ 90899 h 359593"/>
                <a:gd name="connsiteX52" fmla="*/ 47722 w 515850"/>
                <a:gd name="connsiteY52" fmla="*/ 102261 h 359593"/>
                <a:gd name="connsiteX53" fmla="*/ 71537 w 515850"/>
                <a:gd name="connsiteY53" fmla="*/ 88653 h 359593"/>
                <a:gd name="connsiteX54" fmla="*/ 52267 w 515850"/>
                <a:gd name="connsiteY54" fmla="*/ 70989 h 359593"/>
                <a:gd name="connsiteX55" fmla="*/ 40905 w 515850"/>
                <a:gd name="connsiteY55" fmla="*/ 43720 h 359593"/>
                <a:gd name="connsiteX56" fmla="*/ 15908 w 515850"/>
                <a:gd name="connsiteY56" fmla="*/ 52810 h 359593"/>
                <a:gd name="connsiteX57" fmla="*/ 9090 w 515850"/>
                <a:gd name="connsiteY57" fmla="*/ 86897 h 359593"/>
                <a:gd name="connsiteX58" fmla="*/ 0 w 515850"/>
                <a:gd name="connsiteY58" fmla="*/ 59627 h 359593"/>
                <a:gd name="connsiteX59" fmla="*/ 2977 w 515850"/>
                <a:gd name="connsiteY59" fmla="*/ 56651 h 359593"/>
                <a:gd name="connsiteX60" fmla="*/ 0 w 515850"/>
                <a:gd name="connsiteY60" fmla="*/ 47722 h 359593"/>
                <a:gd name="connsiteX61" fmla="*/ 15908 w 515850"/>
                <a:gd name="connsiteY61" fmla="*/ 31815 h 359593"/>
                <a:gd name="connsiteX62" fmla="*/ 52267 w 515850"/>
                <a:gd name="connsiteY62" fmla="*/ 20452 h 359593"/>
                <a:gd name="connsiteX63" fmla="*/ 79537 w 515850"/>
                <a:gd name="connsiteY63" fmla="*/ 31815 h 359593"/>
                <a:gd name="connsiteX64" fmla="*/ 106806 w 515850"/>
                <a:gd name="connsiteY64" fmla="*/ 68174 h 359593"/>
                <a:gd name="connsiteX65" fmla="*/ 122713 w 515850"/>
                <a:gd name="connsiteY65" fmla="*/ 68174 h 359593"/>
                <a:gd name="connsiteX66" fmla="*/ 166467 w 515850"/>
                <a:gd name="connsiteY66" fmla="*/ 68174 h 359593"/>
                <a:gd name="connsiteX67" fmla="*/ 161345 w 515850"/>
                <a:gd name="connsiteY67" fmla="*/ 52810 h 359593"/>
                <a:gd name="connsiteX68" fmla="*/ 164747 w 515850"/>
                <a:gd name="connsiteY68" fmla="*/ 51109 h 359593"/>
                <a:gd name="connsiteX69" fmla="*/ 161345 w 515850"/>
                <a:gd name="connsiteY69" fmla="*/ 40905 h 359593"/>
                <a:gd name="connsiteX70" fmla="*/ 193160 w 515850"/>
                <a:gd name="connsiteY70" fmla="*/ 24997 h 359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515850" h="359593">
                  <a:moveTo>
                    <a:pt x="40905" y="31815"/>
                  </a:moveTo>
                  <a:lnTo>
                    <a:pt x="15908" y="40905"/>
                  </a:lnTo>
                  <a:lnTo>
                    <a:pt x="15204" y="44423"/>
                  </a:lnTo>
                  <a:lnTo>
                    <a:pt x="15908" y="43720"/>
                  </a:lnTo>
                  <a:lnTo>
                    <a:pt x="42414" y="35436"/>
                  </a:lnTo>
                  <a:close/>
                  <a:moveTo>
                    <a:pt x="224974" y="0"/>
                  </a:moveTo>
                  <a:lnTo>
                    <a:pt x="272696" y="24997"/>
                  </a:lnTo>
                  <a:lnTo>
                    <a:pt x="279514" y="63629"/>
                  </a:lnTo>
                  <a:lnTo>
                    <a:pt x="288604" y="74992"/>
                  </a:lnTo>
                  <a:lnTo>
                    <a:pt x="331780" y="68174"/>
                  </a:lnTo>
                  <a:lnTo>
                    <a:pt x="343143" y="79537"/>
                  </a:lnTo>
                  <a:lnTo>
                    <a:pt x="363595" y="127258"/>
                  </a:lnTo>
                  <a:lnTo>
                    <a:pt x="402227" y="161346"/>
                  </a:lnTo>
                  <a:lnTo>
                    <a:pt x="429496" y="181798"/>
                  </a:lnTo>
                  <a:lnTo>
                    <a:pt x="465856" y="209067"/>
                  </a:lnTo>
                  <a:lnTo>
                    <a:pt x="515850" y="224975"/>
                  </a:lnTo>
                  <a:lnTo>
                    <a:pt x="515850" y="236880"/>
                  </a:lnTo>
                  <a:lnTo>
                    <a:pt x="515850" y="252244"/>
                  </a:lnTo>
                  <a:lnTo>
                    <a:pt x="515850" y="264149"/>
                  </a:lnTo>
                  <a:lnTo>
                    <a:pt x="504488" y="264149"/>
                  </a:lnTo>
                  <a:lnTo>
                    <a:pt x="488581" y="252787"/>
                  </a:lnTo>
                  <a:lnTo>
                    <a:pt x="481763" y="268694"/>
                  </a:lnTo>
                  <a:lnTo>
                    <a:pt x="449949" y="275512"/>
                  </a:lnTo>
                  <a:lnTo>
                    <a:pt x="440859" y="311871"/>
                  </a:lnTo>
                  <a:lnTo>
                    <a:pt x="422679" y="327779"/>
                  </a:lnTo>
                  <a:lnTo>
                    <a:pt x="390865" y="334596"/>
                  </a:lnTo>
                  <a:lnTo>
                    <a:pt x="386320" y="355048"/>
                  </a:lnTo>
                  <a:lnTo>
                    <a:pt x="354505" y="359593"/>
                  </a:lnTo>
                  <a:lnTo>
                    <a:pt x="315873" y="343686"/>
                  </a:lnTo>
                  <a:lnTo>
                    <a:pt x="315873" y="331781"/>
                  </a:lnTo>
                  <a:lnTo>
                    <a:pt x="315873" y="307326"/>
                  </a:lnTo>
                  <a:lnTo>
                    <a:pt x="288604" y="300509"/>
                  </a:lnTo>
                  <a:lnTo>
                    <a:pt x="245427" y="264149"/>
                  </a:lnTo>
                  <a:lnTo>
                    <a:pt x="213612" y="257332"/>
                  </a:lnTo>
                  <a:lnTo>
                    <a:pt x="177253" y="236880"/>
                  </a:lnTo>
                  <a:lnTo>
                    <a:pt x="149983" y="232335"/>
                  </a:lnTo>
                  <a:lnTo>
                    <a:pt x="134076" y="236880"/>
                  </a:lnTo>
                  <a:lnTo>
                    <a:pt x="111351" y="236880"/>
                  </a:lnTo>
                  <a:lnTo>
                    <a:pt x="84082" y="264149"/>
                  </a:lnTo>
                  <a:lnTo>
                    <a:pt x="52267" y="275512"/>
                  </a:lnTo>
                  <a:lnTo>
                    <a:pt x="40905" y="241425"/>
                  </a:lnTo>
                  <a:lnTo>
                    <a:pt x="42095" y="233091"/>
                  </a:lnTo>
                  <a:lnTo>
                    <a:pt x="40905" y="229520"/>
                  </a:lnTo>
                  <a:lnTo>
                    <a:pt x="46152" y="192787"/>
                  </a:lnTo>
                  <a:lnTo>
                    <a:pt x="20452" y="177795"/>
                  </a:lnTo>
                  <a:lnTo>
                    <a:pt x="23971" y="167943"/>
                  </a:lnTo>
                  <a:lnTo>
                    <a:pt x="20452" y="165890"/>
                  </a:lnTo>
                  <a:lnTo>
                    <a:pt x="27911" y="145005"/>
                  </a:lnTo>
                  <a:lnTo>
                    <a:pt x="4545" y="139163"/>
                  </a:lnTo>
                  <a:lnTo>
                    <a:pt x="7996" y="128121"/>
                  </a:lnTo>
                  <a:lnTo>
                    <a:pt x="4545" y="127258"/>
                  </a:lnTo>
                  <a:lnTo>
                    <a:pt x="15908" y="90899"/>
                  </a:lnTo>
                  <a:lnTo>
                    <a:pt x="47722" y="102261"/>
                  </a:lnTo>
                  <a:lnTo>
                    <a:pt x="71537" y="88653"/>
                  </a:lnTo>
                  <a:lnTo>
                    <a:pt x="52267" y="70989"/>
                  </a:lnTo>
                  <a:lnTo>
                    <a:pt x="40905" y="43720"/>
                  </a:lnTo>
                  <a:lnTo>
                    <a:pt x="15908" y="52810"/>
                  </a:lnTo>
                  <a:lnTo>
                    <a:pt x="9090" y="86897"/>
                  </a:lnTo>
                  <a:lnTo>
                    <a:pt x="0" y="59627"/>
                  </a:lnTo>
                  <a:lnTo>
                    <a:pt x="2977" y="56651"/>
                  </a:lnTo>
                  <a:lnTo>
                    <a:pt x="0" y="47722"/>
                  </a:lnTo>
                  <a:lnTo>
                    <a:pt x="15908" y="31815"/>
                  </a:lnTo>
                  <a:lnTo>
                    <a:pt x="52267" y="20452"/>
                  </a:lnTo>
                  <a:lnTo>
                    <a:pt x="79537" y="31815"/>
                  </a:lnTo>
                  <a:lnTo>
                    <a:pt x="106806" y="68174"/>
                  </a:lnTo>
                  <a:lnTo>
                    <a:pt x="122713" y="68174"/>
                  </a:lnTo>
                  <a:lnTo>
                    <a:pt x="166467" y="68174"/>
                  </a:lnTo>
                  <a:lnTo>
                    <a:pt x="161345" y="52810"/>
                  </a:lnTo>
                  <a:lnTo>
                    <a:pt x="164747" y="51109"/>
                  </a:lnTo>
                  <a:lnTo>
                    <a:pt x="161345" y="40905"/>
                  </a:lnTo>
                  <a:lnTo>
                    <a:pt x="193160" y="2499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33" name="Freeform 20">
              <a:extLst>
                <a:ext uri="{FF2B5EF4-FFF2-40B4-BE49-F238E27FC236}">
                  <a16:creationId xmlns:a16="http://schemas.microsoft.com/office/drawing/2014/main" id="{31619736-B32A-6E83-0F01-E91A63BCE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709611" y="2439632"/>
              <a:ext cx="254138" cy="201392"/>
            </a:xfrm>
            <a:custGeom>
              <a:avLst/>
              <a:gdLst>
                <a:gd name="connsiteX0" fmla="*/ 420069 w 536301"/>
                <a:gd name="connsiteY0" fmla="*/ 91466 h 418785"/>
                <a:gd name="connsiteX1" fmla="*/ 413588 w 536301"/>
                <a:gd name="connsiteY1" fmla="*/ 93171 h 418785"/>
                <a:gd name="connsiteX2" fmla="*/ 412499 w 536301"/>
                <a:gd name="connsiteY2" fmla="*/ 94571 h 418785"/>
                <a:gd name="connsiteX3" fmla="*/ 413588 w 536301"/>
                <a:gd name="connsiteY3" fmla="*/ 96095 h 418785"/>
                <a:gd name="connsiteX4" fmla="*/ 374956 w 536301"/>
                <a:gd name="connsiteY4" fmla="*/ 0 h 418785"/>
                <a:gd name="connsiteX5" fmla="*/ 397681 w 536301"/>
                <a:gd name="connsiteY5" fmla="*/ 11362 h 418785"/>
                <a:gd name="connsiteX6" fmla="*/ 392638 w 536301"/>
                <a:gd name="connsiteY6" fmla="*/ 23127 h 418785"/>
                <a:gd name="connsiteX7" fmla="*/ 397681 w 536301"/>
                <a:gd name="connsiteY7" fmla="*/ 25648 h 418785"/>
                <a:gd name="connsiteX8" fmla="*/ 396986 w 536301"/>
                <a:gd name="connsiteY8" fmla="*/ 27270 h 418785"/>
                <a:gd name="connsiteX9" fmla="*/ 402226 w 536301"/>
                <a:gd name="connsiteY9" fmla="*/ 27270 h 418785"/>
                <a:gd name="connsiteX10" fmla="*/ 402226 w 536301"/>
                <a:gd name="connsiteY10" fmla="*/ 41556 h 418785"/>
                <a:gd name="connsiteX11" fmla="*/ 402226 w 536301"/>
                <a:gd name="connsiteY11" fmla="*/ 65902 h 418785"/>
                <a:gd name="connsiteX12" fmla="*/ 413588 w 536301"/>
                <a:gd name="connsiteY12" fmla="*/ 81809 h 418785"/>
                <a:gd name="connsiteX13" fmla="*/ 429495 w 536301"/>
                <a:gd name="connsiteY13" fmla="*/ 70447 h 418785"/>
                <a:gd name="connsiteX14" fmla="*/ 445403 w 536301"/>
                <a:gd name="connsiteY14" fmla="*/ 65902 h 418785"/>
                <a:gd name="connsiteX15" fmla="*/ 465855 w 536301"/>
                <a:gd name="connsiteY15" fmla="*/ 49994 h 418785"/>
                <a:gd name="connsiteX16" fmla="*/ 493124 w 536301"/>
                <a:gd name="connsiteY16" fmla="*/ 49994 h 418785"/>
                <a:gd name="connsiteX17" fmla="*/ 531756 w 536301"/>
                <a:gd name="connsiteY17" fmla="*/ 49994 h 418785"/>
                <a:gd name="connsiteX18" fmla="*/ 536301 w 536301"/>
                <a:gd name="connsiteY18" fmla="*/ 65902 h 418785"/>
                <a:gd name="connsiteX19" fmla="*/ 532463 w 536301"/>
                <a:gd name="connsiteY19" fmla="*/ 66755 h 418785"/>
                <a:gd name="connsiteX20" fmla="*/ 536301 w 536301"/>
                <a:gd name="connsiteY20" fmla="*/ 80188 h 418785"/>
                <a:gd name="connsiteX21" fmla="*/ 515849 w 536301"/>
                <a:gd name="connsiteY21" fmla="*/ 84733 h 418785"/>
                <a:gd name="connsiteX22" fmla="*/ 499942 w 536301"/>
                <a:gd name="connsiteY22" fmla="*/ 91550 h 418785"/>
                <a:gd name="connsiteX23" fmla="*/ 456765 w 536301"/>
                <a:gd name="connsiteY23" fmla="*/ 96095 h 418785"/>
                <a:gd name="connsiteX24" fmla="*/ 413588 w 536301"/>
                <a:gd name="connsiteY24" fmla="*/ 107457 h 418785"/>
                <a:gd name="connsiteX25" fmla="*/ 400666 w 536301"/>
                <a:gd name="connsiteY25" fmla="*/ 124071 h 418785"/>
                <a:gd name="connsiteX26" fmla="*/ 402226 w 536301"/>
                <a:gd name="connsiteY26" fmla="*/ 129531 h 418785"/>
                <a:gd name="connsiteX27" fmla="*/ 406771 w 536301"/>
                <a:gd name="connsiteY27" fmla="*/ 152255 h 418785"/>
                <a:gd name="connsiteX28" fmla="*/ 404498 w 536301"/>
                <a:gd name="connsiteY28" fmla="*/ 155177 h 418785"/>
                <a:gd name="connsiteX29" fmla="*/ 406771 w 536301"/>
                <a:gd name="connsiteY29" fmla="*/ 166541 h 418785"/>
                <a:gd name="connsiteX30" fmla="*/ 390863 w 536301"/>
                <a:gd name="connsiteY30" fmla="*/ 186994 h 418785"/>
                <a:gd name="connsiteX31" fmla="*/ 390863 w 536301"/>
                <a:gd name="connsiteY31" fmla="*/ 188615 h 418785"/>
                <a:gd name="connsiteX32" fmla="*/ 390863 w 536301"/>
                <a:gd name="connsiteY32" fmla="*/ 202901 h 418785"/>
                <a:gd name="connsiteX33" fmla="*/ 381774 w 536301"/>
                <a:gd name="connsiteY33" fmla="*/ 218808 h 418785"/>
                <a:gd name="connsiteX34" fmla="*/ 350731 w 536301"/>
                <a:gd name="connsiteY34" fmla="*/ 215156 h 418785"/>
                <a:gd name="connsiteX35" fmla="*/ 359049 w 536301"/>
                <a:gd name="connsiteY35" fmla="*/ 231792 h 418785"/>
                <a:gd name="connsiteX36" fmla="*/ 353459 w 536301"/>
                <a:gd name="connsiteY36" fmla="*/ 234897 h 418785"/>
                <a:gd name="connsiteX37" fmla="*/ 359049 w 536301"/>
                <a:gd name="connsiteY37" fmla="*/ 246078 h 418785"/>
                <a:gd name="connsiteX38" fmla="*/ 338597 w 536301"/>
                <a:gd name="connsiteY38" fmla="*/ 257440 h 418785"/>
                <a:gd name="connsiteX39" fmla="*/ 322690 w 536301"/>
                <a:gd name="connsiteY39" fmla="*/ 284710 h 418785"/>
                <a:gd name="connsiteX40" fmla="*/ 322690 w 536301"/>
                <a:gd name="connsiteY40" fmla="*/ 297693 h 418785"/>
                <a:gd name="connsiteX41" fmla="*/ 322690 w 536301"/>
                <a:gd name="connsiteY41" fmla="*/ 311979 h 418785"/>
                <a:gd name="connsiteX42" fmla="*/ 304510 w 536301"/>
                <a:gd name="connsiteY42" fmla="*/ 321069 h 418785"/>
                <a:gd name="connsiteX43" fmla="*/ 295420 w 536301"/>
                <a:gd name="connsiteY43" fmla="*/ 316524 h 418785"/>
                <a:gd name="connsiteX44" fmla="*/ 268151 w 536301"/>
                <a:gd name="connsiteY44" fmla="*/ 321069 h 418785"/>
                <a:gd name="connsiteX45" fmla="*/ 263606 w 536301"/>
                <a:gd name="connsiteY45" fmla="*/ 339249 h 418785"/>
                <a:gd name="connsiteX46" fmla="*/ 236336 w 536301"/>
                <a:gd name="connsiteY46" fmla="*/ 339249 h 418785"/>
                <a:gd name="connsiteX47" fmla="*/ 213612 w 536301"/>
                <a:gd name="connsiteY47" fmla="*/ 359701 h 418785"/>
                <a:gd name="connsiteX48" fmla="*/ 213612 w 536301"/>
                <a:gd name="connsiteY48" fmla="*/ 384047 h 418785"/>
                <a:gd name="connsiteX49" fmla="*/ 213612 w 536301"/>
                <a:gd name="connsiteY49" fmla="*/ 398333 h 418785"/>
                <a:gd name="connsiteX50" fmla="*/ 165890 w 536301"/>
                <a:gd name="connsiteY50" fmla="*/ 414240 h 418785"/>
                <a:gd name="connsiteX51" fmla="*/ 138620 w 536301"/>
                <a:gd name="connsiteY51" fmla="*/ 407423 h 418785"/>
                <a:gd name="connsiteX52" fmla="*/ 127258 w 536301"/>
                <a:gd name="connsiteY52" fmla="*/ 418785 h 418785"/>
                <a:gd name="connsiteX53" fmla="*/ 111351 w 536301"/>
                <a:gd name="connsiteY53" fmla="*/ 414240 h 418785"/>
                <a:gd name="connsiteX54" fmla="*/ 74991 w 536301"/>
                <a:gd name="connsiteY54" fmla="*/ 418785 h 418785"/>
                <a:gd name="connsiteX55" fmla="*/ 9090 w 536301"/>
                <a:gd name="connsiteY55" fmla="*/ 398333 h 418785"/>
                <a:gd name="connsiteX56" fmla="*/ 18986 w 536301"/>
                <a:gd name="connsiteY56" fmla="*/ 387118 h 418785"/>
                <a:gd name="connsiteX57" fmla="*/ 9090 w 536301"/>
                <a:gd name="connsiteY57" fmla="*/ 384047 h 418785"/>
                <a:gd name="connsiteX58" fmla="*/ 43177 w 536301"/>
                <a:gd name="connsiteY58" fmla="*/ 345415 h 418785"/>
                <a:gd name="connsiteX59" fmla="*/ 43177 w 536301"/>
                <a:gd name="connsiteY59" fmla="*/ 332431 h 418785"/>
                <a:gd name="connsiteX60" fmla="*/ 15907 w 536301"/>
                <a:gd name="connsiteY60" fmla="*/ 327886 h 418785"/>
                <a:gd name="connsiteX61" fmla="*/ 9090 w 536301"/>
                <a:gd name="connsiteY61" fmla="*/ 296072 h 418785"/>
                <a:gd name="connsiteX62" fmla="*/ 0 w 536301"/>
                <a:gd name="connsiteY62" fmla="*/ 261985 h 418785"/>
                <a:gd name="connsiteX63" fmla="*/ 2837 w 536301"/>
                <a:gd name="connsiteY63" fmla="*/ 258337 h 418785"/>
                <a:gd name="connsiteX64" fmla="*/ 0 w 536301"/>
                <a:gd name="connsiteY64" fmla="*/ 247699 h 418785"/>
                <a:gd name="connsiteX65" fmla="*/ 8764 w 536301"/>
                <a:gd name="connsiteY65" fmla="*/ 236431 h 418785"/>
                <a:gd name="connsiteX66" fmla="*/ 0 w 536301"/>
                <a:gd name="connsiteY66" fmla="*/ 230170 h 418785"/>
                <a:gd name="connsiteX67" fmla="*/ 3390 w 536301"/>
                <a:gd name="connsiteY67" fmla="*/ 218306 h 418785"/>
                <a:gd name="connsiteX68" fmla="*/ 0 w 536301"/>
                <a:gd name="connsiteY68" fmla="*/ 215884 h 418785"/>
                <a:gd name="connsiteX69" fmla="*/ 9090 w 536301"/>
                <a:gd name="connsiteY69" fmla="*/ 184070 h 418785"/>
                <a:gd name="connsiteX70" fmla="*/ 20452 w 536301"/>
                <a:gd name="connsiteY70" fmla="*/ 129531 h 418785"/>
                <a:gd name="connsiteX71" fmla="*/ 59084 w 536301"/>
                <a:gd name="connsiteY71" fmla="*/ 145438 h 418785"/>
                <a:gd name="connsiteX72" fmla="*/ 90899 w 536301"/>
                <a:gd name="connsiteY72" fmla="*/ 140893 h 418785"/>
                <a:gd name="connsiteX73" fmla="*/ 95444 w 536301"/>
                <a:gd name="connsiteY73" fmla="*/ 120441 h 418785"/>
                <a:gd name="connsiteX74" fmla="*/ 127258 w 536301"/>
                <a:gd name="connsiteY74" fmla="*/ 113623 h 418785"/>
                <a:gd name="connsiteX75" fmla="*/ 145438 w 536301"/>
                <a:gd name="connsiteY75" fmla="*/ 97716 h 418785"/>
                <a:gd name="connsiteX76" fmla="*/ 154528 w 536301"/>
                <a:gd name="connsiteY76" fmla="*/ 65902 h 418785"/>
                <a:gd name="connsiteX77" fmla="*/ 186342 w 536301"/>
                <a:gd name="connsiteY77" fmla="*/ 54539 h 418785"/>
                <a:gd name="connsiteX78" fmla="*/ 193160 w 536301"/>
                <a:gd name="connsiteY78" fmla="*/ 38632 h 418785"/>
                <a:gd name="connsiteX79" fmla="*/ 209067 w 536301"/>
                <a:gd name="connsiteY79" fmla="*/ 49994 h 418785"/>
                <a:gd name="connsiteX80" fmla="*/ 220429 w 536301"/>
                <a:gd name="connsiteY80" fmla="*/ 49994 h 418785"/>
                <a:gd name="connsiteX81" fmla="*/ 240881 w 536301"/>
                <a:gd name="connsiteY81" fmla="*/ 49994 h 418785"/>
                <a:gd name="connsiteX82" fmla="*/ 268151 w 536301"/>
                <a:gd name="connsiteY82" fmla="*/ 61357 h 418785"/>
                <a:gd name="connsiteX83" fmla="*/ 279513 w 536301"/>
                <a:gd name="connsiteY83" fmla="*/ 70447 h 418785"/>
                <a:gd name="connsiteX84" fmla="*/ 304510 w 536301"/>
                <a:gd name="connsiteY84" fmla="*/ 54539 h 418785"/>
                <a:gd name="connsiteX85" fmla="*/ 315872 w 536301"/>
                <a:gd name="connsiteY85" fmla="*/ 61357 h 418785"/>
                <a:gd name="connsiteX86" fmla="*/ 331779 w 536301"/>
                <a:gd name="connsiteY86" fmla="*/ 43177 h 418785"/>
                <a:gd name="connsiteX87" fmla="*/ 354504 w 536301"/>
                <a:gd name="connsiteY87" fmla="*/ 43177 h 418785"/>
                <a:gd name="connsiteX88" fmla="*/ 354504 w 536301"/>
                <a:gd name="connsiteY88" fmla="*/ 38632 h 418785"/>
                <a:gd name="connsiteX89" fmla="*/ 359049 w 536301"/>
                <a:gd name="connsiteY89" fmla="*/ 18180 h 418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536301" h="418785">
                  <a:moveTo>
                    <a:pt x="420069" y="91466"/>
                  </a:moveTo>
                  <a:lnTo>
                    <a:pt x="413588" y="93171"/>
                  </a:lnTo>
                  <a:lnTo>
                    <a:pt x="412499" y="94571"/>
                  </a:lnTo>
                  <a:lnTo>
                    <a:pt x="413588" y="96095"/>
                  </a:lnTo>
                  <a:close/>
                  <a:moveTo>
                    <a:pt x="374956" y="0"/>
                  </a:moveTo>
                  <a:lnTo>
                    <a:pt x="397681" y="11362"/>
                  </a:lnTo>
                  <a:lnTo>
                    <a:pt x="392638" y="23127"/>
                  </a:lnTo>
                  <a:lnTo>
                    <a:pt x="397681" y="25648"/>
                  </a:lnTo>
                  <a:lnTo>
                    <a:pt x="396986" y="27270"/>
                  </a:lnTo>
                  <a:lnTo>
                    <a:pt x="402226" y="27270"/>
                  </a:lnTo>
                  <a:lnTo>
                    <a:pt x="402226" y="41556"/>
                  </a:lnTo>
                  <a:lnTo>
                    <a:pt x="402226" y="65902"/>
                  </a:lnTo>
                  <a:lnTo>
                    <a:pt x="413588" y="81809"/>
                  </a:lnTo>
                  <a:lnTo>
                    <a:pt x="429495" y="70447"/>
                  </a:lnTo>
                  <a:lnTo>
                    <a:pt x="445403" y="65902"/>
                  </a:lnTo>
                  <a:lnTo>
                    <a:pt x="465855" y="49994"/>
                  </a:lnTo>
                  <a:lnTo>
                    <a:pt x="493124" y="49994"/>
                  </a:lnTo>
                  <a:lnTo>
                    <a:pt x="531756" y="49994"/>
                  </a:lnTo>
                  <a:lnTo>
                    <a:pt x="536301" y="65902"/>
                  </a:lnTo>
                  <a:lnTo>
                    <a:pt x="532463" y="66755"/>
                  </a:lnTo>
                  <a:lnTo>
                    <a:pt x="536301" y="80188"/>
                  </a:lnTo>
                  <a:lnTo>
                    <a:pt x="515849" y="84733"/>
                  </a:lnTo>
                  <a:lnTo>
                    <a:pt x="499942" y="91550"/>
                  </a:lnTo>
                  <a:lnTo>
                    <a:pt x="456765" y="96095"/>
                  </a:lnTo>
                  <a:lnTo>
                    <a:pt x="413588" y="107457"/>
                  </a:lnTo>
                  <a:lnTo>
                    <a:pt x="400666" y="124071"/>
                  </a:lnTo>
                  <a:lnTo>
                    <a:pt x="402226" y="129531"/>
                  </a:lnTo>
                  <a:lnTo>
                    <a:pt x="406771" y="152255"/>
                  </a:lnTo>
                  <a:lnTo>
                    <a:pt x="404498" y="155177"/>
                  </a:lnTo>
                  <a:lnTo>
                    <a:pt x="406771" y="166541"/>
                  </a:lnTo>
                  <a:lnTo>
                    <a:pt x="390863" y="186994"/>
                  </a:lnTo>
                  <a:lnTo>
                    <a:pt x="390863" y="188615"/>
                  </a:lnTo>
                  <a:lnTo>
                    <a:pt x="390863" y="202901"/>
                  </a:lnTo>
                  <a:lnTo>
                    <a:pt x="381774" y="218808"/>
                  </a:lnTo>
                  <a:lnTo>
                    <a:pt x="350731" y="215156"/>
                  </a:lnTo>
                  <a:lnTo>
                    <a:pt x="359049" y="231792"/>
                  </a:lnTo>
                  <a:lnTo>
                    <a:pt x="353459" y="234897"/>
                  </a:lnTo>
                  <a:lnTo>
                    <a:pt x="359049" y="246078"/>
                  </a:lnTo>
                  <a:lnTo>
                    <a:pt x="338597" y="257440"/>
                  </a:lnTo>
                  <a:lnTo>
                    <a:pt x="322690" y="284710"/>
                  </a:lnTo>
                  <a:lnTo>
                    <a:pt x="322690" y="297693"/>
                  </a:lnTo>
                  <a:lnTo>
                    <a:pt x="322690" y="311979"/>
                  </a:lnTo>
                  <a:lnTo>
                    <a:pt x="304510" y="321069"/>
                  </a:lnTo>
                  <a:lnTo>
                    <a:pt x="295420" y="316524"/>
                  </a:lnTo>
                  <a:lnTo>
                    <a:pt x="268151" y="321069"/>
                  </a:lnTo>
                  <a:lnTo>
                    <a:pt x="263606" y="339249"/>
                  </a:lnTo>
                  <a:lnTo>
                    <a:pt x="236336" y="339249"/>
                  </a:lnTo>
                  <a:lnTo>
                    <a:pt x="213612" y="359701"/>
                  </a:lnTo>
                  <a:lnTo>
                    <a:pt x="213612" y="384047"/>
                  </a:lnTo>
                  <a:lnTo>
                    <a:pt x="213612" y="398333"/>
                  </a:lnTo>
                  <a:lnTo>
                    <a:pt x="165890" y="414240"/>
                  </a:lnTo>
                  <a:lnTo>
                    <a:pt x="138620" y="407423"/>
                  </a:lnTo>
                  <a:lnTo>
                    <a:pt x="127258" y="418785"/>
                  </a:lnTo>
                  <a:lnTo>
                    <a:pt x="111351" y="414240"/>
                  </a:lnTo>
                  <a:lnTo>
                    <a:pt x="74991" y="418785"/>
                  </a:lnTo>
                  <a:lnTo>
                    <a:pt x="9090" y="398333"/>
                  </a:lnTo>
                  <a:lnTo>
                    <a:pt x="18986" y="387118"/>
                  </a:lnTo>
                  <a:lnTo>
                    <a:pt x="9090" y="384047"/>
                  </a:lnTo>
                  <a:lnTo>
                    <a:pt x="43177" y="345415"/>
                  </a:lnTo>
                  <a:lnTo>
                    <a:pt x="43177" y="332431"/>
                  </a:lnTo>
                  <a:lnTo>
                    <a:pt x="15907" y="327886"/>
                  </a:lnTo>
                  <a:lnTo>
                    <a:pt x="9090" y="296072"/>
                  </a:lnTo>
                  <a:lnTo>
                    <a:pt x="0" y="261985"/>
                  </a:lnTo>
                  <a:lnTo>
                    <a:pt x="2837" y="258337"/>
                  </a:lnTo>
                  <a:lnTo>
                    <a:pt x="0" y="247699"/>
                  </a:lnTo>
                  <a:lnTo>
                    <a:pt x="8764" y="236431"/>
                  </a:lnTo>
                  <a:lnTo>
                    <a:pt x="0" y="230170"/>
                  </a:lnTo>
                  <a:lnTo>
                    <a:pt x="3390" y="218306"/>
                  </a:lnTo>
                  <a:lnTo>
                    <a:pt x="0" y="215884"/>
                  </a:lnTo>
                  <a:lnTo>
                    <a:pt x="9090" y="184070"/>
                  </a:lnTo>
                  <a:lnTo>
                    <a:pt x="20452" y="129531"/>
                  </a:lnTo>
                  <a:lnTo>
                    <a:pt x="59084" y="145438"/>
                  </a:lnTo>
                  <a:lnTo>
                    <a:pt x="90899" y="140893"/>
                  </a:lnTo>
                  <a:lnTo>
                    <a:pt x="95444" y="120441"/>
                  </a:lnTo>
                  <a:lnTo>
                    <a:pt x="127258" y="113623"/>
                  </a:lnTo>
                  <a:lnTo>
                    <a:pt x="145438" y="97716"/>
                  </a:lnTo>
                  <a:lnTo>
                    <a:pt x="154528" y="65902"/>
                  </a:lnTo>
                  <a:lnTo>
                    <a:pt x="186342" y="54539"/>
                  </a:lnTo>
                  <a:lnTo>
                    <a:pt x="193160" y="38632"/>
                  </a:lnTo>
                  <a:lnTo>
                    <a:pt x="209067" y="49994"/>
                  </a:lnTo>
                  <a:lnTo>
                    <a:pt x="220429" y="49994"/>
                  </a:lnTo>
                  <a:lnTo>
                    <a:pt x="240881" y="49994"/>
                  </a:lnTo>
                  <a:lnTo>
                    <a:pt x="268151" y="61357"/>
                  </a:lnTo>
                  <a:lnTo>
                    <a:pt x="279513" y="70447"/>
                  </a:lnTo>
                  <a:lnTo>
                    <a:pt x="304510" y="54539"/>
                  </a:lnTo>
                  <a:lnTo>
                    <a:pt x="315872" y="61357"/>
                  </a:lnTo>
                  <a:lnTo>
                    <a:pt x="331779" y="43177"/>
                  </a:lnTo>
                  <a:lnTo>
                    <a:pt x="354504" y="43177"/>
                  </a:lnTo>
                  <a:lnTo>
                    <a:pt x="354504" y="38632"/>
                  </a:lnTo>
                  <a:lnTo>
                    <a:pt x="359049" y="1818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34" name="Freeform 21">
              <a:extLst>
                <a:ext uri="{FF2B5EF4-FFF2-40B4-BE49-F238E27FC236}">
                  <a16:creationId xmlns:a16="http://schemas.microsoft.com/office/drawing/2014/main" id="{BDCEE7C3-10EC-F456-BFF9-A090D0359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9142" y="2383948"/>
              <a:ext cx="132453" cy="103039"/>
            </a:xfrm>
            <a:custGeom>
              <a:avLst/>
              <a:gdLst>
                <a:gd name="connsiteX0" fmla="*/ 118169 w 279514"/>
                <a:gd name="connsiteY0" fmla="*/ 0 h 214263"/>
                <a:gd name="connsiteX1" fmla="*/ 115169 w 279514"/>
                <a:gd name="connsiteY1" fmla="*/ 15000 h 214263"/>
                <a:gd name="connsiteX2" fmla="*/ 118169 w 279514"/>
                <a:gd name="connsiteY2" fmla="*/ 14286 h 214263"/>
                <a:gd name="connsiteX3" fmla="*/ 115305 w 279514"/>
                <a:gd name="connsiteY3" fmla="*/ 28607 h 214263"/>
                <a:gd name="connsiteX4" fmla="*/ 118169 w 279514"/>
                <a:gd name="connsiteY4" fmla="*/ 38632 h 214263"/>
                <a:gd name="connsiteX5" fmla="*/ 134076 w 279514"/>
                <a:gd name="connsiteY5" fmla="*/ 34087 h 214263"/>
                <a:gd name="connsiteX6" fmla="*/ 118169 w 279514"/>
                <a:gd name="connsiteY6" fmla="*/ 49994 h 214263"/>
                <a:gd name="connsiteX7" fmla="*/ 117289 w 279514"/>
                <a:gd name="connsiteY7" fmla="*/ 49839 h 214263"/>
                <a:gd name="connsiteX8" fmla="*/ 118169 w 279514"/>
                <a:gd name="connsiteY8" fmla="*/ 52918 h 214263"/>
                <a:gd name="connsiteX9" fmla="*/ 134076 w 279514"/>
                <a:gd name="connsiteY9" fmla="*/ 48373 h 214263"/>
                <a:gd name="connsiteX10" fmla="*/ 118169 w 279514"/>
                <a:gd name="connsiteY10" fmla="*/ 64280 h 214263"/>
                <a:gd name="connsiteX11" fmla="*/ 79537 w 279514"/>
                <a:gd name="connsiteY11" fmla="*/ 57463 h 214263"/>
                <a:gd name="connsiteX12" fmla="*/ 77421 w 279514"/>
                <a:gd name="connsiteY12" fmla="*/ 70161 h 214263"/>
                <a:gd name="connsiteX13" fmla="*/ 113624 w 279514"/>
                <a:gd name="connsiteY13" fmla="*/ 65902 h 214263"/>
                <a:gd name="connsiteX14" fmla="*/ 161345 w 279514"/>
                <a:gd name="connsiteY14" fmla="*/ 81809 h 214263"/>
                <a:gd name="connsiteX15" fmla="*/ 231792 w 279514"/>
                <a:gd name="connsiteY15" fmla="*/ 77264 h 214263"/>
                <a:gd name="connsiteX16" fmla="*/ 240882 w 279514"/>
                <a:gd name="connsiteY16" fmla="*/ 118168 h 214263"/>
                <a:gd name="connsiteX17" fmla="*/ 252244 w 279514"/>
                <a:gd name="connsiteY17" fmla="*/ 113623 h 214263"/>
                <a:gd name="connsiteX18" fmla="*/ 272697 w 279514"/>
                <a:gd name="connsiteY18" fmla="*/ 124986 h 214263"/>
                <a:gd name="connsiteX19" fmla="*/ 272697 w 279514"/>
                <a:gd name="connsiteY19" fmla="*/ 139272 h 214263"/>
                <a:gd name="connsiteX20" fmla="*/ 272697 w 279514"/>
                <a:gd name="connsiteY20" fmla="*/ 140893 h 214263"/>
                <a:gd name="connsiteX21" fmla="*/ 279514 w 279514"/>
                <a:gd name="connsiteY21" fmla="*/ 168163 h 214263"/>
                <a:gd name="connsiteX22" fmla="*/ 275943 w 279514"/>
                <a:gd name="connsiteY22" fmla="*/ 168163 h 214263"/>
                <a:gd name="connsiteX23" fmla="*/ 279514 w 279514"/>
                <a:gd name="connsiteY23" fmla="*/ 182449 h 214263"/>
                <a:gd name="connsiteX24" fmla="*/ 240882 w 279514"/>
                <a:gd name="connsiteY24" fmla="*/ 182449 h 214263"/>
                <a:gd name="connsiteX25" fmla="*/ 213612 w 279514"/>
                <a:gd name="connsiteY25" fmla="*/ 175631 h 214263"/>
                <a:gd name="connsiteX26" fmla="*/ 193160 w 279514"/>
                <a:gd name="connsiteY26" fmla="*/ 198356 h 214263"/>
                <a:gd name="connsiteX27" fmla="*/ 177253 w 279514"/>
                <a:gd name="connsiteY27" fmla="*/ 202901 h 214263"/>
                <a:gd name="connsiteX28" fmla="*/ 161345 w 279514"/>
                <a:gd name="connsiteY28" fmla="*/ 214263 h 214263"/>
                <a:gd name="connsiteX29" fmla="*/ 149983 w 279514"/>
                <a:gd name="connsiteY29" fmla="*/ 198356 h 214263"/>
                <a:gd name="connsiteX30" fmla="*/ 149983 w 279514"/>
                <a:gd name="connsiteY30" fmla="*/ 184070 h 214263"/>
                <a:gd name="connsiteX31" fmla="*/ 149983 w 279514"/>
                <a:gd name="connsiteY31" fmla="*/ 159724 h 214263"/>
                <a:gd name="connsiteX32" fmla="*/ 138621 w 279514"/>
                <a:gd name="connsiteY32" fmla="*/ 159724 h 214263"/>
                <a:gd name="connsiteX33" fmla="*/ 144743 w 279514"/>
                <a:gd name="connsiteY33" fmla="*/ 145438 h 214263"/>
                <a:gd name="connsiteX34" fmla="*/ 138621 w 279514"/>
                <a:gd name="connsiteY34" fmla="*/ 145438 h 214263"/>
                <a:gd name="connsiteX35" fmla="*/ 140396 w 279514"/>
                <a:gd name="connsiteY35" fmla="*/ 141296 h 214263"/>
                <a:gd name="connsiteX36" fmla="*/ 122713 w 279514"/>
                <a:gd name="connsiteY36" fmla="*/ 132454 h 214263"/>
                <a:gd name="connsiteX37" fmla="*/ 106806 w 279514"/>
                <a:gd name="connsiteY37" fmla="*/ 150634 h 214263"/>
                <a:gd name="connsiteX38" fmla="*/ 102261 w 279514"/>
                <a:gd name="connsiteY38" fmla="*/ 166541 h 214263"/>
                <a:gd name="connsiteX39" fmla="*/ 102261 w 279514"/>
                <a:gd name="connsiteY39" fmla="*/ 171086 h 214263"/>
                <a:gd name="connsiteX40" fmla="*/ 79537 w 279514"/>
                <a:gd name="connsiteY40" fmla="*/ 171086 h 214263"/>
                <a:gd name="connsiteX41" fmla="*/ 63629 w 279514"/>
                <a:gd name="connsiteY41" fmla="*/ 193811 h 214263"/>
                <a:gd name="connsiteX42" fmla="*/ 52267 w 279514"/>
                <a:gd name="connsiteY42" fmla="*/ 186994 h 214263"/>
                <a:gd name="connsiteX43" fmla="*/ 27270 w 279514"/>
                <a:gd name="connsiteY43" fmla="*/ 202901 h 214263"/>
                <a:gd name="connsiteX44" fmla="*/ 15908 w 279514"/>
                <a:gd name="connsiteY44" fmla="*/ 193811 h 214263"/>
                <a:gd name="connsiteX45" fmla="*/ 20815 w 279514"/>
                <a:gd name="connsiteY45" fmla="*/ 183451 h 214263"/>
                <a:gd name="connsiteX46" fmla="*/ 15908 w 279514"/>
                <a:gd name="connsiteY46" fmla="*/ 179525 h 214263"/>
                <a:gd name="connsiteX47" fmla="*/ 35013 w 279514"/>
                <a:gd name="connsiteY47" fmla="*/ 139190 h 214263"/>
                <a:gd name="connsiteX48" fmla="*/ 31815 w 279514"/>
                <a:gd name="connsiteY48" fmla="*/ 112002 h 214263"/>
                <a:gd name="connsiteX49" fmla="*/ 0 w 279514"/>
                <a:gd name="connsiteY49" fmla="*/ 100640 h 214263"/>
                <a:gd name="connsiteX50" fmla="*/ 6623 w 279514"/>
                <a:gd name="connsiteY50" fmla="*/ 88719 h 214263"/>
                <a:gd name="connsiteX51" fmla="*/ 0 w 279514"/>
                <a:gd name="connsiteY51" fmla="*/ 86354 h 214263"/>
                <a:gd name="connsiteX52" fmla="*/ 11363 w 279514"/>
                <a:gd name="connsiteY52" fmla="*/ 65902 h 214263"/>
                <a:gd name="connsiteX53" fmla="*/ 43177 w 279514"/>
                <a:gd name="connsiteY53" fmla="*/ 70447 h 214263"/>
                <a:gd name="connsiteX54" fmla="*/ 59084 w 279514"/>
                <a:gd name="connsiteY54" fmla="*/ 43177 h 214263"/>
                <a:gd name="connsiteX55" fmla="*/ 70447 w 279514"/>
                <a:gd name="connsiteY55" fmla="*/ 11362 h 214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279514" h="214263">
                  <a:moveTo>
                    <a:pt x="118169" y="0"/>
                  </a:moveTo>
                  <a:lnTo>
                    <a:pt x="115169" y="15000"/>
                  </a:lnTo>
                  <a:lnTo>
                    <a:pt x="118169" y="14286"/>
                  </a:lnTo>
                  <a:lnTo>
                    <a:pt x="115305" y="28607"/>
                  </a:lnTo>
                  <a:lnTo>
                    <a:pt x="118169" y="38632"/>
                  </a:lnTo>
                  <a:lnTo>
                    <a:pt x="134076" y="34087"/>
                  </a:lnTo>
                  <a:lnTo>
                    <a:pt x="118169" y="49994"/>
                  </a:lnTo>
                  <a:lnTo>
                    <a:pt x="117289" y="49839"/>
                  </a:lnTo>
                  <a:lnTo>
                    <a:pt x="118169" y="52918"/>
                  </a:lnTo>
                  <a:lnTo>
                    <a:pt x="134076" y="48373"/>
                  </a:lnTo>
                  <a:lnTo>
                    <a:pt x="118169" y="64280"/>
                  </a:lnTo>
                  <a:lnTo>
                    <a:pt x="79537" y="57463"/>
                  </a:lnTo>
                  <a:lnTo>
                    <a:pt x="77421" y="70161"/>
                  </a:lnTo>
                  <a:lnTo>
                    <a:pt x="113624" y="65902"/>
                  </a:lnTo>
                  <a:lnTo>
                    <a:pt x="161345" y="81809"/>
                  </a:lnTo>
                  <a:lnTo>
                    <a:pt x="231792" y="77264"/>
                  </a:lnTo>
                  <a:lnTo>
                    <a:pt x="240882" y="118168"/>
                  </a:lnTo>
                  <a:lnTo>
                    <a:pt x="252244" y="113623"/>
                  </a:lnTo>
                  <a:lnTo>
                    <a:pt x="272697" y="124986"/>
                  </a:lnTo>
                  <a:lnTo>
                    <a:pt x="272697" y="139272"/>
                  </a:lnTo>
                  <a:lnTo>
                    <a:pt x="272697" y="140893"/>
                  </a:lnTo>
                  <a:lnTo>
                    <a:pt x="279514" y="168163"/>
                  </a:lnTo>
                  <a:lnTo>
                    <a:pt x="275943" y="168163"/>
                  </a:lnTo>
                  <a:lnTo>
                    <a:pt x="279514" y="182449"/>
                  </a:lnTo>
                  <a:lnTo>
                    <a:pt x="240882" y="182449"/>
                  </a:lnTo>
                  <a:lnTo>
                    <a:pt x="213612" y="175631"/>
                  </a:lnTo>
                  <a:lnTo>
                    <a:pt x="193160" y="198356"/>
                  </a:lnTo>
                  <a:lnTo>
                    <a:pt x="177253" y="202901"/>
                  </a:lnTo>
                  <a:lnTo>
                    <a:pt x="161345" y="214263"/>
                  </a:lnTo>
                  <a:lnTo>
                    <a:pt x="149983" y="198356"/>
                  </a:lnTo>
                  <a:lnTo>
                    <a:pt x="149983" y="184070"/>
                  </a:lnTo>
                  <a:lnTo>
                    <a:pt x="149983" y="159724"/>
                  </a:lnTo>
                  <a:lnTo>
                    <a:pt x="138621" y="159724"/>
                  </a:lnTo>
                  <a:lnTo>
                    <a:pt x="144743" y="145438"/>
                  </a:lnTo>
                  <a:lnTo>
                    <a:pt x="138621" y="145438"/>
                  </a:lnTo>
                  <a:lnTo>
                    <a:pt x="140396" y="141296"/>
                  </a:lnTo>
                  <a:lnTo>
                    <a:pt x="122713" y="132454"/>
                  </a:lnTo>
                  <a:lnTo>
                    <a:pt x="106806" y="150634"/>
                  </a:lnTo>
                  <a:lnTo>
                    <a:pt x="102261" y="166541"/>
                  </a:lnTo>
                  <a:lnTo>
                    <a:pt x="102261" y="171086"/>
                  </a:lnTo>
                  <a:lnTo>
                    <a:pt x="79537" y="171086"/>
                  </a:lnTo>
                  <a:lnTo>
                    <a:pt x="63629" y="193811"/>
                  </a:lnTo>
                  <a:lnTo>
                    <a:pt x="52267" y="186994"/>
                  </a:lnTo>
                  <a:lnTo>
                    <a:pt x="27270" y="202901"/>
                  </a:lnTo>
                  <a:lnTo>
                    <a:pt x="15908" y="193811"/>
                  </a:lnTo>
                  <a:lnTo>
                    <a:pt x="20815" y="183451"/>
                  </a:lnTo>
                  <a:lnTo>
                    <a:pt x="15908" y="179525"/>
                  </a:lnTo>
                  <a:lnTo>
                    <a:pt x="35013" y="139190"/>
                  </a:lnTo>
                  <a:lnTo>
                    <a:pt x="31815" y="112002"/>
                  </a:lnTo>
                  <a:lnTo>
                    <a:pt x="0" y="100640"/>
                  </a:lnTo>
                  <a:lnTo>
                    <a:pt x="6623" y="88719"/>
                  </a:lnTo>
                  <a:lnTo>
                    <a:pt x="0" y="86354"/>
                  </a:lnTo>
                  <a:lnTo>
                    <a:pt x="11363" y="65902"/>
                  </a:lnTo>
                  <a:lnTo>
                    <a:pt x="43177" y="70447"/>
                  </a:lnTo>
                  <a:lnTo>
                    <a:pt x="59084" y="43177"/>
                  </a:lnTo>
                  <a:lnTo>
                    <a:pt x="70447" y="1136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35" name="Freeform 22">
              <a:extLst>
                <a:ext uri="{FF2B5EF4-FFF2-40B4-BE49-F238E27FC236}">
                  <a16:creationId xmlns:a16="http://schemas.microsoft.com/office/drawing/2014/main" id="{76E9294B-56FB-9855-8C5A-8D705097C8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863550" y="2328268"/>
              <a:ext cx="192965" cy="103039"/>
            </a:xfrm>
            <a:custGeom>
              <a:avLst/>
              <a:gdLst>
                <a:gd name="connsiteX0" fmla="*/ 177253 w 407206"/>
                <a:gd name="connsiteY0" fmla="*/ 0 h 214263"/>
                <a:gd name="connsiteX1" fmla="*/ 224974 w 407206"/>
                <a:gd name="connsiteY1" fmla="*/ 22725 h 214263"/>
                <a:gd name="connsiteX2" fmla="*/ 240882 w 407206"/>
                <a:gd name="connsiteY2" fmla="*/ 15907 h 214263"/>
                <a:gd name="connsiteX3" fmla="*/ 299966 w 407206"/>
                <a:gd name="connsiteY3" fmla="*/ 22725 h 214263"/>
                <a:gd name="connsiteX4" fmla="*/ 359050 w 407206"/>
                <a:gd name="connsiteY4" fmla="*/ 27270 h 214263"/>
                <a:gd name="connsiteX5" fmla="*/ 377230 w 407206"/>
                <a:gd name="connsiteY5" fmla="*/ 43177 h 214263"/>
                <a:gd name="connsiteX6" fmla="*/ 397682 w 407206"/>
                <a:gd name="connsiteY6" fmla="*/ 49994 h 214263"/>
                <a:gd name="connsiteX7" fmla="*/ 393137 w 407206"/>
                <a:gd name="connsiteY7" fmla="*/ 59084 h 214263"/>
                <a:gd name="connsiteX8" fmla="*/ 392500 w 407206"/>
                <a:gd name="connsiteY8" fmla="*/ 59378 h 214263"/>
                <a:gd name="connsiteX9" fmla="*/ 407206 w 407206"/>
                <a:gd name="connsiteY9" fmla="*/ 64280 h 214263"/>
                <a:gd name="connsiteX10" fmla="*/ 402661 w 407206"/>
                <a:gd name="connsiteY10" fmla="*/ 73370 h 214263"/>
                <a:gd name="connsiteX11" fmla="*/ 343577 w 407206"/>
                <a:gd name="connsiteY11" fmla="*/ 100640 h 214263"/>
                <a:gd name="connsiteX12" fmla="*/ 332215 w 407206"/>
                <a:gd name="connsiteY12" fmla="*/ 123364 h 214263"/>
                <a:gd name="connsiteX13" fmla="*/ 284493 w 407206"/>
                <a:gd name="connsiteY13" fmla="*/ 127909 h 214263"/>
                <a:gd name="connsiteX14" fmla="*/ 273130 w 407206"/>
                <a:gd name="connsiteY14" fmla="*/ 155179 h 214263"/>
                <a:gd name="connsiteX15" fmla="*/ 229953 w 407206"/>
                <a:gd name="connsiteY15" fmla="*/ 150634 h 214263"/>
                <a:gd name="connsiteX16" fmla="*/ 207229 w 407206"/>
                <a:gd name="connsiteY16" fmla="*/ 159724 h 214263"/>
                <a:gd name="connsiteX17" fmla="*/ 170869 w 407206"/>
                <a:gd name="connsiteY17" fmla="*/ 182449 h 214263"/>
                <a:gd name="connsiteX18" fmla="*/ 175414 w 407206"/>
                <a:gd name="connsiteY18" fmla="*/ 191538 h 214263"/>
                <a:gd name="connsiteX19" fmla="*/ 166324 w 407206"/>
                <a:gd name="connsiteY19" fmla="*/ 202901 h 214263"/>
                <a:gd name="connsiteX20" fmla="*/ 95878 w 407206"/>
                <a:gd name="connsiteY20" fmla="*/ 214263 h 214263"/>
                <a:gd name="connsiteX21" fmla="*/ 48156 w 407206"/>
                <a:gd name="connsiteY21" fmla="*/ 198356 h 214263"/>
                <a:gd name="connsiteX22" fmla="*/ 9524 w 407206"/>
                <a:gd name="connsiteY22" fmla="*/ 198356 h 214263"/>
                <a:gd name="connsiteX23" fmla="*/ 11905 w 407206"/>
                <a:gd name="connsiteY23" fmla="*/ 184070 h 214263"/>
                <a:gd name="connsiteX24" fmla="*/ 0 w 407206"/>
                <a:gd name="connsiteY24" fmla="*/ 184070 h 214263"/>
                <a:gd name="connsiteX25" fmla="*/ 4545 w 407206"/>
                <a:gd name="connsiteY25" fmla="*/ 156800 h 214263"/>
                <a:gd name="connsiteX26" fmla="*/ 43177 w 407206"/>
                <a:gd name="connsiteY26" fmla="*/ 168163 h 214263"/>
                <a:gd name="connsiteX27" fmla="*/ 59084 w 407206"/>
                <a:gd name="connsiteY27" fmla="*/ 152255 h 214263"/>
                <a:gd name="connsiteX28" fmla="*/ 86354 w 407206"/>
                <a:gd name="connsiteY28" fmla="*/ 156800 h 214263"/>
                <a:gd name="connsiteX29" fmla="*/ 127705 w 407206"/>
                <a:gd name="connsiteY29" fmla="*/ 129233 h 214263"/>
                <a:gd name="connsiteX30" fmla="*/ 100423 w 407206"/>
                <a:gd name="connsiteY30" fmla="*/ 112002 h 214263"/>
                <a:gd name="connsiteX31" fmla="*/ 73153 w 407206"/>
                <a:gd name="connsiteY31" fmla="*/ 123364 h 214263"/>
                <a:gd name="connsiteX32" fmla="*/ 48156 w 407206"/>
                <a:gd name="connsiteY32" fmla="*/ 107457 h 214263"/>
                <a:gd name="connsiteX33" fmla="*/ 52972 w 407206"/>
                <a:gd name="connsiteY33" fmla="*/ 102297 h 214263"/>
                <a:gd name="connsiteX34" fmla="*/ 38632 w 407206"/>
                <a:gd name="connsiteY34" fmla="*/ 93171 h 214263"/>
                <a:gd name="connsiteX35" fmla="*/ 66525 w 407206"/>
                <a:gd name="connsiteY35" fmla="*/ 63286 h 214263"/>
                <a:gd name="connsiteX36" fmla="*/ 68624 w 407206"/>
                <a:gd name="connsiteY36" fmla="*/ 58563 h 214263"/>
                <a:gd name="connsiteX37" fmla="*/ 54539 w 407206"/>
                <a:gd name="connsiteY37" fmla="*/ 54539 h 214263"/>
                <a:gd name="connsiteX38" fmla="*/ 63629 w 407206"/>
                <a:gd name="connsiteY38" fmla="*/ 34087 h 214263"/>
                <a:gd name="connsiteX39" fmla="*/ 86354 w 407206"/>
                <a:gd name="connsiteY39" fmla="*/ 27270 h 214263"/>
                <a:gd name="connsiteX40" fmla="*/ 149983 w 407206"/>
                <a:gd name="connsiteY40" fmla="*/ 43177 h 214263"/>
                <a:gd name="connsiteX41" fmla="*/ 156800 w 407206"/>
                <a:gd name="connsiteY41" fmla="*/ 11362 h 214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07206" h="214263">
                  <a:moveTo>
                    <a:pt x="177253" y="0"/>
                  </a:moveTo>
                  <a:lnTo>
                    <a:pt x="224974" y="22725"/>
                  </a:lnTo>
                  <a:lnTo>
                    <a:pt x="240882" y="15907"/>
                  </a:lnTo>
                  <a:lnTo>
                    <a:pt x="299966" y="22725"/>
                  </a:lnTo>
                  <a:lnTo>
                    <a:pt x="359050" y="27270"/>
                  </a:lnTo>
                  <a:lnTo>
                    <a:pt x="377230" y="43177"/>
                  </a:lnTo>
                  <a:lnTo>
                    <a:pt x="397682" y="49994"/>
                  </a:lnTo>
                  <a:lnTo>
                    <a:pt x="393137" y="59084"/>
                  </a:lnTo>
                  <a:lnTo>
                    <a:pt x="392500" y="59378"/>
                  </a:lnTo>
                  <a:lnTo>
                    <a:pt x="407206" y="64280"/>
                  </a:lnTo>
                  <a:lnTo>
                    <a:pt x="402661" y="73370"/>
                  </a:lnTo>
                  <a:lnTo>
                    <a:pt x="343577" y="100640"/>
                  </a:lnTo>
                  <a:lnTo>
                    <a:pt x="332215" y="123364"/>
                  </a:lnTo>
                  <a:lnTo>
                    <a:pt x="284493" y="127909"/>
                  </a:lnTo>
                  <a:lnTo>
                    <a:pt x="273130" y="155179"/>
                  </a:lnTo>
                  <a:lnTo>
                    <a:pt x="229953" y="150634"/>
                  </a:lnTo>
                  <a:lnTo>
                    <a:pt x="207229" y="159724"/>
                  </a:lnTo>
                  <a:lnTo>
                    <a:pt x="170869" y="182449"/>
                  </a:lnTo>
                  <a:lnTo>
                    <a:pt x="175414" y="191538"/>
                  </a:lnTo>
                  <a:lnTo>
                    <a:pt x="166324" y="202901"/>
                  </a:lnTo>
                  <a:lnTo>
                    <a:pt x="95878" y="214263"/>
                  </a:lnTo>
                  <a:lnTo>
                    <a:pt x="48156" y="198356"/>
                  </a:lnTo>
                  <a:lnTo>
                    <a:pt x="9524" y="198356"/>
                  </a:lnTo>
                  <a:lnTo>
                    <a:pt x="11905" y="184070"/>
                  </a:lnTo>
                  <a:lnTo>
                    <a:pt x="0" y="184070"/>
                  </a:lnTo>
                  <a:lnTo>
                    <a:pt x="4545" y="156800"/>
                  </a:lnTo>
                  <a:lnTo>
                    <a:pt x="43177" y="168163"/>
                  </a:lnTo>
                  <a:lnTo>
                    <a:pt x="59084" y="152255"/>
                  </a:lnTo>
                  <a:lnTo>
                    <a:pt x="86354" y="156800"/>
                  </a:lnTo>
                  <a:lnTo>
                    <a:pt x="127705" y="129233"/>
                  </a:lnTo>
                  <a:lnTo>
                    <a:pt x="100423" y="112002"/>
                  </a:lnTo>
                  <a:lnTo>
                    <a:pt x="73153" y="123364"/>
                  </a:lnTo>
                  <a:lnTo>
                    <a:pt x="48156" y="107457"/>
                  </a:lnTo>
                  <a:lnTo>
                    <a:pt x="52972" y="102297"/>
                  </a:lnTo>
                  <a:lnTo>
                    <a:pt x="38632" y="93171"/>
                  </a:lnTo>
                  <a:lnTo>
                    <a:pt x="66525" y="63286"/>
                  </a:lnTo>
                  <a:lnTo>
                    <a:pt x="68624" y="58563"/>
                  </a:lnTo>
                  <a:lnTo>
                    <a:pt x="54539" y="54539"/>
                  </a:lnTo>
                  <a:lnTo>
                    <a:pt x="63629" y="34087"/>
                  </a:lnTo>
                  <a:lnTo>
                    <a:pt x="86354" y="27270"/>
                  </a:lnTo>
                  <a:lnTo>
                    <a:pt x="149983" y="43177"/>
                  </a:lnTo>
                  <a:lnTo>
                    <a:pt x="156800" y="1136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36" name="Freeform 23">
              <a:extLst>
                <a:ext uri="{FF2B5EF4-FFF2-40B4-BE49-F238E27FC236}">
                  <a16:creationId xmlns:a16="http://schemas.microsoft.com/office/drawing/2014/main" id="{1481C110-8D40-74FE-DBCC-2863D5AC489A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8796" y="2275865"/>
              <a:ext cx="302803" cy="198999"/>
            </a:xfrm>
            <a:custGeom>
              <a:avLst/>
              <a:gdLst>
                <a:gd name="connsiteX0" fmla="*/ 102695 w 638997"/>
                <a:gd name="connsiteY0" fmla="*/ 0 h 413806"/>
                <a:gd name="connsiteX1" fmla="*/ 107240 w 638997"/>
                <a:gd name="connsiteY1" fmla="*/ 4545 h 413806"/>
                <a:gd name="connsiteX2" fmla="*/ 166324 w 638997"/>
                <a:gd name="connsiteY2" fmla="*/ 36360 h 413806"/>
                <a:gd name="connsiteX3" fmla="*/ 198139 w 638997"/>
                <a:gd name="connsiteY3" fmla="*/ 59084 h 413806"/>
                <a:gd name="connsiteX4" fmla="*/ 229953 w 638997"/>
                <a:gd name="connsiteY4" fmla="*/ 106806 h 413806"/>
                <a:gd name="connsiteX5" fmla="*/ 273130 w 638997"/>
                <a:gd name="connsiteY5" fmla="*/ 95444 h 413806"/>
                <a:gd name="connsiteX6" fmla="*/ 339032 w 638997"/>
                <a:gd name="connsiteY6" fmla="*/ 90899 h 413806"/>
                <a:gd name="connsiteX7" fmla="*/ 382209 w 638997"/>
                <a:gd name="connsiteY7" fmla="*/ 127258 h 413806"/>
                <a:gd name="connsiteX8" fmla="*/ 382209 w 638997"/>
                <a:gd name="connsiteY8" fmla="*/ 177253 h 413806"/>
                <a:gd name="connsiteX9" fmla="*/ 398116 w 638997"/>
                <a:gd name="connsiteY9" fmla="*/ 177253 h 413806"/>
                <a:gd name="connsiteX10" fmla="*/ 402661 w 638997"/>
                <a:gd name="connsiteY10" fmla="*/ 220429 h 413806"/>
                <a:gd name="connsiteX11" fmla="*/ 450383 w 638997"/>
                <a:gd name="connsiteY11" fmla="*/ 220429 h 413806"/>
                <a:gd name="connsiteX12" fmla="*/ 461745 w 638997"/>
                <a:gd name="connsiteY12" fmla="*/ 247699 h 413806"/>
                <a:gd name="connsiteX13" fmla="*/ 466104 w 638997"/>
                <a:gd name="connsiteY13" fmla="*/ 247699 h 413806"/>
                <a:gd name="connsiteX14" fmla="*/ 484035 w 638997"/>
                <a:gd name="connsiteY14" fmla="*/ 213829 h 413806"/>
                <a:gd name="connsiteX15" fmla="*/ 527212 w 638997"/>
                <a:gd name="connsiteY15" fmla="*/ 182015 h 413806"/>
                <a:gd name="connsiteX16" fmla="*/ 536736 w 638997"/>
                <a:gd name="connsiteY16" fmla="*/ 177253 h 413806"/>
                <a:gd name="connsiteX17" fmla="*/ 536736 w 638997"/>
                <a:gd name="connsiteY17" fmla="*/ 177253 h 413806"/>
                <a:gd name="connsiteX18" fmla="*/ 544525 w 638997"/>
                <a:gd name="connsiteY18" fmla="*/ 173358 h 413806"/>
                <a:gd name="connsiteX19" fmla="*/ 549937 w 638997"/>
                <a:gd name="connsiteY19" fmla="*/ 170652 h 413806"/>
                <a:gd name="connsiteX20" fmla="*/ 549937 w 638997"/>
                <a:gd name="connsiteY20" fmla="*/ 170652 h 413806"/>
                <a:gd name="connsiteX21" fmla="*/ 559461 w 638997"/>
                <a:gd name="connsiteY21" fmla="*/ 165890 h 413806"/>
                <a:gd name="connsiteX22" fmla="*/ 568551 w 638997"/>
                <a:gd name="connsiteY22" fmla="*/ 170435 h 413806"/>
                <a:gd name="connsiteX23" fmla="*/ 543553 w 638997"/>
                <a:gd name="connsiteY23" fmla="*/ 204522 h 413806"/>
                <a:gd name="connsiteX24" fmla="*/ 564006 w 638997"/>
                <a:gd name="connsiteY24" fmla="*/ 220429 h 413806"/>
                <a:gd name="connsiteX25" fmla="*/ 595820 w 638997"/>
                <a:gd name="connsiteY25" fmla="*/ 209067 h 413806"/>
                <a:gd name="connsiteX26" fmla="*/ 638997 w 638997"/>
                <a:gd name="connsiteY26" fmla="*/ 236337 h 413806"/>
                <a:gd name="connsiteX27" fmla="*/ 591275 w 638997"/>
                <a:gd name="connsiteY27" fmla="*/ 268151 h 413806"/>
                <a:gd name="connsiteX28" fmla="*/ 589370 w 638997"/>
                <a:gd name="connsiteY28" fmla="*/ 267834 h 413806"/>
                <a:gd name="connsiteX29" fmla="*/ 581751 w 638997"/>
                <a:gd name="connsiteY29" fmla="*/ 272913 h 413806"/>
                <a:gd name="connsiteX30" fmla="*/ 554482 w 638997"/>
                <a:gd name="connsiteY30" fmla="*/ 268368 h 413806"/>
                <a:gd name="connsiteX31" fmla="*/ 538574 w 638997"/>
                <a:gd name="connsiteY31" fmla="*/ 272913 h 413806"/>
                <a:gd name="connsiteX32" fmla="*/ 534029 w 638997"/>
                <a:gd name="connsiteY32" fmla="*/ 257006 h 413806"/>
                <a:gd name="connsiteX33" fmla="*/ 538574 w 638997"/>
                <a:gd name="connsiteY33" fmla="*/ 234281 h 413806"/>
                <a:gd name="connsiteX34" fmla="*/ 499403 w 638997"/>
                <a:gd name="connsiteY34" fmla="*/ 243608 h 413806"/>
                <a:gd name="connsiteX35" fmla="*/ 489014 w 638997"/>
                <a:gd name="connsiteY35" fmla="*/ 272696 h 413806"/>
                <a:gd name="connsiteX36" fmla="*/ 473107 w 638997"/>
                <a:gd name="connsiteY36" fmla="*/ 299966 h 413806"/>
                <a:gd name="connsiteX37" fmla="*/ 466880 w 638997"/>
                <a:gd name="connsiteY37" fmla="*/ 299076 h 413806"/>
                <a:gd name="connsiteX38" fmla="*/ 463583 w 638997"/>
                <a:gd name="connsiteY38" fmla="*/ 304728 h 413806"/>
                <a:gd name="connsiteX39" fmla="*/ 438141 w 638997"/>
                <a:gd name="connsiteY39" fmla="*/ 301093 h 413806"/>
                <a:gd name="connsiteX40" fmla="*/ 429930 w 638997"/>
                <a:gd name="connsiteY40" fmla="*/ 315873 h 413806"/>
                <a:gd name="connsiteX41" fmla="*/ 457200 w 638997"/>
                <a:gd name="connsiteY41" fmla="*/ 327235 h 413806"/>
                <a:gd name="connsiteX42" fmla="*/ 466290 w 638997"/>
                <a:gd name="connsiteY42" fmla="*/ 365867 h 413806"/>
                <a:gd name="connsiteX43" fmla="*/ 445838 w 638997"/>
                <a:gd name="connsiteY43" fmla="*/ 409044 h 413806"/>
                <a:gd name="connsiteX44" fmla="*/ 439767 w 638997"/>
                <a:gd name="connsiteY44" fmla="*/ 406515 h 413806"/>
                <a:gd name="connsiteX45" fmla="*/ 436314 w 638997"/>
                <a:gd name="connsiteY45" fmla="*/ 413806 h 413806"/>
                <a:gd name="connsiteX46" fmla="*/ 409044 w 638997"/>
                <a:gd name="connsiteY46" fmla="*/ 402444 h 413806"/>
                <a:gd name="connsiteX47" fmla="*/ 388592 w 638997"/>
                <a:gd name="connsiteY47" fmla="*/ 402444 h 413806"/>
                <a:gd name="connsiteX48" fmla="*/ 388592 w 638997"/>
                <a:gd name="connsiteY48" fmla="*/ 375174 h 413806"/>
                <a:gd name="connsiteX49" fmla="*/ 338598 w 638997"/>
                <a:gd name="connsiteY49" fmla="*/ 359267 h 413806"/>
                <a:gd name="connsiteX50" fmla="*/ 302238 w 638997"/>
                <a:gd name="connsiteY50" fmla="*/ 331997 h 413806"/>
                <a:gd name="connsiteX51" fmla="*/ 274969 w 638997"/>
                <a:gd name="connsiteY51" fmla="*/ 311545 h 413806"/>
                <a:gd name="connsiteX52" fmla="*/ 236337 w 638997"/>
                <a:gd name="connsiteY52" fmla="*/ 277458 h 413806"/>
                <a:gd name="connsiteX53" fmla="*/ 215884 w 638997"/>
                <a:gd name="connsiteY53" fmla="*/ 229736 h 413806"/>
                <a:gd name="connsiteX54" fmla="*/ 204522 w 638997"/>
                <a:gd name="connsiteY54" fmla="*/ 218374 h 413806"/>
                <a:gd name="connsiteX55" fmla="*/ 161345 w 638997"/>
                <a:gd name="connsiteY55" fmla="*/ 225191 h 413806"/>
                <a:gd name="connsiteX56" fmla="*/ 152255 w 638997"/>
                <a:gd name="connsiteY56" fmla="*/ 213829 h 413806"/>
                <a:gd name="connsiteX57" fmla="*/ 145438 w 638997"/>
                <a:gd name="connsiteY57" fmla="*/ 175197 h 413806"/>
                <a:gd name="connsiteX58" fmla="*/ 99794 w 638997"/>
                <a:gd name="connsiteY58" fmla="*/ 151288 h 413806"/>
                <a:gd name="connsiteX59" fmla="*/ 75426 w 638997"/>
                <a:gd name="connsiteY59" fmla="*/ 170435 h 413806"/>
                <a:gd name="connsiteX60" fmla="*/ 59298 w 638997"/>
                <a:gd name="connsiteY60" fmla="*/ 178499 h 413806"/>
                <a:gd name="connsiteX61" fmla="*/ 43611 w 638997"/>
                <a:gd name="connsiteY61" fmla="*/ 186342 h 413806"/>
                <a:gd name="connsiteX62" fmla="*/ 52701 w 638997"/>
                <a:gd name="connsiteY62" fmla="*/ 213612 h 413806"/>
                <a:gd name="connsiteX63" fmla="*/ 41590 w 638997"/>
                <a:gd name="connsiteY63" fmla="*/ 213612 h 413806"/>
                <a:gd name="connsiteX64" fmla="*/ 43177 w 638997"/>
                <a:gd name="connsiteY64" fmla="*/ 218374 h 413806"/>
                <a:gd name="connsiteX65" fmla="*/ 0 w 638997"/>
                <a:gd name="connsiteY65" fmla="*/ 218374 h 413806"/>
                <a:gd name="connsiteX66" fmla="*/ 0 w 638997"/>
                <a:gd name="connsiteY66" fmla="*/ 29759 h 413806"/>
                <a:gd name="connsiteX67" fmla="*/ 9524 w 638997"/>
                <a:gd name="connsiteY67" fmla="*/ 27204 h 413806"/>
                <a:gd name="connsiteX68" fmla="*/ 9524 w 638997"/>
                <a:gd name="connsiteY68" fmla="*/ 24997 h 413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638997" h="413806">
                  <a:moveTo>
                    <a:pt x="102695" y="0"/>
                  </a:moveTo>
                  <a:lnTo>
                    <a:pt x="107240" y="4545"/>
                  </a:lnTo>
                  <a:lnTo>
                    <a:pt x="166324" y="36360"/>
                  </a:lnTo>
                  <a:lnTo>
                    <a:pt x="198139" y="59084"/>
                  </a:lnTo>
                  <a:lnTo>
                    <a:pt x="229953" y="106806"/>
                  </a:lnTo>
                  <a:lnTo>
                    <a:pt x="273130" y="95444"/>
                  </a:lnTo>
                  <a:lnTo>
                    <a:pt x="339032" y="90899"/>
                  </a:lnTo>
                  <a:lnTo>
                    <a:pt x="382209" y="127258"/>
                  </a:lnTo>
                  <a:lnTo>
                    <a:pt x="382209" y="177253"/>
                  </a:lnTo>
                  <a:lnTo>
                    <a:pt x="398116" y="177253"/>
                  </a:lnTo>
                  <a:lnTo>
                    <a:pt x="402661" y="220429"/>
                  </a:lnTo>
                  <a:lnTo>
                    <a:pt x="450383" y="220429"/>
                  </a:lnTo>
                  <a:lnTo>
                    <a:pt x="461745" y="247699"/>
                  </a:lnTo>
                  <a:lnTo>
                    <a:pt x="466104" y="247699"/>
                  </a:lnTo>
                  <a:lnTo>
                    <a:pt x="484035" y="213829"/>
                  </a:lnTo>
                  <a:lnTo>
                    <a:pt x="527212" y="182015"/>
                  </a:lnTo>
                  <a:lnTo>
                    <a:pt x="536736" y="177253"/>
                  </a:lnTo>
                  <a:lnTo>
                    <a:pt x="536736" y="177253"/>
                  </a:lnTo>
                  <a:lnTo>
                    <a:pt x="544525" y="173358"/>
                  </a:lnTo>
                  <a:lnTo>
                    <a:pt x="549937" y="170652"/>
                  </a:lnTo>
                  <a:lnTo>
                    <a:pt x="549937" y="170652"/>
                  </a:lnTo>
                  <a:lnTo>
                    <a:pt x="559461" y="165890"/>
                  </a:lnTo>
                  <a:lnTo>
                    <a:pt x="568551" y="170435"/>
                  </a:lnTo>
                  <a:lnTo>
                    <a:pt x="543553" y="204522"/>
                  </a:lnTo>
                  <a:lnTo>
                    <a:pt x="564006" y="220429"/>
                  </a:lnTo>
                  <a:lnTo>
                    <a:pt x="595820" y="209067"/>
                  </a:lnTo>
                  <a:lnTo>
                    <a:pt x="638997" y="236337"/>
                  </a:lnTo>
                  <a:lnTo>
                    <a:pt x="591275" y="268151"/>
                  </a:lnTo>
                  <a:lnTo>
                    <a:pt x="589370" y="267834"/>
                  </a:lnTo>
                  <a:lnTo>
                    <a:pt x="581751" y="272913"/>
                  </a:lnTo>
                  <a:lnTo>
                    <a:pt x="554482" y="268368"/>
                  </a:lnTo>
                  <a:lnTo>
                    <a:pt x="538574" y="272913"/>
                  </a:lnTo>
                  <a:lnTo>
                    <a:pt x="534029" y="257006"/>
                  </a:lnTo>
                  <a:lnTo>
                    <a:pt x="538574" y="234281"/>
                  </a:lnTo>
                  <a:lnTo>
                    <a:pt x="499403" y="243608"/>
                  </a:lnTo>
                  <a:lnTo>
                    <a:pt x="489014" y="272696"/>
                  </a:lnTo>
                  <a:lnTo>
                    <a:pt x="473107" y="299966"/>
                  </a:lnTo>
                  <a:lnTo>
                    <a:pt x="466880" y="299076"/>
                  </a:lnTo>
                  <a:lnTo>
                    <a:pt x="463583" y="304728"/>
                  </a:lnTo>
                  <a:lnTo>
                    <a:pt x="438141" y="301093"/>
                  </a:lnTo>
                  <a:lnTo>
                    <a:pt x="429930" y="315873"/>
                  </a:lnTo>
                  <a:lnTo>
                    <a:pt x="457200" y="327235"/>
                  </a:lnTo>
                  <a:lnTo>
                    <a:pt x="466290" y="365867"/>
                  </a:lnTo>
                  <a:lnTo>
                    <a:pt x="445838" y="409044"/>
                  </a:lnTo>
                  <a:lnTo>
                    <a:pt x="439767" y="406515"/>
                  </a:lnTo>
                  <a:lnTo>
                    <a:pt x="436314" y="413806"/>
                  </a:lnTo>
                  <a:lnTo>
                    <a:pt x="409044" y="402444"/>
                  </a:lnTo>
                  <a:lnTo>
                    <a:pt x="388592" y="402444"/>
                  </a:lnTo>
                  <a:lnTo>
                    <a:pt x="388592" y="375174"/>
                  </a:lnTo>
                  <a:lnTo>
                    <a:pt x="338598" y="359267"/>
                  </a:lnTo>
                  <a:lnTo>
                    <a:pt x="302238" y="331997"/>
                  </a:lnTo>
                  <a:lnTo>
                    <a:pt x="274969" y="311545"/>
                  </a:lnTo>
                  <a:lnTo>
                    <a:pt x="236337" y="277458"/>
                  </a:lnTo>
                  <a:lnTo>
                    <a:pt x="215884" y="229736"/>
                  </a:lnTo>
                  <a:lnTo>
                    <a:pt x="204522" y="218374"/>
                  </a:lnTo>
                  <a:lnTo>
                    <a:pt x="161345" y="225191"/>
                  </a:lnTo>
                  <a:lnTo>
                    <a:pt x="152255" y="213829"/>
                  </a:lnTo>
                  <a:lnTo>
                    <a:pt x="145438" y="175197"/>
                  </a:lnTo>
                  <a:lnTo>
                    <a:pt x="99794" y="151288"/>
                  </a:lnTo>
                  <a:lnTo>
                    <a:pt x="75426" y="170435"/>
                  </a:lnTo>
                  <a:lnTo>
                    <a:pt x="59298" y="178499"/>
                  </a:lnTo>
                  <a:lnTo>
                    <a:pt x="43611" y="186342"/>
                  </a:lnTo>
                  <a:lnTo>
                    <a:pt x="52701" y="213612"/>
                  </a:lnTo>
                  <a:lnTo>
                    <a:pt x="41590" y="213612"/>
                  </a:lnTo>
                  <a:lnTo>
                    <a:pt x="43177" y="218374"/>
                  </a:lnTo>
                  <a:lnTo>
                    <a:pt x="0" y="218374"/>
                  </a:lnTo>
                  <a:lnTo>
                    <a:pt x="0" y="29759"/>
                  </a:lnTo>
                  <a:lnTo>
                    <a:pt x="9524" y="27204"/>
                  </a:lnTo>
                  <a:lnTo>
                    <a:pt x="9524" y="2499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37" name="Freeform 24">
              <a:extLst>
                <a:ext uri="{FF2B5EF4-FFF2-40B4-BE49-F238E27FC236}">
                  <a16:creationId xmlns:a16="http://schemas.microsoft.com/office/drawing/2014/main" id="{FA87950E-5505-94DF-0915-C74200106990}"/>
                </a:ext>
              </a:extLst>
            </p:cNvPr>
            <p:cNvSpPr>
              <a:spLocks/>
            </p:cNvSpPr>
            <p:nvPr/>
          </p:nvSpPr>
          <p:spPr bwMode="auto">
            <a:xfrm>
              <a:off x="9460653" y="2000422"/>
              <a:ext cx="718520" cy="397996"/>
            </a:xfrm>
            <a:custGeom>
              <a:avLst/>
              <a:gdLst>
                <a:gd name="connsiteX0" fmla="*/ 831722 w 1516276"/>
                <a:gd name="connsiteY0" fmla="*/ 0 h 827611"/>
                <a:gd name="connsiteX1" fmla="*/ 897623 w 1516276"/>
                <a:gd name="connsiteY1" fmla="*/ 15907 h 827611"/>
                <a:gd name="connsiteX2" fmla="*/ 898607 w 1516276"/>
                <a:gd name="connsiteY2" fmla="*/ 22795 h 827611"/>
                <a:gd name="connsiteX3" fmla="*/ 909528 w 1516276"/>
                <a:gd name="connsiteY3" fmla="*/ 25431 h 827611"/>
                <a:gd name="connsiteX4" fmla="*/ 916672 w 1516276"/>
                <a:gd name="connsiteY4" fmla="*/ 75436 h 827611"/>
                <a:gd name="connsiteX5" fmla="*/ 945345 w 1516276"/>
                <a:gd name="connsiteY5" fmla="*/ 63629 h 827611"/>
                <a:gd name="connsiteX6" fmla="*/ 993067 w 1516276"/>
                <a:gd name="connsiteY6" fmla="*/ 90899 h 827611"/>
                <a:gd name="connsiteX7" fmla="*/ 992653 w 1516276"/>
                <a:gd name="connsiteY7" fmla="*/ 93383 h 827611"/>
                <a:gd name="connsiteX8" fmla="*/ 1004972 w 1516276"/>
                <a:gd name="connsiteY8" fmla="*/ 100423 h 827611"/>
                <a:gd name="connsiteX9" fmla="*/ 1002014 w 1516276"/>
                <a:gd name="connsiteY9" fmla="*/ 118168 h 827611"/>
                <a:gd name="connsiteX10" fmla="*/ 1024881 w 1516276"/>
                <a:gd name="connsiteY10" fmla="*/ 118168 h 827611"/>
                <a:gd name="connsiteX11" fmla="*/ 1118052 w 1516276"/>
                <a:gd name="connsiteY11" fmla="*/ 59084 h 827611"/>
                <a:gd name="connsiteX12" fmla="*/ 1099873 w 1516276"/>
                <a:gd name="connsiteY12" fmla="*/ 79536 h 827611"/>
                <a:gd name="connsiteX13" fmla="*/ 1104860 w 1516276"/>
                <a:gd name="connsiteY13" fmla="*/ 84523 h 827611"/>
                <a:gd name="connsiteX14" fmla="*/ 1129957 w 1516276"/>
                <a:gd name="connsiteY14" fmla="*/ 68608 h 827611"/>
                <a:gd name="connsiteX15" fmla="*/ 1111777 w 1516276"/>
                <a:gd name="connsiteY15" fmla="*/ 89060 h 827611"/>
                <a:gd name="connsiteX16" fmla="*/ 1161772 w 1516276"/>
                <a:gd name="connsiteY16" fmla="*/ 139055 h 827611"/>
                <a:gd name="connsiteX17" fmla="*/ 1233337 w 1516276"/>
                <a:gd name="connsiteY17" fmla="*/ 274006 h 827611"/>
                <a:gd name="connsiteX18" fmla="*/ 1252127 w 1516276"/>
                <a:gd name="connsiteY18" fmla="*/ 247699 h 827611"/>
                <a:gd name="connsiteX19" fmla="*/ 1304394 w 1516276"/>
                <a:gd name="connsiteY19" fmla="*/ 279513 h 827611"/>
                <a:gd name="connsiteX20" fmla="*/ 1354388 w 1516276"/>
                <a:gd name="connsiteY20" fmla="*/ 263606 h 827611"/>
                <a:gd name="connsiteX21" fmla="*/ 1374841 w 1516276"/>
                <a:gd name="connsiteY21" fmla="*/ 272696 h 827611"/>
                <a:gd name="connsiteX22" fmla="*/ 1376974 w 1516276"/>
                <a:gd name="connsiteY22" fmla="*/ 277877 h 827611"/>
                <a:gd name="connsiteX23" fmla="*/ 1386746 w 1516276"/>
                <a:gd name="connsiteY23" fmla="*/ 282220 h 827611"/>
                <a:gd name="connsiteX24" fmla="*/ 1400385 w 1516276"/>
                <a:gd name="connsiteY24" fmla="*/ 315343 h 827611"/>
                <a:gd name="connsiteX25" fmla="*/ 1418017 w 1516276"/>
                <a:gd name="connsiteY25" fmla="*/ 322690 h 827611"/>
                <a:gd name="connsiteX26" fmla="*/ 1423269 w 1516276"/>
                <a:gd name="connsiteY26" fmla="*/ 329442 h 827611"/>
                <a:gd name="connsiteX27" fmla="*/ 1429922 w 1516276"/>
                <a:gd name="connsiteY27" fmla="*/ 332214 h 827611"/>
                <a:gd name="connsiteX28" fmla="*/ 1438112 w 1516276"/>
                <a:gd name="connsiteY28" fmla="*/ 342743 h 827611"/>
                <a:gd name="connsiteX29" fmla="*/ 1481646 w 1516276"/>
                <a:gd name="connsiteY29" fmla="*/ 338597 h 827611"/>
                <a:gd name="connsiteX30" fmla="*/ 1488774 w 1516276"/>
                <a:gd name="connsiteY30" fmla="*/ 348576 h 827611"/>
                <a:gd name="connsiteX31" fmla="*/ 1493551 w 1516276"/>
                <a:gd name="connsiteY31" fmla="*/ 348121 h 827611"/>
                <a:gd name="connsiteX32" fmla="*/ 1516276 w 1516276"/>
                <a:gd name="connsiteY32" fmla="*/ 379936 h 827611"/>
                <a:gd name="connsiteX33" fmla="*/ 1484461 w 1516276"/>
                <a:gd name="connsiteY33" fmla="*/ 418568 h 827611"/>
                <a:gd name="connsiteX34" fmla="*/ 1457192 w 1516276"/>
                <a:gd name="connsiteY34" fmla="*/ 423113 h 827611"/>
                <a:gd name="connsiteX35" fmla="*/ 1450375 w 1516276"/>
                <a:gd name="connsiteY35" fmla="*/ 477652 h 827611"/>
                <a:gd name="connsiteX36" fmla="*/ 1429922 w 1516276"/>
                <a:gd name="connsiteY36" fmla="*/ 502649 h 827611"/>
                <a:gd name="connsiteX37" fmla="*/ 1359476 w 1516276"/>
                <a:gd name="connsiteY37" fmla="*/ 482197 h 827611"/>
                <a:gd name="connsiteX38" fmla="*/ 1332206 w 1516276"/>
                <a:gd name="connsiteY38" fmla="*/ 579913 h 827611"/>
                <a:gd name="connsiteX39" fmla="*/ 1316299 w 1516276"/>
                <a:gd name="connsiteY39" fmla="*/ 589002 h 827611"/>
                <a:gd name="connsiteX40" fmla="*/ 1241308 w 1516276"/>
                <a:gd name="connsiteY40" fmla="*/ 611727 h 827611"/>
                <a:gd name="connsiteX41" fmla="*/ 1273122 w 1516276"/>
                <a:gd name="connsiteY41" fmla="*/ 698081 h 827611"/>
                <a:gd name="connsiteX42" fmla="*/ 1248125 w 1516276"/>
                <a:gd name="connsiteY42" fmla="*/ 713988 h 827611"/>
                <a:gd name="connsiteX43" fmla="*/ 1252670 w 1516276"/>
                <a:gd name="connsiteY43" fmla="*/ 741258 h 827611"/>
                <a:gd name="connsiteX44" fmla="*/ 1232218 w 1516276"/>
                <a:gd name="connsiteY44" fmla="*/ 734440 h 827611"/>
                <a:gd name="connsiteX45" fmla="*/ 1221961 w 1516276"/>
                <a:gd name="connsiteY45" fmla="*/ 725466 h 827611"/>
                <a:gd name="connsiteX46" fmla="*/ 1220313 w 1516276"/>
                <a:gd name="connsiteY46" fmla="*/ 724916 h 827611"/>
                <a:gd name="connsiteX47" fmla="*/ 1212919 w 1516276"/>
                <a:gd name="connsiteY47" fmla="*/ 718447 h 827611"/>
                <a:gd name="connsiteX48" fmla="*/ 1154954 w 1516276"/>
                <a:gd name="connsiteY48" fmla="*/ 713988 h 827611"/>
                <a:gd name="connsiteX49" fmla="*/ 1095870 w 1516276"/>
                <a:gd name="connsiteY49" fmla="*/ 707171 h 827611"/>
                <a:gd name="connsiteX50" fmla="*/ 1079963 w 1516276"/>
                <a:gd name="connsiteY50" fmla="*/ 713988 h 827611"/>
                <a:gd name="connsiteX51" fmla="*/ 1032241 w 1516276"/>
                <a:gd name="connsiteY51" fmla="*/ 691263 h 827611"/>
                <a:gd name="connsiteX52" fmla="*/ 1011789 w 1516276"/>
                <a:gd name="connsiteY52" fmla="*/ 702626 h 827611"/>
                <a:gd name="connsiteX53" fmla="*/ 1004972 w 1516276"/>
                <a:gd name="connsiteY53" fmla="*/ 734440 h 827611"/>
                <a:gd name="connsiteX54" fmla="*/ 941343 w 1516276"/>
                <a:gd name="connsiteY54" fmla="*/ 718533 h 827611"/>
                <a:gd name="connsiteX55" fmla="*/ 918618 w 1516276"/>
                <a:gd name="connsiteY55" fmla="*/ 725350 h 827611"/>
                <a:gd name="connsiteX56" fmla="*/ 909528 w 1516276"/>
                <a:gd name="connsiteY56" fmla="*/ 745802 h 827611"/>
                <a:gd name="connsiteX57" fmla="*/ 886804 w 1516276"/>
                <a:gd name="connsiteY57" fmla="*/ 757165 h 827611"/>
                <a:gd name="connsiteX58" fmla="*/ 843627 w 1516276"/>
                <a:gd name="connsiteY58" fmla="*/ 788979 h 827611"/>
                <a:gd name="connsiteX59" fmla="*/ 823175 w 1516276"/>
                <a:gd name="connsiteY59" fmla="*/ 827611 h 827611"/>
                <a:gd name="connsiteX60" fmla="*/ 811812 w 1516276"/>
                <a:gd name="connsiteY60" fmla="*/ 827611 h 827611"/>
                <a:gd name="connsiteX61" fmla="*/ 807844 w 1516276"/>
                <a:gd name="connsiteY61" fmla="*/ 818087 h 827611"/>
                <a:gd name="connsiteX62" fmla="*/ 799907 w 1516276"/>
                <a:gd name="connsiteY62" fmla="*/ 818087 h 827611"/>
                <a:gd name="connsiteX63" fmla="*/ 792513 w 1516276"/>
                <a:gd name="connsiteY63" fmla="*/ 800342 h 827611"/>
                <a:gd name="connsiteX64" fmla="*/ 752728 w 1516276"/>
                <a:gd name="connsiteY64" fmla="*/ 800342 h 827611"/>
                <a:gd name="connsiteX65" fmla="*/ 751726 w 1516276"/>
                <a:gd name="connsiteY65" fmla="*/ 790818 h 827611"/>
                <a:gd name="connsiteX66" fmla="*/ 740823 w 1516276"/>
                <a:gd name="connsiteY66" fmla="*/ 790818 h 827611"/>
                <a:gd name="connsiteX67" fmla="*/ 737281 w 1516276"/>
                <a:gd name="connsiteY67" fmla="*/ 757165 h 827611"/>
                <a:gd name="connsiteX68" fmla="*/ 732276 w 1516276"/>
                <a:gd name="connsiteY68" fmla="*/ 757165 h 827611"/>
                <a:gd name="connsiteX69" fmla="*/ 732276 w 1516276"/>
                <a:gd name="connsiteY69" fmla="*/ 747641 h 827611"/>
                <a:gd name="connsiteX70" fmla="*/ 720371 w 1516276"/>
                <a:gd name="connsiteY70" fmla="*/ 747641 h 827611"/>
                <a:gd name="connsiteX71" fmla="*/ 720371 w 1516276"/>
                <a:gd name="connsiteY71" fmla="*/ 697647 h 827611"/>
                <a:gd name="connsiteX72" fmla="*/ 688549 w 1516276"/>
                <a:gd name="connsiteY72" fmla="*/ 670849 h 827611"/>
                <a:gd name="connsiteX73" fmla="*/ 623198 w 1516276"/>
                <a:gd name="connsiteY73" fmla="*/ 675356 h 827611"/>
                <a:gd name="connsiteX74" fmla="*/ 580021 w 1516276"/>
                <a:gd name="connsiteY74" fmla="*/ 686718 h 827611"/>
                <a:gd name="connsiteX75" fmla="*/ 572843 w 1516276"/>
                <a:gd name="connsiteY75" fmla="*/ 675951 h 827611"/>
                <a:gd name="connsiteX76" fmla="*/ 568116 w 1516276"/>
                <a:gd name="connsiteY76" fmla="*/ 677194 h 827611"/>
                <a:gd name="connsiteX77" fmla="*/ 537601 w 1516276"/>
                <a:gd name="connsiteY77" fmla="*/ 631421 h 827611"/>
                <a:gd name="connsiteX78" fmla="*/ 516392 w 1516276"/>
                <a:gd name="connsiteY78" fmla="*/ 616272 h 827611"/>
                <a:gd name="connsiteX79" fmla="*/ 457308 w 1516276"/>
                <a:gd name="connsiteY79" fmla="*/ 584458 h 827611"/>
                <a:gd name="connsiteX80" fmla="*/ 452763 w 1516276"/>
                <a:gd name="connsiteY80" fmla="*/ 579913 h 827611"/>
                <a:gd name="connsiteX81" fmla="*/ 359592 w 1516276"/>
                <a:gd name="connsiteY81" fmla="*/ 604910 h 827611"/>
                <a:gd name="connsiteX82" fmla="*/ 359592 w 1516276"/>
                <a:gd name="connsiteY82" fmla="*/ 793524 h 827611"/>
                <a:gd name="connsiteX83" fmla="*/ 339140 w 1516276"/>
                <a:gd name="connsiteY83" fmla="*/ 793524 h 827611"/>
                <a:gd name="connsiteX84" fmla="*/ 333188 w 1516276"/>
                <a:gd name="connsiteY84" fmla="*/ 784000 h 827611"/>
                <a:gd name="connsiteX85" fmla="*/ 327235 w 1516276"/>
                <a:gd name="connsiteY85" fmla="*/ 784000 h 827611"/>
                <a:gd name="connsiteX86" fmla="*/ 308101 w 1516276"/>
                <a:gd name="connsiteY86" fmla="*/ 753385 h 827611"/>
                <a:gd name="connsiteX87" fmla="*/ 291418 w 1516276"/>
                <a:gd name="connsiteY87" fmla="*/ 745802 h 827611"/>
                <a:gd name="connsiteX88" fmla="*/ 248241 w 1516276"/>
                <a:gd name="connsiteY88" fmla="*/ 750347 h 827611"/>
                <a:gd name="connsiteX89" fmla="*/ 232334 w 1516276"/>
                <a:gd name="connsiteY89" fmla="*/ 766255 h 827611"/>
                <a:gd name="connsiteX90" fmla="*/ 232334 w 1516276"/>
                <a:gd name="connsiteY90" fmla="*/ 757165 h 827611"/>
                <a:gd name="connsiteX91" fmla="*/ 235419 w 1516276"/>
                <a:gd name="connsiteY91" fmla="*/ 741740 h 827611"/>
                <a:gd name="connsiteX92" fmla="*/ 220429 w 1516276"/>
                <a:gd name="connsiteY92" fmla="*/ 756731 h 827611"/>
                <a:gd name="connsiteX93" fmla="*/ 220429 w 1516276"/>
                <a:gd name="connsiteY93" fmla="*/ 747641 h 827611"/>
                <a:gd name="connsiteX94" fmla="*/ 224974 w 1516276"/>
                <a:gd name="connsiteY94" fmla="*/ 724916 h 827611"/>
                <a:gd name="connsiteX95" fmla="*/ 222070 w 1516276"/>
                <a:gd name="connsiteY95" fmla="*/ 714751 h 827611"/>
                <a:gd name="connsiteX96" fmla="*/ 189157 w 1516276"/>
                <a:gd name="connsiteY96" fmla="*/ 702626 h 827611"/>
                <a:gd name="connsiteX97" fmla="*/ 187205 w 1516276"/>
                <a:gd name="connsiteY97" fmla="*/ 696768 h 827611"/>
                <a:gd name="connsiteX98" fmla="*/ 177252 w 1516276"/>
                <a:gd name="connsiteY98" fmla="*/ 693102 h 827611"/>
                <a:gd name="connsiteX99" fmla="*/ 162774 w 1516276"/>
                <a:gd name="connsiteY99" fmla="*/ 649666 h 827611"/>
                <a:gd name="connsiteX100" fmla="*/ 150526 w 1516276"/>
                <a:gd name="connsiteY100" fmla="*/ 643542 h 827611"/>
                <a:gd name="connsiteX101" fmla="*/ 150526 w 1516276"/>
                <a:gd name="connsiteY101" fmla="*/ 639970 h 827611"/>
                <a:gd name="connsiteX102" fmla="*/ 138621 w 1516276"/>
                <a:gd name="connsiteY102" fmla="*/ 634018 h 827611"/>
                <a:gd name="connsiteX103" fmla="*/ 138621 w 1516276"/>
                <a:gd name="connsiteY103" fmla="*/ 618110 h 827611"/>
                <a:gd name="connsiteX104" fmla="*/ 177252 w 1516276"/>
                <a:gd name="connsiteY104" fmla="*/ 622655 h 827611"/>
                <a:gd name="connsiteX105" fmla="*/ 177252 w 1516276"/>
                <a:gd name="connsiteY105" fmla="*/ 586296 h 827611"/>
                <a:gd name="connsiteX106" fmla="*/ 209067 w 1516276"/>
                <a:gd name="connsiteY106" fmla="*/ 579478 h 827611"/>
                <a:gd name="connsiteX107" fmla="*/ 240881 w 1516276"/>
                <a:gd name="connsiteY107" fmla="*/ 586296 h 827611"/>
                <a:gd name="connsiteX108" fmla="*/ 245426 w 1516276"/>
                <a:gd name="connsiteY108" fmla="*/ 531757 h 827611"/>
                <a:gd name="connsiteX109" fmla="*/ 242242 w 1516276"/>
                <a:gd name="connsiteY109" fmla="*/ 509466 h 827611"/>
                <a:gd name="connsiteX110" fmla="*/ 214155 w 1516276"/>
                <a:gd name="connsiteY110" fmla="*/ 509466 h 827611"/>
                <a:gd name="connsiteX111" fmla="*/ 182340 w 1516276"/>
                <a:gd name="connsiteY111" fmla="*/ 498104 h 827611"/>
                <a:gd name="connsiteX112" fmla="*/ 139163 w 1516276"/>
                <a:gd name="connsiteY112" fmla="*/ 525373 h 827611"/>
                <a:gd name="connsiteX113" fmla="*/ 107349 w 1516276"/>
                <a:gd name="connsiteY113" fmla="*/ 536736 h 827611"/>
                <a:gd name="connsiteX114" fmla="*/ 86897 w 1516276"/>
                <a:gd name="connsiteY114" fmla="*/ 525373 h 827611"/>
                <a:gd name="connsiteX115" fmla="*/ 87341 w 1516276"/>
                <a:gd name="connsiteY115" fmla="*/ 522710 h 827611"/>
                <a:gd name="connsiteX116" fmla="*/ 74992 w 1516276"/>
                <a:gd name="connsiteY116" fmla="*/ 515849 h 827611"/>
                <a:gd name="connsiteX117" fmla="*/ 79536 w 1516276"/>
                <a:gd name="connsiteY117" fmla="*/ 488580 h 827611"/>
                <a:gd name="connsiteX118" fmla="*/ 64441 w 1516276"/>
                <a:gd name="connsiteY118" fmla="*/ 461744 h 827611"/>
                <a:gd name="connsiteX119" fmla="*/ 36902 w 1516276"/>
                <a:gd name="connsiteY119" fmla="*/ 461744 h 827611"/>
                <a:gd name="connsiteX120" fmla="*/ 29918 w 1516276"/>
                <a:gd name="connsiteY120" fmla="*/ 452220 h 827611"/>
                <a:gd name="connsiteX121" fmla="*/ 24997 w 1516276"/>
                <a:gd name="connsiteY121" fmla="*/ 452220 h 827611"/>
                <a:gd name="connsiteX122" fmla="*/ 0 w 1516276"/>
                <a:gd name="connsiteY122" fmla="*/ 418133 h 827611"/>
                <a:gd name="connsiteX123" fmla="*/ 20452 w 1516276"/>
                <a:gd name="connsiteY123" fmla="*/ 374957 h 827611"/>
                <a:gd name="connsiteX124" fmla="*/ 9090 w 1516276"/>
                <a:gd name="connsiteY124" fmla="*/ 365867 h 827611"/>
                <a:gd name="connsiteX125" fmla="*/ 36360 w 1516276"/>
                <a:gd name="connsiteY125" fmla="*/ 299965 h 827611"/>
                <a:gd name="connsiteX126" fmla="*/ 48178 w 1516276"/>
                <a:gd name="connsiteY126" fmla="*/ 309698 h 827611"/>
                <a:gd name="connsiteX127" fmla="*/ 48265 w 1516276"/>
                <a:gd name="connsiteY127" fmla="*/ 309489 h 827611"/>
                <a:gd name="connsiteX128" fmla="*/ 75024 w 1516276"/>
                <a:gd name="connsiteY128" fmla="*/ 331526 h 827611"/>
                <a:gd name="connsiteX129" fmla="*/ 79536 w 1516276"/>
                <a:gd name="connsiteY129" fmla="*/ 295420 h 827611"/>
                <a:gd name="connsiteX130" fmla="*/ 154528 w 1516276"/>
                <a:gd name="connsiteY130" fmla="*/ 231791 h 827611"/>
                <a:gd name="connsiteX131" fmla="*/ 213612 w 1516276"/>
                <a:gd name="connsiteY131" fmla="*/ 224974 h 827611"/>
                <a:gd name="connsiteX132" fmla="*/ 295421 w 1516276"/>
                <a:gd name="connsiteY132" fmla="*/ 268151 h 827611"/>
                <a:gd name="connsiteX133" fmla="*/ 338597 w 1516276"/>
                <a:gd name="connsiteY133" fmla="*/ 295420 h 827611"/>
                <a:gd name="connsiteX134" fmla="*/ 374957 w 1516276"/>
                <a:gd name="connsiteY134" fmla="*/ 268151 h 827611"/>
                <a:gd name="connsiteX135" fmla="*/ 434041 w 1516276"/>
                <a:gd name="connsiteY135" fmla="*/ 263606 h 827611"/>
                <a:gd name="connsiteX136" fmla="*/ 481763 w 1516276"/>
                <a:gd name="connsiteY136" fmla="*/ 295420 h 827611"/>
                <a:gd name="connsiteX137" fmla="*/ 493125 w 1516276"/>
                <a:gd name="connsiteY137" fmla="*/ 279513 h 827611"/>
                <a:gd name="connsiteX138" fmla="*/ 547664 w 1516276"/>
                <a:gd name="connsiteY138" fmla="*/ 284058 h 827611"/>
                <a:gd name="connsiteX139" fmla="*/ 551981 w 1516276"/>
                <a:gd name="connsiteY139" fmla="*/ 253835 h 827611"/>
                <a:gd name="connsiteX140" fmla="*/ 505030 w 1516276"/>
                <a:gd name="connsiteY140" fmla="*/ 223136 h 827611"/>
                <a:gd name="connsiteX141" fmla="*/ 506367 w 1516276"/>
                <a:gd name="connsiteY141" fmla="*/ 222270 h 827611"/>
                <a:gd name="connsiteX142" fmla="*/ 493125 w 1516276"/>
                <a:gd name="connsiteY142" fmla="*/ 213612 h 827611"/>
                <a:gd name="connsiteX143" fmla="*/ 531757 w 1516276"/>
                <a:gd name="connsiteY143" fmla="*/ 188615 h 827611"/>
                <a:gd name="connsiteX144" fmla="*/ 520394 w 1516276"/>
                <a:gd name="connsiteY144" fmla="*/ 165890 h 827611"/>
                <a:gd name="connsiteX145" fmla="*/ 559026 w 1516276"/>
                <a:gd name="connsiteY145" fmla="*/ 149983 h 827611"/>
                <a:gd name="connsiteX146" fmla="*/ 531757 w 1516276"/>
                <a:gd name="connsiteY146" fmla="*/ 111351 h 827611"/>
                <a:gd name="connsiteX147" fmla="*/ 547664 w 1516276"/>
                <a:gd name="connsiteY147" fmla="*/ 90899 h 827611"/>
                <a:gd name="connsiteX148" fmla="*/ 686284 w 1516276"/>
                <a:gd name="connsiteY148" fmla="*/ 70447 h 827611"/>
                <a:gd name="connsiteX149" fmla="*/ 702192 w 1516276"/>
                <a:gd name="connsiteY149" fmla="*/ 52267 h 827611"/>
                <a:gd name="connsiteX150" fmla="*/ 795363 w 1516276"/>
                <a:gd name="connsiteY150" fmla="*/ 27270 h 827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</a:cxnLst>
              <a:rect l="l" t="t" r="r" b="b"/>
              <a:pathLst>
                <a:path w="1516276" h="827611">
                  <a:moveTo>
                    <a:pt x="831722" y="0"/>
                  </a:moveTo>
                  <a:lnTo>
                    <a:pt x="897623" y="15907"/>
                  </a:lnTo>
                  <a:lnTo>
                    <a:pt x="898607" y="22795"/>
                  </a:lnTo>
                  <a:lnTo>
                    <a:pt x="909528" y="25431"/>
                  </a:lnTo>
                  <a:lnTo>
                    <a:pt x="916672" y="75436"/>
                  </a:lnTo>
                  <a:lnTo>
                    <a:pt x="945345" y="63629"/>
                  </a:lnTo>
                  <a:lnTo>
                    <a:pt x="993067" y="90899"/>
                  </a:lnTo>
                  <a:lnTo>
                    <a:pt x="992653" y="93383"/>
                  </a:lnTo>
                  <a:lnTo>
                    <a:pt x="1004972" y="100423"/>
                  </a:lnTo>
                  <a:lnTo>
                    <a:pt x="1002014" y="118168"/>
                  </a:lnTo>
                  <a:lnTo>
                    <a:pt x="1024881" y="118168"/>
                  </a:lnTo>
                  <a:lnTo>
                    <a:pt x="1118052" y="59084"/>
                  </a:lnTo>
                  <a:lnTo>
                    <a:pt x="1099873" y="79536"/>
                  </a:lnTo>
                  <a:lnTo>
                    <a:pt x="1104860" y="84523"/>
                  </a:lnTo>
                  <a:lnTo>
                    <a:pt x="1129957" y="68608"/>
                  </a:lnTo>
                  <a:lnTo>
                    <a:pt x="1111777" y="89060"/>
                  </a:lnTo>
                  <a:lnTo>
                    <a:pt x="1161772" y="139055"/>
                  </a:lnTo>
                  <a:lnTo>
                    <a:pt x="1233337" y="274006"/>
                  </a:lnTo>
                  <a:lnTo>
                    <a:pt x="1252127" y="247699"/>
                  </a:lnTo>
                  <a:lnTo>
                    <a:pt x="1304394" y="279513"/>
                  </a:lnTo>
                  <a:lnTo>
                    <a:pt x="1354388" y="263606"/>
                  </a:lnTo>
                  <a:lnTo>
                    <a:pt x="1374841" y="272696"/>
                  </a:lnTo>
                  <a:lnTo>
                    <a:pt x="1376974" y="277877"/>
                  </a:lnTo>
                  <a:lnTo>
                    <a:pt x="1386746" y="282220"/>
                  </a:lnTo>
                  <a:lnTo>
                    <a:pt x="1400385" y="315343"/>
                  </a:lnTo>
                  <a:lnTo>
                    <a:pt x="1418017" y="322690"/>
                  </a:lnTo>
                  <a:lnTo>
                    <a:pt x="1423269" y="329442"/>
                  </a:lnTo>
                  <a:lnTo>
                    <a:pt x="1429922" y="332214"/>
                  </a:lnTo>
                  <a:lnTo>
                    <a:pt x="1438112" y="342743"/>
                  </a:lnTo>
                  <a:lnTo>
                    <a:pt x="1481646" y="338597"/>
                  </a:lnTo>
                  <a:lnTo>
                    <a:pt x="1488774" y="348576"/>
                  </a:lnTo>
                  <a:lnTo>
                    <a:pt x="1493551" y="348121"/>
                  </a:lnTo>
                  <a:lnTo>
                    <a:pt x="1516276" y="379936"/>
                  </a:lnTo>
                  <a:lnTo>
                    <a:pt x="1484461" y="418568"/>
                  </a:lnTo>
                  <a:lnTo>
                    <a:pt x="1457192" y="423113"/>
                  </a:lnTo>
                  <a:lnTo>
                    <a:pt x="1450375" y="477652"/>
                  </a:lnTo>
                  <a:lnTo>
                    <a:pt x="1429922" y="502649"/>
                  </a:lnTo>
                  <a:lnTo>
                    <a:pt x="1359476" y="482197"/>
                  </a:lnTo>
                  <a:lnTo>
                    <a:pt x="1332206" y="579913"/>
                  </a:lnTo>
                  <a:lnTo>
                    <a:pt x="1316299" y="589002"/>
                  </a:lnTo>
                  <a:lnTo>
                    <a:pt x="1241308" y="611727"/>
                  </a:lnTo>
                  <a:lnTo>
                    <a:pt x="1273122" y="698081"/>
                  </a:lnTo>
                  <a:lnTo>
                    <a:pt x="1248125" y="713988"/>
                  </a:lnTo>
                  <a:lnTo>
                    <a:pt x="1252670" y="741258"/>
                  </a:lnTo>
                  <a:lnTo>
                    <a:pt x="1232218" y="734440"/>
                  </a:lnTo>
                  <a:lnTo>
                    <a:pt x="1221961" y="725466"/>
                  </a:lnTo>
                  <a:lnTo>
                    <a:pt x="1220313" y="724916"/>
                  </a:lnTo>
                  <a:lnTo>
                    <a:pt x="1212919" y="718447"/>
                  </a:lnTo>
                  <a:lnTo>
                    <a:pt x="1154954" y="713988"/>
                  </a:lnTo>
                  <a:lnTo>
                    <a:pt x="1095870" y="707171"/>
                  </a:lnTo>
                  <a:lnTo>
                    <a:pt x="1079963" y="713988"/>
                  </a:lnTo>
                  <a:lnTo>
                    <a:pt x="1032241" y="691263"/>
                  </a:lnTo>
                  <a:lnTo>
                    <a:pt x="1011789" y="702626"/>
                  </a:lnTo>
                  <a:lnTo>
                    <a:pt x="1004972" y="734440"/>
                  </a:lnTo>
                  <a:lnTo>
                    <a:pt x="941343" y="718533"/>
                  </a:lnTo>
                  <a:lnTo>
                    <a:pt x="918618" y="725350"/>
                  </a:lnTo>
                  <a:lnTo>
                    <a:pt x="909528" y="745802"/>
                  </a:lnTo>
                  <a:lnTo>
                    <a:pt x="886804" y="757165"/>
                  </a:lnTo>
                  <a:lnTo>
                    <a:pt x="843627" y="788979"/>
                  </a:lnTo>
                  <a:lnTo>
                    <a:pt x="823175" y="827611"/>
                  </a:lnTo>
                  <a:lnTo>
                    <a:pt x="811812" y="827611"/>
                  </a:lnTo>
                  <a:lnTo>
                    <a:pt x="807844" y="818087"/>
                  </a:lnTo>
                  <a:lnTo>
                    <a:pt x="799907" y="818087"/>
                  </a:lnTo>
                  <a:lnTo>
                    <a:pt x="792513" y="800342"/>
                  </a:lnTo>
                  <a:lnTo>
                    <a:pt x="752728" y="800342"/>
                  </a:lnTo>
                  <a:lnTo>
                    <a:pt x="751726" y="790818"/>
                  </a:lnTo>
                  <a:lnTo>
                    <a:pt x="740823" y="790818"/>
                  </a:lnTo>
                  <a:lnTo>
                    <a:pt x="737281" y="757165"/>
                  </a:lnTo>
                  <a:lnTo>
                    <a:pt x="732276" y="757165"/>
                  </a:lnTo>
                  <a:lnTo>
                    <a:pt x="732276" y="747641"/>
                  </a:lnTo>
                  <a:lnTo>
                    <a:pt x="720371" y="747641"/>
                  </a:lnTo>
                  <a:lnTo>
                    <a:pt x="720371" y="697647"/>
                  </a:lnTo>
                  <a:lnTo>
                    <a:pt x="688549" y="670849"/>
                  </a:lnTo>
                  <a:lnTo>
                    <a:pt x="623198" y="675356"/>
                  </a:lnTo>
                  <a:lnTo>
                    <a:pt x="580021" y="686718"/>
                  </a:lnTo>
                  <a:lnTo>
                    <a:pt x="572843" y="675951"/>
                  </a:lnTo>
                  <a:lnTo>
                    <a:pt x="568116" y="677194"/>
                  </a:lnTo>
                  <a:lnTo>
                    <a:pt x="537601" y="631421"/>
                  </a:lnTo>
                  <a:lnTo>
                    <a:pt x="516392" y="616272"/>
                  </a:lnTo>
                  <a:lnTo>
                    <a:pt x="457308" y="584458"/>
                  </a:lnTo>
                  <a:lnTo>
                    <a:pt x="452763" y="579913"/>
                  </a:lnTo>
                  <a:lnTo>
                    <a:pt x="359592" y="604910"/>
                  </a:lnTo>
                  <a:lnTo>
                    <a:pt x="359592" y="793524"/>
                  </a:lnTo>
                  <a:lnTo>
                    <a:pt x="339140" y="793524"/>
                  </a:lnTo>
                  <a:lnTo>
                    <a:pt x="333188" y="784000"/>
                  </a:lnTo>
                  <a:lnTo>
                    <a:pt x="327235" y="784000"/>
                  </a:lnTo>
                  <a:lnTo>
                    <a:pt x="308101" y="753385"/>
                  </a:lnTo>
                  <a:lnTo>
                    <a:pt x="291418" y="745802"/>
                  </a:lnTo>
                  <a:lnTo>
                    <a:pt x="248241" y="750347"/>
                  </a:lnTo>
                  <a:lnTo>
                    <a:pt x="232334" y="766255"/>
                  </a:lnTo>
                  <a:lnTo>
                    <a:pt x="232334" y="757165"/>
                  </a:lnTo>
                  <a:lnTo>
                    <a:pt x="235419" y="741740"/>
                  </a:lnTo>
                  <a:lnTo>
                    <a:pt x="220429" y="756731"/>
                  </a:lnTo>
                  <a:lnTo>
                    <a:pt x="220429" y="747641"/>
                  </a:lnTo>
                  <a:lnTo>
                    <a:pt x="224974" y="724916"/>
                  </a:lnTo>
                  <a:lnTo>
                    <a:pt x="222070" y="714751"/>
                  </a:lnTo>
                  <a:lnTo>
                    <a:pt x="189157" y="702626"/>
                  </a:lnTo>
                  <a:lnTo>
                    <a:pt x="187205" y="696768"/>
                  </a:lnTo>
                  <a:lnTo>
                    <a:pt x="177252" y="693102"/>
                  </a:lnTo>
                  <a:lnTo>
                    <a:pt x="162774" y="649666"/>
                  </a:lnTo>
                  <a:lnTo>
                    <a:pt x="150526" y="643542"/>
                  </a:lnTo>
                  <a:lnTo>
                    <a:pt x="150526" y="639970"/>
                  </a:lnTo>
                  <a:lnTo>
                    <a:pt x="138621" y="634018"/>
                  </a:lnTo>
                  <a:lnTo>
                    <a:pt x="138621" y="618110"/>
                  </a:lnTo>
                  <a:lnTo>
                    <a:pt x="177252" y="622655"/>
                  </a:lnTo>
                  <a:lnTo>
                    <a:pt x="177252" y="586296"/>
                  </a:lnTo>
                  <a:lnTo>
                    <a:pt x="209067" y="579478"/>
                  </a:lnTo>
                  <a:lnTo>
                    <a:pt x="240881" y="586296"/>
                  </a:lnTo>
                  <a:lnTo>
                    <a:pt x="245426" y="531757"/>
                  </a:lnTo>
                  <a:lnTo>
                    <a:pt x="242242" y="509466"/>
                  </a:lnTo>
                  <a:lnTo>
                    <a:pt x="214155" y="509466"/>
                  </a:lnTo>
                  <a:lnTo>
                    <a:pt x="182340" y="498104"/>
                  </a:lnTo>
                  <a:lnTo>
                    <a:pt x="139163" y="525373"/>
                  </a:lnTo>
                  <a:lnTo>
                    <a:pt x="107349" y="536736"/>
                  </a:lnTo>
                  <a:lnTo>
                    <a:pt x="86897" y="525373"/>
                  </a:lnTo>
                  <a:lnTo>
                    <a:pt x="87341" y="522710"/>
                  </a:lnTo>
                  <a:lnTo>
                    <a:pt x="74992" y="515849"/>
                  </a:lnTo>
                  <a:lnTo>
                    <a:pt x="79536" y="488580"/>
                  </a:lnTo>
                  <a:lnTo>
                    <a:pt x="64441" y="461744"/>
                  </a:lnTo>
                  <a:lnTo>
                    <a:pt x="36902" y="461744"/>
                  </a:lnTo>
                  <a:lnTo>
                    <a:pt x="29918" y="452220"/>
                  </a:lnTo>
                  <a:lnTo>
                    <a:pt x="24997" y="452220"/>
                  </a:lnTo>
                  <a:lnTo>
                    <a:pt x="0" y="418133"/>
                  </a:lnTo>
                  <a:lnTo>
                    <a:pt x="20452" y="374957"/>
                  </a:lnTo>
                  <a:lnTo>
                    <a:pt x="9090" y="365867"/>
                  </a:lnTo>
                  <a:lnTo>
                    <a:pt x="36360" y="299965"/>
                  </a:lnTo>
                  <a:lnTo>
                    <a:pt x="48178" y="309698"/>
                  </a:lnTo>
                  <a:lnTo>
                    <a:pt x="48265" y="309489"/>
                  </a:lnTo>
                  <a:lnTo>
                    <a:pt x="75024" y="331526"/>
                  </a:lnTo>
                  <a:lnTo>
                    <a:pt x="79536" y="295420"/>
                  </a:lnTo>
                  <a:lnTo>
                    <a:pt x="154528" y="231791"/>
                  </a:lnTo>
                  <a:lnTo>
                    <a:pt x="213612" y="224974"/>
                  </a:lnTo>
                  <a:lnTo>
                    <a:pt x="295421" y="268151"/>
                  </a:lnTo>
                  <a:lnTo>
                    <a:pt x="338597" y="295420"/>
                  </a:lnTo>
                  <a:lnTo>
                    <a:pt x="374957" y="268151"/>
                  </a:lnTo>
                  <a:lnTo>
                    <a:pt x="434041" y="263606"/>
                  </a:lnTo>
                  <a:lnTo>
                    <a:pt x="481763" y="295420"/>
                  </a:lnTo>
                  <a:lnTo>
                    <a:pt x="493125" y="279513"/>
                  </a:lnTo>
                  <a:lnTo>
                    <a:pt x="547664" y="284058"/>
                  </a:lnTo>
                  <a:lnTo>
                    <a:pt x="551981" y="253835"/>
                  </a:lnTo>
                  <a:lnTo>
                    <a:pt x="505030" y="223136"/>
                  </a:lnTo>
                  <a:lnTo>
                    <a:pt x="506367" y="222270"/>
                  </a:lnTo>
                  <a:lnTo>
                    <a:pt x="493125" y="213612"/>
                  </a:lnTo>
                  <a:lnTo>
                    <a:pt x="531757" y="188615"/>
                  </a:lnTo>
                  <a:lnTo>
                    <a:pt x="520394" y="165890"/>
                  </a:lnTo>
                  <a:lnTo>
                    <a:pt x="559026" y="149983"/>
                  </a:lnTo>
                  <a:lnTo>
                    <a:pt x="531757" y="111351"/>
                  </a:lnTo>
                  <a:lnTo>
                    <a:pt x="547664" y="90899"/>
                  </a:lnTo>
                  <a:lnTo>
                    <a:pt x="686284" y="70447"/>
                  </a:lnTo>
                  <a:lnTo>
                    <a:pt x="702192" y="52267"/>
                  </a:lnTo>
                  <a:lnTo>
                    <a:pt x="795363" y="2727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38" name="Freeform 25">
              <a:extLst>
                <a:ext uri="{FF2B5EF4-FFF2-40B4-BE49-F238E27FC236}">
                  <a16:creationId xmlns:a16="http://schemas.microsoft.com/office/drawing/2014/main" id="{F1C7FB89-6DA5-630F-D896-D32D58746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2299" y="2098671"/>
              <a:ext cx="561197" cy="276850"/>
            </a:xfrm>
            <a:custGeom>
              <a:avLst/>
              <a:gdLst>
                <a:gd name="connsiteX0" fmla="*/ 406771 w 1184279"/>
                <a:gd name="connsiteY0" fmla="*/ 0 h 575693"/>
                <a:gd name="connsiteX1" fmla="*/ 449948 w 1184279"/>
                <a:gd name="connsiteY1" fmla="*/ 27270 h 575693"/>
                <a:gd name="connsiteX2" fmla="*/ 481762 w 1184279"/>
                <a:gd name="connsiteY2" fmla="*/ 31815 h 575693"/>
                <a:gd name="connsiteX3" fmla="*/ 524939 w 1184279"/>
                <a:gd name="connsiteY3" fmla="*/ 47722 h 575693"/>
                <a:gd name="connsiteX4" fmla="*/ 527292 w 1184279"/>
                <a:gd name="connsiteY4" fmla="*/ 62624 h 575693"/>
                <a:gd name="connsiteX5" fmla="*/ 532082 w 1184279"/>
                <a:gd name="connsiteY5" fmla="*/ 64389 h 575693"/>
                <a:gd name="connsiteX6" fmla="*/ 536600 w 1184279"/>
                <a:gd name="connsiteY6" fmla="*/ 93005 h 575693"/>
                <a:gd name="connsiteX7" fmla="*/ 584023 w 1184279"/>
                <a:gd name="connsiteY7" fmla="*/ 113623 h 575693"/>
                <a:gd name="connsiteX8" fmla="*/ 622655 w 1184279"/>
                <a:gd name="connsiteY8" fmla="*/ 102261 h 575693"/>
                <a:gd name="connsiteX9" fmla="*/ 665832 w 1184279"/>
                <a:gd name="connsiteY9" fmla="*/ 97716 h 575693"/>
                <a:gd name="connsiteX10" fmla="*/ 702191 w 1184279"/>
                <a:gd name="connsiteY10" fmla="*/ 102261 h 575693"/>
                <a:gd name="connsiteX11" fmla="*/ 740823 w 1184279"/>
                <a:gd name="connsiteY11" fmla="*/ 129531 h 575693"/>
                <a:gd name="connsiteX12" fmla="*/ 761275 w 1184279"/>
                <a:gd name="connsiteY12" fmla="*/ 161345 h 575693"/>
                <a:gd name="connsiteX13" fmla="*/ 795362 w 1184279"/>
                <a:gd name="connsiteY13" fmla="*/ 161345 h 575693"/>
                <a:gd name="connsiteX14" fmla="*/ 843084 w 1184279"/>
                <a:gd name="connsiteY14" fmla="*/ 165890 h 575693"/>
                <a:gd name="connsiteX15" fmla="*/ 874898 w 1184279"/>
                <a:gd name="connsiteY15" fmla="*/ 156800 h 575693"/>
                <a:gd name="connsiteX16" fmla="*/ 922620 w 1184279"/>
                <a:gd name="connsiteY16" fmla="*/ 145438 h 575693"/>
                <a:gd name="connsiteX17" fmla="*/ 977159 w 1184279"/>
                <a:gd name="connsiteY17" fmla="*/ 106806 h 575693"/>
                <a:gd name="connsiteX18" fmla="*/ 1004429 w 1184279"/>
                <a:gd name="connsiteY18" fmla="*/ 113623 h 575693"/>
                <a:gd name="connsiteX19" fmla="*/ 1020336 w 1184279"/>
                <a:gd name="connsiteY19" fmla="*/ 129531 h 575693"/>
                <a:gd name="connsiteX20" fmla="*/ 1063513 w 1184279"/>
                <a:gd name="connsiteY20" fmla="*/ 122713 h 575693"/>
                <a:gd name="connsiteX21" fmla="*/ 1056552 w 1184279"/>
                <a:gd name="connsiteY21" fmla="*/ 141607 h 575693"/>
                <a:gd name="connsiteX22" fmla="*/ 1070656 w 1184279"/>
                <a:gd name="connsiteY22" fmla="*/ 139380 h 575693"/>
                <a:gd name="connsiteX23" fmla="*/ 1054749 w 1184279"/>
                <a:gd name="connsiteY23" fmla="*/ 182557 h 575693"/>
                <a:gd name="connsiteX24" fmla="*/ 1027479 w 1184279"/>
                <a:gd name="connsiteY24" fmla="*/ 237096 h 575693"/>
                <a:gd name="connsiteX25" fmla="*/ 1031859 w 1184279"/>
                <a:gd name="connsiteY25" fmla="*/ 247609 h 575693"/>
                <a:gd name="connsiteX26" fmla="*/ 1052151 w 1184279"/>
                <a:gd name="connsiteY26" fmla="*/ 236336 h 575693"/>
                <a:gd name="connsiteX27" fmla="*/ 1083965 w 1184279"/>
                <a:gd name="connsiteY27" fmla="*/ 247699 h 575693"/>
                <a:gd name="connsiteX28" fmla="*/ 1118052 w 1184279"/>
                <a:gd name="connsiteY28" fmla="*/ 224974 h 575693"/>
                <a:gd name="connsiteX29" fmla="*/ 1143049 w 1184279"/>
                <a:gd name="connsiteY29" fmla="*/ 243154 h 575693"/>
                <a:gd name="connsiteX30" fmla="*/ 1177136 w 1184279"/>
                <a:gd name="connsiteY30" fmla="*/ 279513 h 575693"/>
                <a:gd name="connsiteX31" fmla="*/ 1177136 w 1184279"/>
                <a:gd name="connsiteY31" fmla="*/ 288561 h 575693"/>
                <a:gd name="connsiteX32" fmla="*/ 1184279 w 1184279"/>
                <a:gd name="connsiteY32" fmla="*/ 296180 h 575693"/>
                <a:gd name="connsiteX33" fmla="*/ 1184279 w 1184279"/>
                <a:gd name="connsiteY33" fmla="*/ 318905 h 575693"/>
                <a:gd name="connsiteX34" fmla="*/ 1150192 w 1184279"/>
                <a:gd name="connsiteY34" fmla="*/ 312087 h 575693"/>
                <a:gd name="connsiteX35" fmla="*/ 1097925 w 1184279"/>
                <a:gd name="connsiteY35" fmla="*/ 318905 h 575693"/>
                <a:gd name="connsiteX36" fmla="*/ 1070656 w 1184279"/>
                <a:gd name="connsiteY36" fmla="*/ 334812 h 575693"/>
                <a:gd name="connsiteX37" fmla="*/ 1047931 w 1184279"/>
                <a:gd name="connsiteY37" fmla="*/ 371171 h 575693"/>
                <a:gd name="connsiteX38" fmla="*/ 988847 w 1184279"/>
                <a:gd name="connsiteY38" fmla="*/ 387079 h 575693"/>
                <a:gd name="connsiteX39" fmla="*/ 952488 w 1184279"/>
                <a:gd name="connsiteY39" fmla="*/ 414348 h 575693"/>
                <a:gd name="connsiteX40" fmla="*/ 913856 w 1184279"/>
                <a:gd name="connsiteY40" fmla="*/ 402986 h 575693"/>
                <a:gd name="connsiteX41" fmla="*/ 893404 w 1184279"/>
                <a:gd name="connsiteY41" fmla="*/ 398441 h 575693"/>
                <a:gd name="connsiteX42" fmla="*/ 879238 w 1184279"/>
                <a:gd name="connsiteY42" fmla="*/ 432844 h 575693"/>
                <a:gd name="connsiteX43" fmla="*/ 881716 w 1184279"/>
                <a:gd name="connsiteY43" fmla="*/ 436313 h 575693"/>
                <a:gd name="connsiteX44" fmla="*/ 884891 w 1184279"/>
                <a:gd name="connsiteY44" fmla="*/ 447425 h 575693"/>
                <a:gd name="connsiteX45" fmla="*/ 888859 w 1184279"/>
                <a:gd name="connsiteY45" fmla="*/ 452980 h 575693"/>
                <a:gd name="connsiteX46" fmla="*/ 893404 w 1184279"/>
                <a:gd name="connsiteY46" fmla="*/ 468887 h 575693"/>
                <a:gd name="connsiteX47" fmla="*/ 866134 w 1184279"/>
                <a:gd name="connsiteY47" fmla="*/ 489340 h 575693"/>
                <a:gd name="connsiteX48" fmla="*/ 838865 w 1184279"/>
                <a:gd name="connsiteY48" fmla="*/ 512064 h 575693"/>
                <a:gd name="connsiteX49" fmla="*/ 795688 w 1184279"/>
                <a:gd name="connsiteY49" fmla="*/ 532516 h 575693"/>
                <a:gd name="connsiteX50" fmla="*/ 743421 w 1184279"/>
                <a:gd name="connsiteY50" fmla="*/ 532516 h 575693"/>
                <a:gd name="connsiteX51" fmla="*/ 684337 w 1184279"/>
                <a:gd name="connsiteY51" fmla="*/ 548424 h 575693"/>
                <a:gd name="connsiteX52" fmla="*/ 641160 w 1184279"/>
                <a:gd name="connsiteY52" fmla="*/ 575693 h 575693"/>
                <a:gd name="connsiteX53" fmla="*/ 625253 w 1184279"/>
                <a:gd name="connsiteY53" fmla="*/ 559786 h 575693"/>
                <a:gd name="connsiteX54" fmla="*/ 582076 w 1184279"/>
                <a:gd name="connsiteY54" fmla="*/ 559786 h 575693"/>
                <a:gd name="connsiteX55" fmla="*/ 527537 w 1184279"/>
                <a:gd name="connsiteY55" fmla="*/ 532516 h 575693"/>
                <a:gd name="connsiteX56" fmla="*/ 488905 w 1184279"/>
                <a:gd name="connsiteY56" fmla="*/ 523426 h 575693"/>
                <a:gd name="connsiteX57" fmla="*/ 441183 w 1184279"/>
                <a:gd name="connsiteY57" fmla="*/ 532516 h 575693"/>
                <a:gd name="connsiteX58" fmla="*/ 361647 w 1184279"/>
                <a:gd name="connsiteY58" fmla="*/ 523426 h 575693"/>
                <a:gd name="connsiteX59" fmla="*/ 323015 w 1184279"/>
                <a:gd name="connsiteY59" fmla="*/ 523426 h 575693"/>
                <a:gd name="connsiteX60" fmla="*/ 302563 w 1184279"/>
                <a:gd name="connsiteY60" fmla="*/ 489340 h 575693"/>
                <a:gd name="connsiteX61" fmla="*/ 298018 w 1184279"/>
                <a:gd name="connsiteY61" fmla="*/ 477002 h 575693"/>
                <a:gd name="connsiteX62" fmla="*/ 295420 w 1184279"/>
                <a:gd name="connsiteY62" fmla="*/ 472673 h 575693"/>
                <a:gd name="connsiteX63" fmla="*/ 285574 w 1184279"/>
                <a:gd name="connsiteY63" fmla="*/ 445946 h 575693"/>
                <a:gd name="connsiteX64" fmla="*/ 263931 w 1184279"/>
                <a:gd name="connsiteY64" fmla="*/ 441618 h 575693"/>
                <a:gd name="connsiteX65" fmla="*/ 216210 w 1184279"/>
                <a:gd name="connsiteY65" fmla="*/ 409803 h 575693"/>
                <a:gd name="connsiteX66" fmla="*/ 168488 w 1184279"/>
                <a:gd name="connsiteY66" fmla="*/ 398441 h 575693"/>
                <a:gd name="connsiteX67" fmla="*/ 125311 w 1184279"/>
                <a:gd name="connsiteY67" fmla="*/ 393896 h 575693"/>
                <a:gd name="connsiteX68" fmla="*/ 113949 w 1184279"/>
                <a:gd name="connsiteY68" fmla="*/ 371171 h 575693"/>
                <a:gd name="connsiteX69" fmla="*/ 114262 w 1184279"/>
                <a:gd name="connsiteY69" fmla="*/ 369417 h 575693"/>
                <a:gd name="connsiteX70" fmla="*/ 106806 w 1184279"/>
                <a:gd name="connsiteY70" fmla="*/ 354504 h 575693"/>
                <a:gd name="connsiteX71" fmla="*/ 117422 w 1184279"/>
                <a:gd name="connsiteY71" fmla="*/ 295052 h 575693"/>
                <a:gd name="connsiteX72" fmla="*/ 98042 w 1184279"/>
                <a:gd name="connsiteY72" fmla="*/ 264366 h 575693"/>
                <a:gd name="connsiteX73" fmla="*/ 50320 w 1184279"/>
                <a:gd name="connsiteY73" fmla="*/ 241641 h 575693"/>
                <a:gd name="connsiteX74" fmla="*/ 16233 w 1184279"/>
                <a:gd name="connsiteY74" fmla="*/ 216644 h 575693"/>
                <a:gd name="connsiteX75" fmla="*/ 12983 w 1184279"/>
                <a:gd name="connsiteY75" fmla="*/ 202832 h 575693"/>
                <a:gd name="connsiteX76" fmla="*/ 9090 w 1184279"/>
                <a:gd name="connsiteY76" fmla="*/ 199977 h 575693"/>
                <a:gd name="connsiteX77" fmla="*/ 0 w 1184279"/>
                <a:gd name="connsiteY77" fmla="*/ 161345 h 575693"/>
                <a:gd name="connsiteX78" fmla="*/ 43177 w 1184279"/>
                <a:gd name="connsiteY78" fmla="*/ 149983 h 575693"/>
                <a:gd name="connsiteX79" fmla="*/ 106806 w 1184279"/>
                <a:gd name="connsiteY79" fmla="*/ 102261 h 575693"/>
                <a:gd name="connsiteX80" fmla="*/ 165890 w 1184279"/>
                <a:gd name="connsiteY80" fmla="*/ 74991 h 575693"/>
                <a:gd name="connsiteX81" fmla="*/ 197704 w 1184279"/>
                <a:gd name="connsiteY81" fmla="*/ 90899 h 575693"/>
                <a:gd name="connsiteX82" fmla="*/ 236336 w 1184279"/>
                <a:gd name="connsiteY82" fmla="*/ 90899 h 575693"/>
                <a:gd name="connsiteX83" fmla="*/ 263606 w 1184279"/>
                <a:gd name="connsiteY83" fmla="*/ 118168 h 575693"/>
                <a:gd name="connsiteX84" fmla="*/ 295420 w 1184279"/>
                <a:gd name="connsiteY84" fmla="*/ 118168 h 575693"/>
                <a:gd name="connsiteX85" fmla="*/ 347687 w 1184279"/>
                <a:gd name="connsiteY85" fmla="*/ 134075 h 575693"/>
                <a:gd name="connsiteX86" fmla="*/ 385878 w 1184279"/>
                <a:gd name="connsiteY86" fmla="*/ 98131 h 575693"/>
                <a:gd name="connsiteX87" fmla="*/ 377555 w 1184279"/>
                <a:gd name="connsiteY87" fmla="*/ 80296 h 575693"/>
                <a:gd name="connsiteX88" fmla="*/ 377904 w 1184279"/>
                <a:gd name="connsiteY88" fmla="*/ 79685 h 575693"/>
                <a:gd name="connsiteX89" fmla="*/ 370412 w 1184279"/>
                <a:gd name="connsiteY89" fmla="*/ 63629 h 575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1184279" h="575693">
                  <a:moveTo>
                    <a:pt x="406771" y="0"/>
                  </a:moveTo>
                  <a:lnTo>
                    <a:pt x="449948" y="27270"/>
                  </a:lnTo>
                  <a:lnTo>
                    <a:pt x="481762" y="31815"/>
                  </a:lnTo>
                  <a:lnTo>
                    <a:pt x="524939" y="47722"/>
                  </a:lnTo>
                  <a:lnTo>
                    <a:pt x="527292" y="62624"/>
                  </a:lnTo>
                  <a:lnTo>
                    <a:pt x="532082" y="64389"/>
                  </a:lnTo>
                  <a:lnTo>
                    <a:pt x="536600" y="93005"/>
                  </a:lnTo>
                  <a:lnTo>
                    <a:pt x="584023" y="113623"/>
                  </a:lnTo>
                  <a:lnTo>
                    <a:pt x="622655" y="102261"/>
                  </a:lnTo>
                  <a:lnTo>
                    <a:pt x="665832" y="97716"/>
                  </a:lnTo>
                  <a:lnTo>
                    <a:pt x="702191" y="102261"/>
                  </a:lnTo>
                  <a:lnTo>
                    <a:pt x="740823" y="129531"/>
                  </a:lnTo>
                  <a:lnTo>
                    <a:pt x="761275" y="161345"/>
                  </a:lnTo>
                  <a:lnTo>
                    <a:pt x="795362" y="161345"/>
                  </a:lnTo>
                  <a:lnTo>
                    <a:pt x="843084" y="165890"/>
                  </a:lnTo>
                  <a:lnTo>
                    <a:pt x="874898" y="156800"/>
                  </a:lnTo>
                  <a:lnTo>
                    <a:pt x="922620" y="145438"/>
                  </a:lnTo>
                  <a:lnTo>
                    <a:pt x="977159" y="106806"/>
                  </a:lnTo>
                  <a:lnTo>
                    <a:pt x="1004429" y="113623"/>
                  </a:lnTo>
                  <a:lnTo>
                    <a:pt x="1020336" y="129531"/>
                  </a:lnTo>
                  <a:lnTo>
                    <a:pt x="1063513" y="122713"/>
                  </a:lnTo>
                  <a:lnTo>
                    <a:pt x="1056552" y="141607"/>
                  </a:lnTo>
                  <a:lnTo>
                    <a:pt x="1070656" y="139380"/>
                  </a:lnTo>
                  <a:lnTo>
                    <a:pt x="1054749" y="182557"/>
                  </a:lnTo>
                  <a:lnTo>
                    <a:pt x="1027479" y="237096"/>
                  </a:lnTo>
                  <a:lnTo>
                    <a:pt x="1031859" y="247609"/>
                  </a:lnTo>
                  <a:lnTo>
                    <a:pt x="1052151" y="236336"/>
                  </a:lnTo>
                  <a:lnTo>
                    <a:pt x="1083965" y="247699"/>
                  </a:lnTo>
                  <a:lnTo>
                    <a:pt x="1118052" y="224974"/>
                  </a:lnTo>
                  <a:lnTo>
                    <a:pt x="1143049" y="243154"/>
                  </a:lnTo>
                  <a:lnTo>
                    <a:pt x="1177136" y="279513"/>
                  </a:lnTo>
                  <a:lnTo>
                    <a:pt x="1177136" y="288561"/>
                  </a:lnTo>
                  <a:lnTo>
                    <a:pt x="1184279" y="296180"/>
                  </a:lnTo>
                  <a:lnTo>
                    <a:pt x="1184279" y="318905"/>
                  </a:lnTo>
                  <a:lnTo>
                    <a:pt x="1150192" y="312087"/>
                  </a:lnTo>
                  <a:lnTo>
                    <a:pt x="1097925" y="318905"/>
                  </a:lnTo>
                  <a:lnTo>
                    <a:pt x="1070656" y="334812"/>
                  </a:lnTo>
                  <a:lnTo>
                    <a:pt x="1047931" y="371171"/>
                  </a:lnTo>
                  <a:lnTo>
                    <a:pt x="988847" y="387079"/>
                  </a:lnTo>
                  <a:lnTo>
                    <a:pt x="952488" y="414348"/>
                  </a:lnTo>
                  <a:lnTo>
                    <a:pt x="913856" y="402986"/>
                  </a:lnTo>
                  <a:lnTo>
                    <a:pt x="893404" y="398441"/>
                  </a:lnTo>
                  <a:lnTo>
                    <a:pt x="879238" y="432844"/>
                  </a:lnTo>
                  <a:lnTo>
                    <a:pt x="881716" y="436313"/>
                  </a:lnTo>
                  <a:lnTo>
                    <a:pt x="884891" y="447425"/>
                  </a:lnTo>
                  <a:lnTo>
                    <a:pt x="888859" y="452980"/>
                  </a:lnTo>
                  <a:lnTo>
                    <a:pt x="893404" y="468887"/>
                  </a:lnTo>
                  <a:lnTo>
                    <a:pt x="866134" y="489340"/>
                  </a:lnTo>
                  <a:lnTo>
                    <a:pt x="838865" y="512064"/>
                  </a:lnTo>
                  <a:lnTo>
                    <a:pt x="795688" y="532516"/>
                  </a:lnTo>
                  <a:lnTo>
                    <a:pt x="743421" y="532516"/>
                  </a:lnTo>
                  <a:lnTo>
                    <a:pt x="684337" y="548424"/>
                  </a:lnTo>
                  <a:lnTo>
                    <a:pt x="641160" y="575693"/>
                  </a:lnTo>
                  <a:lnTo>
                    <a:pt x="625253" y="559786"/>
                  </a:lnTo>
                  <a:lnTo>
                    <a:pt x="582076" y="559786"/>
                  </a:lnTo>
                  <a:lnTo>
                    <a:pt x="527537" y="532516"/>
                  </a:lnTo>
                  <a:lnTo>
                    <a:pt x="488905" y="523426"/>
                  </a:lnTo>
                  <a:lnTo>
                    <a:pt x="441183" y="532516"/>
                  </a:lnTo>
                  <a:lnTo>
                    <a:pt x="361647" y="523426"/>
                  </a:lnTo>
                  <a:lnTo>
                    <a:pt x="323015" y="523426"/>
                  </a:lnTo>
                  <a:lnTo>
                    <a:pt x="302563" y="489340"/>
                  </a:lnTo>
                  <a:lnTo>
                    <a:pt x="298018" y="477002"/>
                  </a:lnTo>
                  <a:lnTo>
                    <a:pt x="295420" y="472673"/>
                  </a:lnTo>
                  <a:lnTo>
                    <a:pt x="285574" y="445946"/>
                  </a:lnTo>
                  <a:lnTo>
                    <a:pt x="263931" y="441618"/>
                  </a:lnTo>
                  <a:lnTo>
                    <a:pt x="216210" y="409803"/>
                  </a:lnTo>
                  <a:lnTo>
                    <a:pt x="168488" y="398441"/>
                  </a:lnTo>
                  <a:lnTo>
                    <a:pt x="125311" y="393896"/>
                  </a:lnTo>
                  <a:lnTo>
                    <a:pt x="113949" y="371171"/>
                  </a:lnTo>
                  <a:lnTo>
                    <a:pt x="114262" y="369417"/>
                  </a:lnTo>
                  <a:lnTo>
                    <a:pt x="106806" y="354504"/>
                  </a:lnTo>
                  <a:lnTo>
                    <a:pt x="117422" y="295052"/>
                  </a:lnTo>
                  <a:lnTo>
                    <a:pt x="98042" y="264366"/>
                  </a:lnTo>
                  <a:lnTo>
                    <a:pt x="50320" y="241641"/>
                  </a:lnTo>
                  <a:lnTo>
                    <a:pt x="16233" y="216644"/>
                  </a:lnTo>
                  <a:lnTo>
                    <a:pt x="12983" y="202832"/>
                  </a:lnTo>
                  <a:lnTo>
                    <a:pt x="9090" y="199977"/>
                  </a:lnTo>
                  <a:lnTo>
                    <a:pt x="0" y="161345"/>
                  </a:lnTo>
                  <a:lnTo>
                    <a:pt x="43177" y="149983"/>
                  </a:lnTo>
                  <a:lnTo>
                    <a:pt x="106806" y="102261"/>
                  </a:lnTo>
                  <a:lnTo>
                    <a:pt x="165890" y="74991"/>
                  </a:lnTo>
                  <a:lnTo>
                    <a:pt x="197704" y="90899"/>
                  </a:lnTo>
                  <a:lnTo>
                    <a:pt x="236336" y="90899"/>
                  </a:lnTo>
                  <a:lnTo>
                    <a:pt x="263606" y="118168"/>
                  </a:lnTo>
                  <a:lnTo>
                    <a:pt x="295420" y="118168"/>
                  </a:lnTo>
                  <a:lnTo>
                    <a:pt x="347687" y="134075"/>
                  </a:lnTo>
                  <a:lnTo>
                    <a:pt x="385878" y="98131"/>
                  </a:lnTo>
                  <a:lnTo>
                    <a:pt x="377555" y="80296"/>
                  </a:lnTo>
                  <a:lnTo>
                    <a:pt x="377904" y="79685"/>
                  </a:lnTo>
                  <a:lnTo>
                    <a:pt x="370412" y="63629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39" name="Freeform 26">
              <a:extLst>
                <a:ext uri="{FF2B5EF4-FFF2-40B4-BE49-F238E27FC236}">
                  <a16:creationId xmlns:a16="http://schemas.microsoft.com/office/drawing/2014/main" id="{8CE632FE-95F4-14FE-AB4B-9F1E10F80C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9846" y="2613390"/>
              <a:ext cx="144503" cy="81026"/>
            </a:xfrm>
            <a:custGeom>
              <a:avLst/>
              <a:gdLst>
                <a:gd name="connsiteX0" fmla="*/ 61791 w 304944"/>
                <a:gd name="connsiteY0" fmla="*/ 0 h 168489"/>
                <a:gd name="connsiteX1" fmla="*/ 89060 w 304944"/>
                <a:gd name="connsiteY1" fmla="*/ 11363 h 168489"/>
                <a:gd name="connsiteX2" fmla="*/ 127692 w 304944"/>
                <a:gd name="connsiteY2" fmla="*/ 38632 h 168489"/>
                <a:gd name="connsiteX3" fmla="*/ 148144 w 304944"/>
                <a:gd name="connsiteY3" fmla="*/ 43177 h 168489"/>
                <a:gd name="connsiteX4" fmla="*/ 159506 w 304944"/>
                <a:gd name="connsiteY4" fmla="*/ 63630 h 168489"/>
                <a:gd name="connsiteX5" fmla="*/ 191321 w 304944"/>
                <a:gd name="connsiteY5" fmla="*/ 70447 h 168489"/>
                <a:gd name="connsiteX6" fmla="*/ 218590 w 304944"/>
                <a:gd name="connsiteY6" fmla="*/ 90899 h 168489"/>
                <a:gd name="connsiteX7" fmla="*/ 261767 w 304944"/>
                <a:gd name="connsiteY7" fmla="*/ 97717 h 168489"/>
                <a:gd name="connsiteX8" fmla="*/ 304944 w 304944"/>
                <a:gd name="connsiteY8" fmla="*/ 102262 h 168489"/>
                <a:gd name="connsiteX9" fmla="*/ 298127 w 304944"/>
                <a:gd name="connsiteY9" fmla="*/ 118169 h 168489"/>
                <a:gd name="connsiteX10" fmla="*/ 304944 w 304944"/>
                <a:gd name="connsiteY10" fmla="*/ 145439 h 168489"/>
                <a:gd name="connsiteX11" fmla="*/ 298127 w 304944"/>
                <a:gd name="connsiteY11" fmla="*/ 161346 h 168489"/>
                <a:gd name="connsiteX12" fmla="*/ 291664 w 304944"/>
                <a:gd name="connsiteY12" fmla="*/ 161346 h 168489"/>
                <a:gd name="connsiteX13" fmla="*/ 288603 w 304944"/>
                <a:gd name="connsiteY13" fmla="*/ 168489 h 168489"/>
                <a:gd name="connsiteX14" fmla="*/ 256788 w 304944"/>
                <a:gd name="connsiteY14" fmla="*/ 168489 h 168489"/>
                <a:gd name="connsiteX15" fmla="*/ 213611 w 304944"/>
                <a:gd name="connsiteY15" fmla="*/ 163944 h 168489"/>
                <a:gd name="connsiteX16" fmla="*/ 186342 w 304944"/>
                <a:gd name="connsiteY16" fmla="*/ 157127 h 168489"/>
                <a:gd name="connsiteX17" fmla="*/ 165890 w 304944"/>
                <a:gd name="connsiteY17" fmla="*/ 136674 h 168489"/>
                <a:gd name="connsiteX18" fmla="*/ 118168 w 304944"/>
                <a:gd name="connsiteY18" fmla="*/ 132129 h 168489"/>
                <a:gd name="connsiteX19" fmla="*/ 68174 w 304944"/>
                <a:gd name="connsiteY19" fmla="*/ 109405 h 168489"/>
                <a:gd name="connsiteX20" fmla="*/ 36359 w 304944"/>
                <a:gd name="connsiteY20" fmla="*/ 88952 h 168489"/>
                <a:gd name="connsiteX21" fmla="*/ 0 w 304944"/>
                <a:gd name="connsiteY21" fmla="*/ 70773 h 168489"/>
                <a:gd name="connsiteX22" fmla="*/ 9090 w 304944"/>
                <a:gd name="connsiteY22" fmla="*/ 34413 h 168489"/>
                <a:gd name="connsiteX23" fmla="*/ 36359 w 304944"/>
                <a:gd name="connsiteY23" fmla="*/ 11688 h 168489"/>
                <a:gd name="connsiteX24" fmla="*/ 37809 w 304944"/>
                <a:gd name="connsiteY24" fmla="*/ 11274 h 168489"/>
                <a:gd name="connsiteX25" fmla="*/ 45883 w 304944"/>
                <a:gd name="connsiteY25" fmla="*/ 4545 h 168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04944" h="168489">
                  <a:moveTo>
                    <a:pt x="61791" y="0"/>
                  </a:moveTo>
                  <a:lnTo>
                    <a:pt x="89060" y="11363"/>
                  </a:lnTo>
                  <a:lnTo>
                    <a:pt x="127692" y="38632"/>
                  </a:lnTo>
                  <a:lnTo>
                    <a:pt x="148144" y="43177"/>
                  </a:lnTo>
                  <a:lnTo>
                    <a:pt x="159506" y="63630"/>
                  </a:lnTo>
                  <a:lnTo>
                    <a:pt x="191321" y="70447"/>
                  </a:lnTo>
                  <a:lnTo>
                    <a:pt x="218590" y="90899"/>
                  </a:lnTo>
                  <a:lnTo>
                    <a:pt x="261767" y="97717"/>
                  </a:lnTo>
                  <a:lnTo>
                    <a:pt x="304944" y="102262"/>
                  </a:lnTo>
                  <a:lnTo>
                    <a:pt x="298127" y="118169"/>
                  </a:lnTo>
                  <a:lnTo>
                    <a:pt x="304944" y="145439"/>
                  </a:lnTo>
                  <a:lnTo>
                    <a:pt x="298127" y="161346"/>
                  </a:lnTo>
                  <a:lnTo>
                    <a:pt x="291664" y="161346"/>
                  </a:lnTo>
                  <a:lnTo>
                    <a:pt x="288603" y="168489"/>
                  </a:lnTo>
                  <a:lnTo>
                    <a:pt x="256788" y="168489"/>
                  </a:lnTo>
                  <a:lnTo>
                    <a:pt x="213611" y="163944"/>
                  </a:lnTo>
                  <a:lnTo>
                    <a:pt x="186342" y="157127"/>
                  </a:lnTo>
                  <a:lnTo>
                    <a:pt x="165890" y="136674"/>
                  </a:lnTo>
                  <a:lnTo>
                    <a:pt x="118168" y="132129"/>
                  </a:lnTo>
                  <a:lnTo>
                    <a:pt x="68174" y="109405"/>
                  </a:lnTo>
                  <a:lnTo>
                    <a:pt x="36359" y="88952"/>
                  </a:lnTo>
                  <a:lnTo>
                    <a:pt x="0" y="70773"/>
                  </a:lnTo>
                  <a:lnTo>
                    <a:pt x="9090" y="34413"/>
                  </a:lnTo>
                  <a:lnTo>
                    <a:pt x="36359" y="11688"/>
                  </a:lnTo>
                  <a:lnTo>
                    <a:pt x="37809" y="11274"/>
                  </a:lnTo>
                  <a:lnTo>
                    <a:pt x="45883" y="454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40" name="Freeform 27">
              <a:extLst>
                <a:ext uri="{FF2B5EF4-FFF2-40B4-BE49-F238E27FC236}">
                  <a16:creationId xmlns:a16="http://schemas.microsoft.com/office/drawing/2014/main" id="{CDF13522-20D1-2D9F-79FA-694D00B7446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42065" y="2504436"/>
              <a:ext cx="513866" cy="530887"/>
            </a:xfrm>
            <a:custGeom>
              <a:avLst/>
              <a:gdLst>
                <a:gd name="connsiteX0" fmla="*/ 364030 w 1084401"/>
                <a:gd name="connsiteY0" fmla="*/ 0 h 1103951"/>
                <a:gd name="connsiteX1" fmla="*/ 400389 w 1084401"/>
                <a:gd name="connsiteY1" fmla="*/ 52267 h 1103951"/>
                <a:gd name="connsiteX2" fmla="*/ 400389 w 1084401"/>
                <a:gd name="connsiteY2" fmla="*/ 86354 h 1103951"/>
                <a:gd name="connsiteX3" fmla="*/ 411751 w 1084401"/>
                <a:gd name="connsiteY3" fmla="*/ 111351 h 1103951"/>
                <a:gd name="connsiteX4" fmla="*/ 411751 w 1084401"/>
                <a:gd name="connsiteY4" fmla="*/ 134076 h 1103951"/>
                <a:gd name="connsiteX5" fmla="*/ 402226 w 1084401"/>
                <a:gd name="connsiteY5" fmla="*/ 130901 h 1103951"/>
                <a:gd name="connsiteX6" fmla="*/ 402226 w 1084401"/>
                <a:gd name="connsiteY6" fmla="*/ 140426 h 1103951"/>
                <a:gd name="connsiteX7" fmla="*/ 392192 w 1084401"/>
                <a:gd name="connsiteY7" fmla="*/ 137081 h 1103951"/>
                <a:gd name="connsiteX8" fmla="*/ 395844 w 1084401"/>
                <a:gd name="connsiteY8" fmla="*/ 177252 h 1103951"/>
                <a:gd name="connsiteX9" fmla="*/ 434476 w 1084401"/>
                <a:gd name="connsiteY9" fmla="*/ 204522 h 1103951"/>
                <a:gd name="connsiteX10" fmla="*/ 486743 w 1084401"/>
                <a:gd name="connsiteY10" fmla="*/ 229519 h 1103951"/>
                <a:gd name="connsiteX11" fmla="*/ 459473 w 1084401"/>
                <a:gd name="connsiteY11" fmla="*/ 252244 h 1103951"/>
                <a:gd name="connsiteX12" fmla="*/ 450383 w 1084401"/>
                <a:gd name="connsiteY12" fmla="*/ 288603 h 1103951"/>
                <a:gd name="connsiteX13" fmla="*/ 482198 w 1084401"/>
                <a:gd name="connsiteY13" fmla="*/ 306783 h 1103951"/>
                <a:gd name="connsiteX14" fmla="*/ 518557 w 1084401"/>
                <a:gd name="connsiteY14" fmla="*/ 327235 h 1103951"/>
                <a:gd name="connsiteX15" fmla="*/ 568551 w 1084401"/>
                <a:gd name="connsiteY15" fmla="*/ 349960 h 1103951"/>
                <a:gd name="connsiteX16" fmla="*/ 616273 w 1084401"/>
                <a:gd name="connsiteY16" fmla="*/ 354505 h 1103951"/>
                <a:gd name="connsiteX17" fmla="*/ 636725 w 1084401"/>
                <a:gd name="connsiteY17" fmla="*/ 374957 h 1103951"/>
                <a:gd name="connsiteX18" fmla="*/ 663995 w 1084401"/>
                <a:gd name="connsiteY18" fmla="*/ 381774 h 1103951"/>
                <a:gd name="connsiteX19" fmla="*/ 713989 w 1084401"/>
                <a:gd name="connsiteY19" fmla="*/ 386319 h 1103951"/>
                <a:gd name="connsiteX20" fmla="*/ 732183 w 1084401"/>
                <a:gd name="connsiteY20" fmla="*/ 386319 h 1103951"/>
                <a:gd name="connsiteX21" fmla="*/ 736279 w 1084401"/>
                <a:gd name="connsiteY21" fmla="*/ 376762 h 1103951"/>
                <a:gd name="connsiteX22" fmla="*/ 729461 w 1084401"/>
                <a:gd name="connsiteY22" fmla="*/ 349492 h 1103951"/>
                <a:gd name="connsiteX23" fmla="*/ 736279 w 1084401"/>
                <a:gd name="connsiteY23" fmla="*/ 333585 h 1103951"/>
                <a:gd name="connsiteX24" fmla="*/ 745209 w 1084401"/>
                <a:gd name="connsiteY24" fmla="*/ 328624 h 1103951"/>
                <a:gd name="connsiteX25" fmla="*/ 745804 w 1084401"/>
                <a:gd name="connsiteY25" fmla="*/ 327235 h 1103951"/>
                <a:gd name="connsiteX26" fmla="*/ 766256 w 1084401"/>
                <a:gd name="connsiteY26" fmla="*/ 315873 h 1103951"/>
                <a:gd name="connsiteX27" fmla="*/ 773073 w 1084401"/>
                <a:gd name="connsiteY27" fmla="*/ 349960 h 1103951"/>
                <a:gd name="connsiteX28" fmla="*/ 773073 w 1084401"/>
                <a:gd name="connsiteY28" fmla="*/ 359050 h 1103951"/>
                <a:gd name="connsiteX29" fmla="*/ 804888 w 1084401"/>
                <a:gd name="connsiteY29" fmla="*/ 374957 h 1103951"/>
                <a:gd name="connsiteX30" fmla="*/ 825340 w 1084401"/>
                <a:gd name="connsiteY30" fmla="*/ 370412 h 1103951"/>
                <a:gd name="connsiteX31" fmla="*/ 857154 w 1084401"/>
                <a:gd name="connsiteY31" fmla="*/ 370412 h 1103951"/>
                <a:gd name="connsiteX32" fmla="*/ 881716 w 1084401"/>
                <a:gd name="connsiteY32" fmla="*/ 370412 h 1103951"/>
                <a:gd name="connsiteX33" fmla="*/ 881716 w 1084401"/>
                <a:gd name="connsiteY33" fmla="*/ 349492 h 1103951"/>
                <a:gd name="connsiteX34" fmla="*/ 863537 w 1084401"/>
                <a:gd name="connsiteY34" fmla="*/ 338130 h 1103951"/>
                <a:gd name="connsiteX35" fmla="*/ 879761 w 1084401"/>
                <a:gd name="connsiteY35" fmla="*/ 335967 h 1103951"/>
                <a:gd name="connsiteX36" fmla="*/ 873062 w 1084401"/>
                <a:gd name="connsiteY36" fmla="*/ 331780 h 1103951"/>
                <a:gd name="connsiteX37" fmla="*/ 903485 w 1084401"/>
                <a:gd name="connsiteY37" fmla="*/ 327724 h 1103951"/>
                <a:gd name="connsiteX38" fmla="*/ 929438 w 1084401"/>
                <a:gd name="connsiteY38" fmla="*/ 301771 h 1103951"/>
                <a:gd name="connsiteX39" fmla="*/ 938056 w 1084401"/>
                <a:gd name="connsiteY39" fmla="*/ 296328 h 1103951"/>
                <a:gd name="connsiteX40" fmla="*/ 938963 w 1084401"/>
                <a:gd name="connsiteY40" fmla="*/ 295421 h 1103951"/>
                <a:gd name="connsiteX41" fmla="*/ 982140 w 1084401"/>
                <a:gd name="connsiteY41" fmla="*/ 268151 h 1103951"/>
                <a:gd name="connsiteX42" fmla="*/ 1013955 w 1084401"/>
                <a:gd name="connsiteY42" fmla="*/ 279513 h 1103951"/>
                <a:gd name="connsiteX43" fmla="*/ 1041224 w 1084401"/>
                <a:gd name="connsiteY43" fmla="*/ 263606 h 1103951"/>
                <a:gd name="connsiteX44" fmla="*/ 1057131 w 1084401"/>
                <a:gd name="connsiteY44" fmla="*/ 288603 h 1103951"/>
                <a:gd name="connsiteX45" fmla="*/ 1045769 w 1084401"/>
                <a:gd name="connsiteY45" fmla="*/ 306783 h 1103951"/>
                <a:gd name="connsiteX46" fmla="*/ 1084401 w 1084401"/>
                <a:gd name="connsiteY46" fmla="*/ 311328 h 1103951"/>
                <a:gd name="connsiteX47" fmla="*/ 1084401 w 1084401"/>
                <a:gd name="connsiteY47" fmla="*/ 327235 h 1103951"/>
                <a:gd name="connsiteX48" fmla="*/ 1074876 w 1084401"/>
                <a:gd name="connsiteY48" fmla="*/ 331045 h 1103951"/>
                <a:gd name="connsiteX49" fmla="*/ 1074876 w 1084401"/>
                <a:gd name="connsiteY49" fmla="*/ 333585 h 1103951"/>
                <a:gd name="connsiteX50" fmla="*/ 1073436 w 1084401"/>
                <a:gd name="connsiteY50" fmla="*/ 334161 h 1103951"/>
                <a:gd name="connsiteX51" fmla="*/ 1077584 w 1084401"/>
                <a:gd name="connsiteY51" fmla="*/ 359050 h 1103951"/>
                <a:gd name="connsiteX52" fmla="*/ 1066471 w 1084401"/>
                <a:gd name="connsiteY52" fmla="*/ 355875 h 1103951"/>
                <a:gd name="connsiteX53" fmla="*/ 1068059 w 1084401"/>
                <a:gd name="connsiteY53" fmla="*/ 365400 h 1103951"/>
                <a:gd name="connsiteX54" fmla="*/ 1036898 w 1084401"/>
                <a:gd name="connsiteY54" fmla="*/ 356497 h 1103951"/>
                <a:gd name="connsiteX55" fmla="*/ 1002592 w 1084401"/>
                <a:gd name="connsiteY55" fmla="*/ 381774 h 1103951"/>
                <a:gd name="connsiteX56" fmla="*/ 1002592 w 1084401"/>
                <a:gd name="connsiteY56" fmla="*/ 402227 h 1103951"/>
                <a:gd name="connsiteX57" fmla="*/ 982140 w 1084401"/>
                <a:gd name="connsiteY57" fmla="*/ 440859 h 1103951"/>
                <a:gd name="connsiteX58" fmla="*/ 982140 w 1084401"/>
                <a:gd name="connsiteY58" fmla="*/ 456766 h 1103951"/>
                <a:gd name="connsiteX59" fmla="*/ 966233 w 1084401"/>
                <a:gd name="connsiteY59" fmla="*/ 488580 h 1103951"/>
                <a:gd name="connsiteX60" fmla="*/ 960280 w 1084401"/>
                <a:gd name="connsiteY60" fmla="*/ 487786 h 1103951"/>
                <a:gd name="connsiteX61" fmla="*/ 956708 w 1084401"/>
                <a:gd name="connsiteY61" fmla="*/ 494930 h 1103951"/>
                <a:gd name="connsiteX62" fmla="*/ 932146 w 1084401"/>
                <a:gd name="connsiteY62" fmla="*/ 491655 h 1103951"/>
                <a:gd name="connsiteX63" fmla="*/ 932146 w 1084401"/>
                <a:gd name="connsiteY63" fmla="*/ 520395 h 1103951"/>
                <a:gd name="connsiteX64" fmla="*/ 923056 w 1084401"/>
                <a:gd name="connsiteY64" fmla="*/ 536302 h 1103951"/>
                <a:gd name="connsiteX65" fmla="*/ 927601 w 1084401"/>
                <a:gd name="connsiteY65" fmla="*/ 552209 h 1103951"/>
                <a:gd name="connsiteX66" fmla="*/ 911694 w 1084401"/>
                <a:gd name="connsiteY66" fmla="*/ 563572 h 1103951"/>
                <a:gd name="connsiteX67" fmla="*/ 911575 w 1084401"/>
                <a:gd name="connsiteY67" fmla="*/ 563203 h 1103951"/>
                <a:gd name="connsiteX68" fmla="*/ 902169 w 1084401"/>
                <a:gd name="connsiteY68" fmla="*/ 569922 h 1103951"/>
                <a:gd name="connsiteX69" fmla="*/ 881716 w 1084401"/>
                <a:gd name="connsiteY69" fmla="*/ 506293 h 1103951"/>
                <a:gd name="connsiteX70" fmla="*/ 878292 w 1084401"/>
                <a:gd name="connsiteY70" fmla="*/ 506293 h 1103951"/>
                <a:gd name="connsiteX71" fmla="*/ 873062 w 1084401"/>
                <a:gd name="connsiteY71" fmla="*/ 527212 h 1103951"/>
                <a:gd name="connsiteX72" fmla="*/ 866850 w 1084401"/>
                <a:gd name="connsiteY72" fmla="*/ 520310 h 1103951"/>
                <a:gd name="connsiteX73" fmla="*/ 863537 w 1084401"/>
                <a:gd name="connsiteY73" fmla="*/ 533562 h 1103951"/>
                <a:gd name="connsiteX74" fmla="*/ 843085 w 1084401"/>
                <a:gd name="connsiteY74" fmla="*/ 510838 h 1103951"/>
                <a:gd name="connsiteX75" fmla="*/ 858992 w 1084401"/>
                <a:gd name="connsiteY75" fmla="*/ 490385 h 1103951"/>
                <a:gd name="connsiteX76" fmla="*/ 865871 w 1084401"/>
                <a:gd name="connsiteY76" fmla="*/ 487437 h 1103951"/>
                <a:gd name="connsiteX77" fmla="*/ 868517 w 1084401"/>
                <a:gd name="connsiteY77" fmla="*/ 484035 h 1103951"/>
                <a:gd name="connsiteX78" fmla="*/ 876342 w 1084401"/>
                <a:gd name="connsiteY78" fmla="*/ 480682 h 1103951"/>
                <a:gd name="connsiteX79" fmla="*/ 890806 w 1084401"/>
                <a:gd name="connsiteY79" fmla="*/ 451754 h 1103951"/>
                <a:gd name="connsiteX80" fmla="*/ 870354 w 1084401"/>
                <a:gd name="connsiteY80" fmla="*/ 447209 h 1103951"/>
                <a:gd name="connsiteX81" fmla="*/ 838540 w 1084401"/>
                <a:gd name="connsiteY81" fmla="*/ 447209 h 1103951"/>
                <a:gd name="connsiteX82" fmla="*/ 799908 w 1084401"/>
                <a:gd name="connsiteY82" fmla="*/ 440391 h 1103951"/>
                <a:gd name="connsiteX83" fmla="*/ 795363 w 1084401"/>
                <a:gd name="connsiteY83" fmla="*/ 408577 h 1103951"/>
                <a:gd name="connsiteX84" fmla="*/ 779456 w 1084401"/>
                <a:gd name="connsiteY84" fmla="*/ 408577 h 1103951"/>
                <a:gd name="connsiteX85" fmla="*/ 756529 w 1084401"/>
                <a:gd name="connsiteY85" fmla="*/ 395203 h 1103951"/>
                <a:gd name="connsiteX86" fmla="*/ 745804 w 1084401"/>
                <a:gd name="connsiteY86" fmla="*/ 413589 h 1103951"/>
                <a:gd name="connsiteX87" fmla="*/ 773073 w 1084401"/>
                <a:gd name="connsiteY87" fmla="*/ 434041 h 1103951"/>
                <a:gd name="connsiteX88" fmla="*/ 750349 w 1084401"/>
                <a:gd name="connsiteY88" fmla="*/ 449948 h 1103951"/>
                <a:gd name="connsiteX89" fmla="*/ 738986 w 1084401"/>
                <a:gd name="connsiteY89" fmla="*/ 461311 h 1103951"/>
                <a:gd name="connsiteX90" fmla="*/ 766256 w 1084401"/>
                <a:gd name="connsiteY90" fmla="*/ 477218 h 1103951"/>
                <a:gd name="connsiteX91" fmla="*/ 761711 w 1084401"/>
                <a:gd name="connsiteY91" fmla="*/ 499943 h 1103951"/>
                <a:gd name="connsiteX92" fmla="*/ 773073 w 1084401"/>
                <a:gd name="connsiteY92" fmla="*/ 531757 h 1103951"/>
                <a:gd name="connsiteX93" fmla="*/ 777618 w 1084401"/>
                <a:gd name="connsiteY93" fmla="*/ 559027 h 1103951"/>
                <a:gd name="connsiteX94" fmla="*/ 773073 w 1084401"/>
                <a:gd name="connsiteY94" fmla="*/ 574934 h 1103951"/>
                <a:gd name="connsiteX95" fmla="*/ 765362 w 1084401"/>
                <a:gd name="connsiteY95" fmla="*/ 574934 h 1103951"/>
                <a:gd name="connsiteX96" fmla="*/ 763548 w 1084401"/>
                <a:gd name="connsiteY96" fmla="*/ 581284 h 1103951"/>
                <a:gd name="connsiteX97" fmla="*/ 736279 w 1084401"/>
                <a:gd name="connsiteY97" fmla="*/ 581284 h 1103951"/>
                <a:gd name="connsiteX98" fmla="*/ 702627 w 1084401"/>
                <a:gd name="connsiteY98" fmla="*/ 590140 h 1103951"/>
                <a:gd name="connsiteX99" fmla="*/ 702627 w 1084401"/>
                <a:gd name="connsiteY99" fmla="*/ 611294 h 1103951"/>
                <a:gd name="connsiteX100" fmla="*/ 686720 w 1084401"/>
                <a:gd name="connsiteY100" fmla="*/ 634018 h 1103951"/>
                <a:gd name="connsiteX101" fmla="*/ 678905 w 1084401"/>
                <a:gd name="connsiteY101" fmla="*/ 637926 h 1103951"/>
                <a:gd name="connsiteX102" fmla="*/ 677195 w 1084401"/>
                <a:gd name="connsiteY102" fmla="*/ 640368 h 1103951"/>
                <a:gd name="connsiteX103" fmla="*/ 629557 w 1084401"/>
                <a:gd name="connsiteY103" fmla="*/ 664187 h 1103951"/>
                <a:gd name="connsiteX104" fmla="*/ 589004 w 1084401"/>
                <a:gd name="connsiteY104" fmla="*/ 709010 h 1103951"/>
                <a:gd name="connsiteX105" fmla="*/ 561734 w 1084401"/>
                <a:gd name="connsiteY105" fmla="*/ 731734 h 1103951"/>
                <a:gd name="connsiteX106" fmla="*/ 525375 w 1084401"/>
                <a:gd name="connsiteY106" fmla="*/ 756731 h 1103951"/>
                <a:gd name="connsiteX107" fmla="*/ 525375 w 1084401"/>
                <a:gd name="connsiteY107" fmla="*/ 774911 h 1103951"/>
                <a:gd name="connsiteX108" fmla="*/ 515850 w 1084401"/>
                <a:gd name="connsiteY108" fmla="*/ 780354 h 1103951"/>
                <a:gd name="connsiteX109" fmla="*/ 515850 w 1084401"/>
                <a:gd name="connsiteY109" fmla="*/ 781261 h 1103951"/>
                <a:gd name="connsiteX110" fmla="*/ 499942 w 1084401"/>
                <a:gd name="connsiteY110" fmla="*/ 790351 h 1103951"/>
                <a:gd name="connsiteX111" fmla="*/ 461310 w 1084401"/>
                <a:gd name="connsiteY111" fmla="*/ 806258 h 1103951"/>
                <a:gd name="connsiteX112" fmla="*/ 452282 w 1084401"/>
                <a:gd name="connsiteY112" fmla="*/ 806258 h 1103951"/>
                <a:gd name="connsiteX113" fmla="*/ 443566 w 1084401"/>
                <a:gd name="connsiteY113" fmla="*/ 827178 h 1103951"/>
                <a:gd name="connsiteX114" fmla="*/ 454928 w 1084401"/>
                <a:gd name="connsiteY114" fmla="*/ 874900 h 1103951"/>
                <a:gd name="connsiteX115" fmla="*/ 454928 w 1084401"/>
                <a:gd name="connsiteY115" fmla="*/ 908987 h 1103951"/>
                <a:gd name="connsiteX116" fmla="*/ 439021 w 1084401"/>
                <a:gd name="connsiteY116" fmla="*/ 945346 h 1103951"/>
                <a:gd name="connsiteX117" fmla="*/ 439021 w 1084401"/>
                <a:gd name="connsiteY117" fmla="*/ 1004430 h 1103951"/>
                <a:gd name="connsiteX118" fmla="*/ 429496 w 1084401"/>
                <a:gd name="connsiteY118" fmla="*/ 1007288 h 1103951"/>
                <a:gd name="connsiteX119" fmla="*/ 429496 w 1084401"/>
                <a:gd name="connsiteY119" fmla="*/ 1010780 h 1103951"/>
                <a:gd name="connsiteX120" fmla="*/ 413549 w 1084401"/>
                <a:gd name="connsiteY120" fmla="*/ 1015564 h 1103951"/>
                <a:gd name="connsiteX121" fmla="*/ 400389 w 1084401"/>
                <a:gd name="connsiteY121" fmla="*/ 1036245 h 1103951"/>
                <a:gd name="connsiteX122" fmla="*/ 411751 w 1084401"/>
                <a:gd name="connsiteY122" fmla="*/ 1047607 h 1103951"/>
                <a:gd name="connsiteX123" fmla="*/ 400054 w 1084401"/>
                <a:gd name="connsiteY123" fmla="*/ 1051785 h 1103951"/>
                <a:gd name="connsiteX124" fmla="*/ 402226 w 1084401"/>
                <a:gd name="connsiteY124" fmla="*/ 1053957 h 1103951"/>
                <a:gd name="connsiteX125" fmla="*/ 378494 w 1084401"/>
                <a:gd name="connsiteY125" fmla="*/ 1062433 h 1103951"/>
                <a:gd name="connsiteX126" fmla="*/ 368574 w 1084401"/>
                <a:gd name="connsiteY126" fmla="*/ 1086239 h 1103951"/>
                <a:gd name="connsiteX127" fmla="*/ 352667 w 1084401"/>
                <a:gd name="connsiteY127" fmla="*/ 1097601 h 1103951"/>
                <a:gd name="connsiteX128" fmla="*/ 352432 w 1084401"/>
                <a:gd name="connsiteY128" fmla="*/ 1097316 h 1103951"/>
                <a:gd name="connsiteX129" fmla="*/ 343142 w 1084401"/>
                <a:gd name="connsiteY129" fmla="*/ 1103951 h 1103951"/>
                <a:gd name="connsiteX130" fmla="*/ 311328 w 1084401"/>
                <a:gd name="connsiteY130" fmla="*/ 1065319 h 1103951"/>
                <a:gd name="connsiteX131" fmla="*/ 288603 w 1084401"/>
                <a:gd name="connsiteY131" fmla="*/ 1017598 h 1103951"/>
                <a:gd name="connsiteX132" fmla="*/ 279513 w 1084401"/>
                <a:gd name="connsiteY132" fmla="*/ 978966 h 1103951"/>
                <a:gd name="connsiteX133" fmla="*/ 263606 w 1084401"/>
                <a:gd name="connsiteY133" fmla="*/ 958513 h 1103951"/>
                <a:gd name="connsiteX134" fmla="*/ 245426 w 1084401"/>
                <a:gd name="connsiteY134" fmla="*/ 924426 h 1103951"/>
                <a:gd name="connsiteX135" fmla="*/ 236336 w 1084401"/>
                <a:gd name="connsiteY135" fmla="*/ 876705 h 1103951"/>
                <a:gd name="connsiteX136" fmla="*/ 229519 w 1084401"/>
                <a:gd name="connsiteY136" fmla="*/ 856252 h 1103951"/>
                <a:gd name="connsiteX137" fmla="*/ 197704 w 1084401"/>
                <a:gd name="connsiteY137" fmla="*/ 801713 h 1103951"/>
                <a:gd name="connsiteX138" fmla="*/ 181797 w 1084401"/>
                <a:gd name="connsiteY138" fmla="*/ 726722 h 1103951"/>
                <a:gd name="connsiteX139" fmla="*/ 170435 w 1084401"/>
                <a:gd name="connsiteY139" fmla="*/ 679000 h 1103951"/>
                <a:gd name="connsiteX140" fmla="*/ 170435 w 1084401"/>
                <a:gd name="connsiteY140" fmla="*/ 635823 h 1103951"/>
                <a:gd name="connsiteX141" fmla="*/ 165890 w 1084401"/>
                <a:gd name="connsiteY141" fmla="*/ 597191 h 1103951"/>
                <a:gd name="connsiteX142" fmla="*/ 111351 w 1084401"/>
                <a:gd name="connsiteY142" fmla="*/ 617644 h 1103951"/>
                <a:gd name="connsiteX143" fmla="*/ 86354 w 1084401"/>
                <a:gd name="connsiteY143" fmla="*/ 613099 h 1103951"/>
                <a:gd name="connsiteX144" fmla="*/ 36359 w 1084401"/>
                <a:gd name="connsiteY144" fmla="*/ 565377 h 1103951"/>
                <a:gd name="connsiteX145" fmla="*/ 52267 w 1084401"/>
                <a:gd name="connsiteY145" fmla="*/ 554014 h 1103951"/>
                <a:gd name="connsiteX146" fmla="*/ 43177 w 1084401"/>
                <a:gd name="connsiteY146" fmla="*/ 538107 h 1103951"/>
                <a:gd name="connsiteX147" fmla="*/ 0 w 1084401"/>
                <a:gd name="connsiteY147" fmla="*/ 499475 h 1103951"/>
                <a:gd name="connsiteX148" fmla="*/ 24997 w 1084401"/>
                <a:gd name="connsiteY148" fmla="*/ 479023 h 1103951"/>
                <a:gd name="connsiteX149" fmla="*/ 26761 w 1084401"/>
                <a:gd name="connsiteY149" fmla="*/ 479023 h 1103951"/>
                <a:gd name="connsiteX150" fmla="*/ 34522 w 1084401"/>
                <a:gd name="connsiteY150" fmla="*/ 472673 h 1103951"/>
                <a:gd name="connsiteX151" fmla="*/ 104938 w 1084401"/>
                <a:gd name="connsiteY151" fmla="*/ 472673 h 1103951"/>
                <a:gd name="connsiteX152" fmla="*/ 95444 w 1084401"/>
                <a:gd name="connsiteY152" fmla="*/ 440391 h 1103951"/>
                <a:gd name="connsiteX153" fmla="*/ 74991 w 1084401"/>
                <a:gd name="connsiteY153" fmla="*/ 419939 h 1103951"/>
                <a:gd name="connsiteX154" fmla="*/ 68174 w 1084401"/>
                <a:gd name="connsiteY154" fmla="*/ 392669 h 1103951"/>
                <a:gd name="connsiteX155" fmla="*/ 47722 w 1084401"/>
                <a:gd name="connsiteY155" fmla="*/ 372217 h 1103951"/>
                <a:gd name="connsiteX156" fmla="*/ 90899 w 1084401"/>
                <a:gd name="connsiteY156" fmla="*/ 329040 h 1103951"/>
                <a:gd name="connsiteX157" fmla="*/ 93772 w 1084401"/>
                <a:gd name="connsiteY157" fmla="*/ 329343 h 1103951"/>
                <a:gd name="connsiteX158" fmla="*/ 100424 w 1084401"/>
                <a:gd name="connsiteY158" fmla="*/ 322690 h 1103951"/>
                <a:gd name="connsiteX159" fmla="*/ 139763 w 1084401"/>
                <a:gd name="connsiteY159" fmla="*/ 326831 h 1103951"/>
                <a:gd name="connsiteX160" fmla="*/ 170435 w 1084401"/>
                <a:gd name="connsiteY160" fmla="*/ 290408 h 1103951"/>
                <a:gd name="connsiteX161" fmla="*/ 193160 w 1084401"/>
                <a:gd name="connsiteY161" fmla="*/ 247232 h 1103951"/>
                <a:gd name="connsiteX162" fmla="*/ 229519 w 1084401"/>
                <a:gd name="connsiteY162" fmla="*/ 204055 h 1103951"/>
                <a:gd name="connsiteX163" fmla="*/ 229519 w 1084401"/>
                <a:gd name="connsiteY163" fmla="*/ 172240 h 1103951"/>
                <a:gd name="connsiteX164" fmla="*/ 256789 w 1084401"/>
                <a:gd name="connsiteY164" fmla="*/ 151788 h 1103951"/>
                <a:gd name="connsiteX165" fmla="*/ 229519 w 1084401"/>
                <a:gd name="connsiteY165" fmla="*/ 124518 h 1103951"/>
                <a:gd name="connsiteX166" fmla="*/ 220429 w 1084401"/>
                <a:gd name="connsiteY166" fmla="*/ 97249 h 1103951"/>
                <a:gd name="connsiteX167" fmla="*/ 204522 w 1084401"/>
                <a:gd name="connsiteY167" fmla="*/ 58617 h 1103951"/>
                <a:gd name="connsiteX168" fmla="*/ 220429 w 1084401"/>
                <a:gd name="connsiteY168" fmla="*/ 38165 h 1103951"/>
                <a:gd name="connsiteX169" fmla="*/ 224419 w 1084401"/>
                <a:gd name="connsiteY169" fmla="*/ 38932 h 1103951"/>
                <a:gd name="connsiteX170" fmla="*/ 229954 w 1084401"/>
                <a:gd name="connsiteY170" fmla="*/ 31815 h 1103951"/>
                <a:gd name="connsiteX171" fmla="*/ 289038 w 1084401"/>
                <a:gd name="connsiteY171" fmla="*/ 43177 h 1103951"/>
                <a:gd name="connsiteX172" fmla="*/ 327610 w 1084401"/>
                <a:gd name="connsiteY172" fmla="*/ 37087 h 1103951"/>
                <a:gd name="connsiteX173" fmla="*/ 354505 w 1084401"/>
                <a:gd name="connsiteY173" fmla="*/ 6350 h 1103951"/>
                <a:gd name="connsiteX174" fmla="*/ 356263 w 1084401"/>
                <a:gd name="connsiteY174" fmla="*/ 8877 h 110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</a:cxnLst>
              <a:rect l="l" t="t" r="r" b="b"/>
              <a:pathLst>
                <a:path w="1084401" h="1103951">
                  <a:moveTo>
                    <a:pt x="364030" y="0"/>
                  </a:moveTo>
                  <a:lnTo>
                    <a:pt x="400389" y="52267"/>
                  </a:lnTo>
                  <a:lnTo>
                    <a:pt x="400389" y="86354"/>
                  </a:lnTo>
                  <a:lnTo>
                    <a:pt x="411751" y="111351"/>
                  </a:lnTo>
                  <a:lnTo>
                    <a:pt x="411751" y="134076"/>
                  </a:lnTo>
                  <a:lnTo>
                    <a:pt x="402226" y="130901"/>
                  </a:lnTo>
                  <a:lnTo>
                    <a:pt x="402226" y="140426"/>
                  </a:lnTo>
                  <a:lnTo>
                    <a:pt x="392192" y="137081"/>
                  </a:lnTo>
                  <a:lnTo>
                    <a:pt x="395844" y="177252"/>
                  </a:lnTo>
                  <a:lnTo>
                    <a:pt x="434476" y="204522"/>
                  </a:lnTo>
                  <a:lnTo>
                    <a:pt x="486743" y="229519"/>
                  </a:lnTo>
                  <a:lnTo>
                    <a:pt x="459473" y="252244"/>
                  </a:lnTo>
                  <a:lnTo>
                    <a:pt x="450383" y="288603"/>
                  </a:lnTo>
                  <a:lnTo>
                    <a:pt x="482198" y="306783"/>
                  </a:lnTo>
                  <a:lnTo>
                    <a:pt x="518557" y="327235"/>
                  </a:lnTo>
                  <a:lnTo>
                    <a:pt x="568551" y="349960"/>
                  </a:lnTo>
                  <a:lnTo>
                    <a:pt x="616273" y="354505"/>
                  </a:lnTo>
                  <a:lnTo>
                    <a:pt x="636725" y="374957"/>
                  </a:lnTo>
                  <a:lnTo>
                    <a:pt x="663995" y="381774"/>
                  </a:lnTo>
                  <a:lnTo>
                    <a:pt x="713989" y="386319"/>
                  </a:lnTo>
                  <a:lnTo>
                    <a:pt x="732183" y="386319"/>
                  </a:lnTo>
                  <a:lnTo>
                    <a:pt x="736279" y="376762"/>
                  </a:lnTo>
                  <a:lnTo>
                    <a:pt x="729461" y="349492"/>
                  </a:lnTo>
                  <a:lnTo>
                    <a:pt x="736279" y="333585"/>
                  </a:lnTo>
                  <a:lnTo>
                    <a:pt x="745209" y="328624"/>
                  </a:lnTo>
                  <a:lnTo>
                    <a:pt x="745804" y="327235"/>
                  </a:lnTo>
                  <a:lnTo>
                    <a:pt x="766256" y="315873"/>
                  </a:lnTo>
                  <a:lnTo>
                    <a:pt x="773073" y="349960"/>
                  </a:lnTo>
                  <a:lnTo>
                    <a:pt x="773073" y="359050"/>
                  </a:lnTo>
                  <a:lnTo>
                    <a:pt x="804888" y="374957"/>
                  </a:lnTo>
                  <a:lnTo>
                    <a:pt x="825340" y="370412"/>
                  </a:lnTo>
                  <a:lnTo>
                    <a:pt x="857154" y="370412"/>
                  </a:lnTo>
                  <a:lnTo>
                    <a:pt x="881716" y="370412"/>
                  </a:lnTo>
                  <a:lnTo>
                    <a:pt x="881716" y="349492"/>
                  </a:lnTo>
                  <a:lnTo>
                    <a:pt x="863537" y="338130"/>
                  </a:lnTo>
                  <a:lnTo>
                    <a:pt x="879761" y="335967"/>
                  </a:lnTo>
                  <a:lnTo>
                    <a:pt x="873062" y="331780"/>
                  </a:lnTo>
                  <a:lnTo>
                    <a:pt x="903485" y="327724"/>
                  </a:lnTo>
                  <a:lnTo>
                    <a:pt x="929438" y="301771"/>
                  </a:lnTo>
                  <a:lnTo>
                    <a:pt x="938056" y="296328"/>
                  </a:lnTo>
                  <a:lnTo>
                    <a:pt x="938963" y="295421"/>
                  </a:lnTo>
                  <a:lnTo>
                    <a:pt x="982140" y="268151"/>
                  </a:lnTo>
                  <a:lnTo>
                    <a:pt x="1013955" y="279513"/>
                  </a:lnTo>
                  <a:lnTo>
                    <a:pt x="1041224" y="263606"/>
                  </a:lnTo>
                  <a:lnTo>
                    <a:pt x="1057131" y="288603"/>
                  </a:lnTo>
                  <a:lnTo>
                    <a:pt x="1045769" y="306783"/>
                  </a:lnTo>
                  <a:lnTo>
                    <a:pt x="1084401" y="311328"/>
                  </a:lnTo>
                  <a:lnTo>
                    <a:pt x="1084401" y="327235"/>
                  </a:lnTo>
                  <a:lnTo>
                    <a:pt x="1074876" y="331045"/>
                  </a:lnTo>
                  <a:lnTo>
                    <a:pt x="1074876" y="333585"/>
                  </a:lnTo>
                  <a:lnTo>
                    <a:pt x="1073436" y="334161"/>
                  </a:lnTo>
                  <a:lnTo>
                    <a:pt x="1077584" y="359050"/>
                  </a:lnTo>
                  <a:lnTo>
                    <a:pt x="1066471" y="355875"/>
                  </a:lnTo>
                  <a:lnTo>
                    <a:pt x="1068059" y="365400"/>
                  </a:lnTo>
                  <a:lnTo>
                    <a:pt x="1036898" y="356497"/>
                  </a:lnTo>
                  <a:lnTo>
                    <a:pt x="1002592" y="381774"/>
                  </a:lnTo>
                  <a:lnTo>
                    <a:pt x="1002592" y="402227"/>
                  </a:lnTo>
                  <a:lnTo>
                    <a:pt x="982140" y="440859"/>
                  </a:lnTo>
                  <a:lnTo>
                    <a:pt x="982140" y="456766"/>
                  </a:lnTo>
                  <a:lnTo>
                    <a:pt x="966233" y="488580"/>
                  </a:lnTo>
                  <a:lnTo>
                    <a:pt x="960280" y="487786"/>
                  </a:lnTo>
                  <a:lnTo>
                    <a:pt x="956708" y="494930"/>
                  </a:lnTo>
                  <a:lnTo>
                    <a:pt x="932146" y="491655"/>
                  </a:lnTo>
                  <a:lnTo>
                    <a:pt x="932146" y="520395"/>
                  </a:lnTo>
                  <a:lnTo>
                    <a:pt x="923056" y="536302"/>
                  </a:lnTo>
                  <a:lnTo>
                    <a:pt x="927601" y="552209"/>
                  </a:lnTo>
                  <a:lnTo>
                    <a:pt x="911694" y="563572"/>
                  </a:lnTo>
                  <a:lnTo>
                    <a:pt x="911575" y="563203"/>
                  </a:lnTo>
                  <a:lnTo>
                    <a:pt x="902169" y="569922"/>
                  </a:lnTo>
                  <a:lnTo>
                    <a:pt x="881716" y="506293"/>
                  </a:lnTo>
                  <a:lnTo>
                    <a:pt x="878292" y="506293"/>
                  </a:lnTo>
                  <a:lnTo>
                    <a:pt x="873062" y="527212"/>
                  </a:lnTo>
                  <a:lnTo>
                    <a:pt x="866850" y="520310"/>
                  </a:lnTo>
                  <a:lnTo>
                    <a:pt x="863537" y="533562"/>
                  </a:lnTo>
                  <a:lnTo>
                    <a:pt x="843085" y="510838"/>
                  </a:lnTo>
                  <a:lnTo>
                    <a:pt x="858992" y="490385"/>
                  </a:lnTo>
                  <a:lnTo>
                    <a:pt x="865871" y="487437"/>
                  </a:lnTo>
                  <a:lnTo>
                    <a:pt x="868517" y="484035"/>
                  </a:lnTo>
                  <a:lnTo>
                    <a:pt x="876342" y="480682"/>
                  </a:lnTo>
                  <a:lnTo>
                    <a:pt x="890806" y="451754"/>
                  </a:lnTo>
                  <a:lnTo>
                    <a:pt x="870354" y="447209"/>
                  </a:lnTo>
                  <a:lnTo>
                    <a:pt x="838540" y="447209"/>
                  </a:lnTo>
                  <a:lnTo>
                    <a:pt x="799908" y="440391"/>
                  </a:lnTo>
                  <a:lnTo>
                    <a:pt x="795363" y="408577"/>
                  </a:lnTo>
                  <a:lnTo>
                    <a:pt x="779456" y="408577"/>
                  </a:lnTo>
                  <a:lnTo>
                    <a:pt x="756529" y="395203"/>
                  </a:lnTo>
                  <a:lnTo>
                    <a:pt x="745804" y="413589"/>
                  </a:lnTo>
                  <a:lnTo>
                    <a:pt x="773073" y="434041"/>
                  </a:lnTo>
                  <a:lnTo>
                    <a:pt x="750349" y="449948"/>
                  </a:lnTo>
                  <a:lnTo>
                    <a:pt x="738986" y="461311"/>
                  </a:lnTo>
                  <a:lnTo>
                    <a:pt x="766256" y="477218"/>
                  </a:lnTo>
                  <a:lnTo>
                    <a:pt x="761711" y="499943"/>
                  </a:lnTo>
                  <a:lnTo>
                    <a:pt x="773073" y="531757"/>
                  </a:lnTo>
                  <a:lnTo>
                    <a:pt x="777618" y="559027"/>
                  </a:lnTo>
                  <a:lnTo>
                    <a:pt x="773073" y="574934"/>
                  </a:lnTo>
                  <a:lnTo>
                    <a:pt x="765362" y="574934"/>
                  </a:lnTo>
                  <a:lnTo>
                    <a:pt x="763548" y="581284"/>
                  </a:lnTo>
                  <a:lnTo>
                    <a:pt x="736279" y="581284"/>
                  </a:lnTo>
                  <a:lnTo>
                    <a:pt x="702627" y="590140"/>
                  </a:lnTo>
                  <a:lnTo>
                    <a:pt x="702627" y="611294"/>
                  </a:lnTo>
                  <a:lnTo>
                    <a:pt x="686720" y="634018"/>
                  </a:lnTo>
                  <a:lnTo>
                    <a:pt x="678905" y="637926"/>
                  </a:lnTo>
                  <a:lnTo>
                    <a:pt x="677195" y="640368"/>
                  </a:lnTo>
                  <a:lnTo>
                    <a:pt x="629557" y="664187"/>
                  </a:lnTo>
                  <a:lnTo>
                    <a:pt x="589004" y="709010"/>
                  </a:lnTo>
                  <a:lnTo>
                    <a:pt x="561734" y="731734"/>
                  </a:lnTo>
                  <a:lnTo>
                    <a:pt x="525375" y="756731"/>
                  </a:lnTo>
                  <a:lnTo>
                    <a:pt x="525375" y="774911"/>
                  </a:lnTo>
                  <a:lnTo>
                    <a:pt x="515850" y="780354"/>
                  </a:lnTo>
                  <a:lnTo>
                    <a:pt x="515850" y="781261"/>
                  </a:lnTo>
                  <a:lnTo>
                    <a:pt x="499942" y="790351"/>
                  </a:lnTo>
                  <a:lnTo>
                    <a:pt x="461310" y="806258"/>
                  </a:lnTo>
                  <a:lnTo>
                    <a:pt x="452282" y="806258"/>
                  </a:lnTo>
                  <a:lnTo>
                    <a:pt x="443566" y="827178"/>
                  </a:lnTo>
                  <a:lnTo>
                    <a:pt x="454928" y="874900"/>
                  </a:lnTo>
                  <a:lnTo>
                    <a:pt x="454928" y="908987"/>
                  </a:lnTo>
                  <a:lnTo>
                    <a:pt x="439021" y="945346"/>
                  </a:lnTo>
                  <a:lnTo>
                    <a:pt x="439021" y="1004430"/>
                  </a:lnTo>
                  <a:lnTo>
                    <a:pt x="429496" y="1007288"/>
                  </a:lnTo>
                  <a:lnTo>
                    <a:pt x="429496" y="1010780"/>
                  </a:lnTo>
                  <a:lnTo>
                    <a:pt x="413549" y="1015564"/>
                  </a:lnTo>
                  <a:lnTo>
                    <a:pt x="400389" y="1036245"/>
                  </a:lnTo>
                  <a:lnTo>
                    <a:pt x="411751" y="1047607"/>
                  </a:lnTo>
                  <a:lnTo>
                    <a:pt x="400054" y="1051785"/>
                  </a:lnTo>
                  <a:lnTo>
                    <a:pt x="402226" y="1053957"/>
                  </a:lnTo>
                  <a:lnTo>
                    <a:pt x="378494" y="1062433"/>
                  </a:lnTo>
                  <a:lnTo>
                    <a:pt x="368574" y="1086239"/>
                  </a:lnTo>
                  <a:lnTo>
                    <a:pt x="352667" y="1097601"/>
                  </a:lnTo>
                  <a:lnTo>
                    <a:pt x="352432" y="1097316"/>
                  </a:lnTo>
                  <a:lnTo>
                    <a:pt x="343142" y="1103951"/>
                  </a:lnTo>
                  <a:lnTo>
                    <a:pt x="311328" y="1065319"/>
                  </a:lnTo>
                  <a:lnTo>
                    <a:pt x="288603" y="1017598"/>
                  </a:lnTo>
                  <a:lnTo>
                    <a:pt x="279513" y="978966"/>
                  </a:lnTo>
                  <a:lnTo>
                    <a:pt x="263606" y="958513"/>
                  </a:lnTo>
                  <a:lnTo>
                    <a:pt x="245426" y="924426"/>
                  </a:lnTo>
                  <a:lnTo>
                    <a:pt x="236336" y="876705"/>
                  </a:lnTo>
                  <a:lnTo>
                    <a:pt x="229519" y="856252"/>
                  </a:lnTo>
                  <a:lnTo>
                    <a:pt x="197704" y="801713"/>
                  </a:lnTo>
                  <a:lnTo>
                    <a:pt x="181797" y="726722"/>
                  </a:lnTo>
                  <a:lnTo>
                    <a:pt x="170435" y="679000"/>
                  </a:lnTo>
                  <a:lnTo>
                    <a:pt x="170435" y="635823"/>
                  </a:lnTo>
                  <a:lnTo>
                    <a:pt x="165890" y="597191"/>
                  </a:lnTo>
                  <a:lnTo>
                    <a:pt x="111351" y="617644"/>
                  </a:lnTo>
                  <a:lnTo>
                    <a:pt x="86354" y="613099"/>
                  </a:lnTo>
                  <a:lnTo>
                    <a:pt x="36359" y="565377"/>
                  </a:lnTo>
                  <a:lnTo>
                    <a:pt x="52267" y="554014"/>
                  </a:lnTo>
                  <a:lnTo>
                    <a:pt x="43177" y="538107"/>
                  </a:lnTo>
                  <a:lnTo>
                    <a:pt x="0" y="499475"/>
                  </a:lnTo>
                  <a:lnTo>
                    <a:pt x="24997" y="479023"/>
                  </a:lnTo>
                  <a:lnTo>
                    <a:pt x="26761" y="479023"/>
                  </a:lnTo>
                  <a:lnTo>
                    <a:pt x="34522" y="472673"/>
                  </a:lnTo>
                  <a:lnTo>
                    <a:pt x="104938" y="472673"/>
                  </a:lnTo>
                  <a:lnTo>
                    <a:pt x="95444" y="440391"/>
                  </a:lnTo>
                  <a:lnTo>
                    <a:pt x="74991" y="419939"/>
                  </a:lnTo>
                  <a:lnTo>
                    <a:pt x="68174" y="392669"/>
                  </a:lnTo>
                  <a:lnTo>
                    <a:pt x="47722" y="372217"/>
                  </a:lnTo>
                  <a:lnTo>
                    <a:pt x="90899" y="329040"/>
                  </a:lnTo>
                  <a:lnTo>
                    <a:pt x="93772" y="329343"/>
                  </a:lnTo>
                  <a:lnTo>
                    <a:pt x="100424" y="322690"/>
                  </a:lnTo>
                  <a:lnTo>
                    <a:pt x="139763" y="326831"/>
                  </a:lnTo>
                  <a:lnTo>
                    <a:pt x="170435" y="290408"/>
                  </a:lnTo>
                  <a:lnTo>
                    <a:pt x="193160" y="247232"/>
                  </a:lnTo>
                  <a:lnTo>
                    <a:pt x="229519" y="204055"/>
                  </a:lnTo>
                  <a:lnTo>
                    <a:pt x="229519" y="172240"/>
                  </a:lnTo>
                  <a:lnTo>
                    <a:pt x="256789" y="151788"/>
                  </a:lnTo>
                  <a:lnTo>
                    <a:pt x="229519" y="124518"/>
                  </a:lnTo>
                  <a:lnTo>
                    <a:pt x="220429" y="97249"/>
                  </a:lnTo>
                  <a:lnTo>
                    <a:pt x="204522" y="58617"/>
                  </a:lnTo>
                  <a:lnTo>
                    <a:pt x="220429" y="38165"/>
                  </a:lnTo>
                  <a:lnTo>
                    <a:pt x="224419" y="38932"/>
                  </a:lnTo>
                  <a:lnTo>
                    <a:pt x="229954" y="31815"/>
                  </a:lnTo>
                  <a:lnTo>
                    <a:pt x="289038" y="43177"/>
                  </a:lnTo>
                  <a:lnTo>
                    <a:pt x="327610" y="37087"/>
                  </a:lnTo>
                  <a:lnTo>
                    <a:pt x="354505" y="6350"/>
                  </a:lnTo>
                  <a:lnTo>
                    <a:pt x="356263" y="887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41" name="Freeform 28">
              <a:extLst>
                <a:ext uri="{FF2B5EF4-FFF2-40B4-BE49-F238E27FC236}">
                  <a16:creationId xmlns:a16="http://schemas.microsoft.com/office/drawing/2014/main" id="{70D33E7F-4833-8270-C46F-50523A763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53468" y="2702065"/>
              <a:ext cx="86253" cy="72231"/>
            </a:xfrm>
            <a:custGeom>
              <a:avLst/>
              <a:gdLst>
                <a:gd name="connsiteX0" fmla="*/ 168162 w 182014"/>
                <a:gd name="connsiteY0" fmla="*/ 0 h 150200"/>
                <a:gd name="connsiteX1" fmla="*/ 170781 w 182014"/>
                <a:gd name="connsiteY1" fmla="*/ 6548 h 150200"/>
                <a:gd name="connsiteX2" fmla="*/ 172924 w 182014"/>
                <a:gd name="connsiteY2" fmla="*/ 4762 h 150200"/>
                <a:gd name="connsiteX3" fmla="*/ 177469 w 182014"/>
                <a:gd name="connsiteY3" fmla="*/ 16125 h 150200"/>
                <a:gd name="connsiteX4" fmla="*/ 182014 w 182014"/>
                <a:gd name="connsiteY4" fmla="*/ 47939 h 150200"/>
                <a:gd name="connsiteX5" fmla="*/ 161562 w 182014"/>
                <a:gd name="connsiteY5" fmla="*/ 47939 h 150200"/>
                <a:gd name="connsiteX6" fmla="*/ 161562 w 182014"/>
                <a:gd name="connsiteY6" fmla="*/ 75209 h 150200"/>
                <a:gd name="connsiteX7" fmla="*/ 166107 w 182014"/>
                <a:gd name="connsiteY7" fmla="*/ 79754 h 150200"/>
                <a:gd name="connsiteX8" fmla="*/ 150200 w 182014"/>
                <a:gd name="connsiteY8" fmla="*/ 91116 h 150200"/>
                <a:gd name="connsiteX9" fmla="*/ 150200 w 182014"/>
                <a:gd name="connsiteY9" fmla="*/ 107023 h 150200"/>
                <a:gd name="connsiteX10" fmla="*/ 141110 w 182014"/>
                <a:gd name="connsiteY10" fmla="*/ 122931 h 150200"/>
                <a:gd name="connsiteX11" fmla="*/ 134293 w 182014"/>
                <a:gd name="connsiteY11" fmla="*/ 138838 h 150200"/>
                <a:gd name="connsiteX12" fmla="*/ 129748 w 182014"/>
                <a:gd name="connsiteY12" fmla="*/ 150200 h 150200"/>
                <a:gd name="connsiteX13" fmla="*/ 20669 w 182014"/>
                <a:gd name="connsiteY13" fmla="*/ 129748 h 150200"/>
                <a:gd name="connsiteX14" fmla="*/ 19138 w 182014"/>
                <a:gd name="connsiteY14" fmla="*/ 125592 h 150200"/>
                <a:gd name="connsiteX15" fmla="*/ 15907 w 182014"/>
                <a:gd name="connsiteY15" fmla="*/ 124986 h 150200"/>
                <a:gd name="connsiteX16" fmla="*/ 0 w 182014"/>
                <a:gd name="connsiteY16" fmla="*/ 81809 h 150200"/>
                <a:gd name="connsiteX17" fmla="*/ 0 w 182014"/>
                <a:gd name="connsiteY17" fmla="*/ 70447 h 150200"/>
                <a:gd name="connsiteX18" fmla="*/ 6818 w 182014"/>
                <a:gd name="connsiteY18" fmla="*/ 70447 h 150200"/>
                <a:gd name="connsiteX19" fmla="*/ 6818 w 182014"/>
                <a:gd name="connsiteY19" fmla="*/ 75209 h 150200"/>
                <a:gd name="connsiteX20" fmla="*/ 11580 w 182014"/>
                <a:gd name="connsiteY20" fmla="*/ 75209 h 150200"/>
                <a:gd name="connsiteX21" fmla="*/ 11580 w 182014"/>
                <a:gd name="connsiteY21" fmla="*/ 80789 h 150200"/>
                <a:gd name="connsiteX22" fmla="*/ 38632 w 182014"/>
                <a:gd name="connsiteY22" fmla="*/ 74992 h 150200"/>
                <a:gd name="connsiteX23" fmla="*/ 65902 w 182014"/>
                <a:gd name="connsiteY23" fmla="*/ 74992 h 150200"/>
                <a:gd name="connsiteX24" fmla="*/ 86354 w 182014"/>
                <a:gd name="connsiteY24" fmla="*/ 74992 h 150200"/>
                <a:gd name="connsiteX25" fmla="*/ 113623 w 182014"/>
                <a:gd name="connsiteY25" fmla="*/ 47722 h 150200"/>
                <a:gd name="connsiteX26" fmla="*/ 140893 w 182014"/>
                <a:gd name="connsiteY26" fmla="*/ 22725 h 15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82014" h="150200">
                  <a:moveTo>
                    <a:pt x="168162" y="0"/>
                  </a:moveTo>
                  <a:lnTo>
                    <a:pt x="170781" y="6548"/>
                  </a:lnTo>
                  <a:lnTo>
                    <a:pt x="172924" y="4762"/>
                  </a:lnTo>
                  <a:lnTo>
                    <a:pt x="177469" y="16125"/>
                  </a:lnTo>
                  <a:lnTo>
                    <a:pt x="182014" y="47939"/>
                  </a:lnTo>
                  <a:lnTo>
                    <a:pt x="161562" y="47939"/>
                  </a:lnTo>
                  <a:lnTo>
                    <a:pt x="161562" y="75209"/>
                  </a:lnTo>
                  <a:lnTo>
                    <a:pt x="166107" y="79754"/>
                  </a:lnTo>
                  <a:lnTo>
                    <a:pt x="150200" y="91116"/>
                  </a:lnTo>
                  <a:lnTo>
                    <a:pt x="150200" y="107023"/>
                  </a:lnTo>
                  <a:lnTo>
                    <a:pt x="141110" y="122931"/>
                  </a:lnTo>
                  <a:lnTo>
                    <a:pt x="134293" y="138838"/>
                  </a:lnTo>
                  <a:lnTo>
                    <a:pt x="129748" y="150200"/>
                  </a:lnTo>
                  <a:lnTo>
                    <a:pt x="20669" y="129748"/>
                  </a:lnTo>
                  <a:lnTo>
                    <a:pt x="19138" y="125592"/>
                  </a:lnTo>
                  <a:lnTo>
                    <a:pt x="15907" y="124986"/>
                  </a:lnTo>
                  <a:lnTo>
                    <a:pt x="0" y="81809"/>
                  </a:lnTo>
                  <a:lnTo>
                    <a:pt x="0" y="70447"/>
                  </a:lnTo>
                  <a:lnTo>
                    <a:pt x="6818" y="70447"/>
                  </a:lnTo>
                  <a:lnTo>
                    <a:pt x="6818" y="75209"/>
                  </a:lnTo>
                  <a:lnTo>
                    <a:pt x="11580" y="75209"/>
                  </a:lnTo>
                  <a:lnTo>
                    <a:pt x="11580" y="80789"/>
                  </a:lnTo>
                  <a:lnTo>
                    <a:pt x="38632" y="74992"/>
                  </a:lnTo>
                  <a:lnTo>
                    <a:pt x="65902" y="74992"/>
                  </a:lnTo>
                  <a:lnTo>
                    <a:pt x="86354" y="74992"/>
                  </a:lnTo>
                  <a:lnTo>
                    <a:pt x="113623" y="47722"/>
                  </a:lnTo>
                  <a:lnTo>
                    <a:pt x="140893" y="2272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42" name="Freeform 241">
              <a:extLst>
                <a:ext uri="{FF2B5EF4-FFF2-40B4-BE49-F238E27FC236}">
                  <a16:creationId xmlns:a16="http://schemas.microsoft.com/office/drawing/2014/main" id="{0B8FEF16-E346-D7AF-A78E-CC5E012058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1005" y="2694414"/>
              <a:ext cx="135684" cy="186873"/>
            </a:xfrm>
            <a:custGeom>
              <a:avLst/>
              <a:gdLst>
                <a:gd name="T0" fmla="*/ 109 w 126"/>
                <a:gd name="T1" fmla="*/ 95 h 171"/>
                <a:gd name="T2" fmla="*/ 109 w 126"/>
                <a:gd name="T3" fmla="*/ 95 h 171"/>
                <a:gd name="T4" fmla="*/ 105 w 126"/>
                <a:gd name="T5" fmla="*/ 107 h 171"/>
                <a:gd name="T6" fmla="*/ 97 w 126"/>
                <a:gd name="T7" fmla="*/ 104 h 171"/>
                <a:gd name="T8" fmla="*/ 93 w 126"/>
                <a:gd name="T9" fmla="*/ 109 h 171"/>
                <a:gd name="T10" fmla="*/ 90 w 126"/>
                <a:gd name="T11" fmla="*/ 118 h 171"/>
                <a:gd name="T12" fmla="*/ 93 w 126"/>
                <a:gd name="T13" fmla="*/ 128 h 171"/>
                <a:gd name="T14" fmla="*/ 90 w 126"/>
                <a:gd name="T15" fmla="*/ 130 h 171"/>
                <a:gd name="T16" fmla="*/ 83 w 126"/>
                <a:gd name="T17" fmla="*/ 130 h 171"/>
                <a:gd name="T18" fmla="*/ 74 w 126"/>
                <a:gd name="T19" fmla="*/ 137 h 171"/>
                <a:gd name="T20" fmla="*/ 71 w 126"/>
                <a:gd name="T21" fmla="*/ 147 h 171"/>
                <a:gd name="T22" fmla="*/ 69 w 126"/>
                <a:gd name="T23" fmla="*/ 149 h 171"/>
                <a:gd name="T24" fmla="*/ 60 w 126"/>
                <a:gd name="T25" fmla="*/ 149 h 171"/>
                <a:gd name="T26" fmla="*/ 53 w 126"/>
                <a:gd name="T27" fmla="*/ 154 h 171"/>
                <a:gd name="T28" fmla="*/ 53 w 126"/>
                <a:gd name="T29" fmla="*/ 161 h 171"/>
                <a:gd name="T30" fmla="*/ 45 w 126"/>
                <a:gd name="T31" fmla="*/ 166 h 171"/>
                <a:gd name="T32" fmla="*/ 36 w 126"/>
                <a:gd name="T33" fmla="*/ 163 h 171"/>
                <a:gd name="T34" fmla="*/ 24 w 126"/>
                <a:gd name="T35" fmla="*/ 168 h 171"/>
                <a:gd name="T36" fmla="*/ 17 w 126"/>
                <a:gd name="T37" fmla="*/ 171 h 171"/>
                <a:gd name="T38" fmla="*/ 12 w 126"/>
                <a:gd name="T39" fmla="*/ 159 h 171"/>
                <a:gd name="T40" fmla="*/ 0 w 126"/>
                <a:gd name="T41" fmla="*/ 130 h 171"/>
                <a:gd name="T42" fmla="*/ 48 w 126"/>
                <a:gd name="T43" fmla="*/ 114 h 171"/>
                <a:gd name="T44" fmla="*/ 60 w 126"/>
                <a:gd name="T45" fmla="*/ 78 h 171"/>
                <a:gd name="T46" fmla="*/ 50 w 126"/>
                <a:gd name="T47" fmla="*/ 66 h 171"/>
                <a:gd name="T48" fmla="*/ 53 w 126"/>
                <a:gd name="T49" fmla="*/ 59 h 171"/>
                <a:gd name="T50" fmla="*/ 57 w 126"/>
                <a:gd name="T51" fmla="*/ 52 h 171"/>
                <a:gd name="T52" fmla="*/ 57 w 126"/>
                <a:gd name="T53" fmla="*/ 45 h 171"/>
                <a:gd name="T54" fmla="*/ 62 w 126"/>
                <a:gd name="T55" fmla="*/ 40 h 171"/>
                <a:gd name="T56" fmla="*/ 60 w 126"/>
                <a:gd name="T57" fmla="*/ 38 h 171"/>
                <a:gd name="T58" fmla="*/ 62 w 126"/>
                <a:gd name="T59" fmla="*/ 28 h 171"/>
                <a:gd name="T60" fmla="*/ 69 w 126"/>
                <a:gd name="T61" fmla="*/ 28 h 171"/>
                <a:gd name="T62" fmla="*/ 79 w 126"/>
                <a:gd name="T63" fmla="*/ 40 h 171"/>
                <a:gd name="T64" fmla="*/ 86 w 126"/>
                <a:gd name="T65" fmla="*/ 45 h 171"/>
                <a:gd name="T66" fmla="*/ 97 w 126"/>
                <a:gd name="T67" fmla="*/ 47 h 171"/>
                <a:gd name="T68" fmla="*/ 107 w 126"/>
                <a:gd name="T69" fmla="*/ 52 h 171"/>
                <a:gd name="T70" fmla="*/ 114 w 126"/>
                <a:gd name="T71" fmla="*/ 62 h 171"/>
                <a:gd name="T72" fmla="*/ 119 w 126"/>
                <a:gd name="T73" fmla="*/ 66 h 171"/>
                <a:gd name="T74" fmla="*/ 126 w 126"/>
                <a:gd name="T75" fmla="*/ 69 h 171"/>
                <a:gd name="T76" fmla="*/ 126 w 126"/>
                <a:gd name="T77" fmla="*/ 73 h 171"/>
                <a:gd name="T78" fmla="*/ 119 w 126"/>
                <a:gd name="T79" fmla="*/ 83 h 171"/>
                <a:gd name="T80" fmla="*/ 116 w 126"/>
                <a:gd name="T81" fmla="*/ 88 h 171"/>
                <a:gd name="T82" fmla="*/ 109 w 126"/>
                <a:gd name="T83" fmla="*/ 95 h 171"/>
                <a:gd name="T84" fmla="*/ 69 w 126"/>
                <a:gd name="T85" fmla="*/ 10 h 171"/>
                <a:gd name="T86" fmla="*/ 69 w 126"/>
                <a:gd name="T87" fmla="*/ 10 h 171"/>
                <a:gd name="T88" fmla="*/ 67 w 126"/>
                <a:gd name="T89" fmla="*/ 12 h 171"/>
                <a:gd name="T90" fmla="*/ 64 w 126"/>
                <a:gd name="T91" fmla="*/ 7 h 171"/>
                <a:gd name="T92" fmla="*/ 69 w 126"/>
                <a:gd name="T93" fmla="*/ 0 h 171"/>
                <a:gd name="T94" fmla="*/ 71 w 126"/>
                <a:gd name="T95" fmla="*/ 2 h 171"/>
                <a:gd name="T96" fmla="*/ 69 w 126"/>
                <a:gd name="T97" fmla="*/ 1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6" h="171">
                  <a:moveTo>
                    <a:pt x="109" y="95"/>
                  </a:moveTo>
                  <a:lnTo>
                    <a:pt x="109" y="95"/>
                  </a:lnTo>
                  <a:lnTo>
                    <a:pt x="105" y="107"/>
                  </a:lnTo>
                  <a:lnTo>
                    <a:pt x="97" y="104"/>
                  </a:lnTo>
                  <a:lnTo>
                    <a:pt x="93" y="109"/>
                  </a:lnTo>
                  <a:lnTo>
                    <a:pt x="90" y="118"/>
                  </a:lnTo>
                  <a:lnTo>
                    <a:pt x="93" y="128"/>
                  </a:lnTo>
                  <a:lnTo>
                    <a:pt x="90" y="130"/>
                  </a:lnTo>
                  <a:lnTo>
                    <a:pt x="83" y="130"/>
                  </a:lnTo>
                  <a:lnTo>
                    <a:pt x="74" y="137"/>
                  </a:lnTo>
                  <a:lnTo>
                    <a:pt x="71" y="147"/>
                  </a:lnTo>
                  <a:lnTo>
                    <a:pt x="69" y="149"/>
                  </a:lnTo>
                  <a:lnTo>
                    <a:pt x="60" y="149"/>
                  </a:lnTo>
                  <a:lnTo>
                    <a:pt x="53" y="154"/>
                  </a:lnTo>
                  <a:lnTo>
                    <a:pt x="53" y="161"/>
                  </a:lnTo>
                  <a:lnTo>
                    <a:pt x="45" y="166"/>
                  </a:lnTo>
                  <a:lnTo>
                    <a:pt x="36" y="163"/>
                  </a:lnTo>
                  <a:lnTo>
                    <a:pt x="24" y="168"/>
                  </a:lnTo>
                  <a:lnTo>
                    <a:pt x="17" y="171"/>
                  </a:lnTo>
                  <a:lnTo>
                    <a:pt x="12" y="159"/>
                  </a:lnTo>
                  <a:lnTo>
                    <a:pt x="0" y="130"/>
                  </a:lnTo>
                  <a:lnTo>
                    <a:pt x="48" y="114"/>
                  </a:lnTo>
                  <a:lnTo>
                    <a:pt x="60" y="78"/>
                  </a:lnTo>
                  <a:lnTo>
                    <a:pt x="50" y="66"/>
                  </a:lnTo>
                  <a:lnTo>
                    <a:pt x="53" y="59"/>
                  </a:lnTo>
                  <a:lnTo>
                    <a:pt x="57" y="52"/>
                  </a:lnTo>
                  <a:lnTo>
                    <a:pt x="57" y="45"/>
                  </a:lnTo>
                  <a:lnTo>
                    <a:pt x="62" y="40"/>
                  </a:lnTo>
                  <a:lnTo>
                    <a:pt x="60" y="38"/>
                  </a:lnTo>
                  <a:lnTo>
                    <a:pt x="62" y="28"/>
                  </a:lnTo>
                  <a:lnTo>
                    <a:pt x="69" y="28"/>
                  </a:lnTo>
                  <a:lnTo>
                    <a:pt x="79" y="40"/>
                  </a:lnTo>
                  <a:lnTo>
                    <a:pt x="86" y="45"/>
                  </a:lnTo>
                  <a:lnTo>
                    <a:pt x="97" y="47"/>
                  </a:lnTo>
                  <a:lnTo>
                    <a:pt x="107" y="52"/>
                  </a:lnTo>
                  <a:lnTo>
                    <a:pt x="114" y="62"/>
                  </a:lnTo>
                  <a:lnTo>
                    <a:pt x="119" y="66"/>
                  </a:lnTo>
                  <a:lnTo>
                    <a:pt x="126" y="69"/>
                  </a:lnTo>
                  <a:lnTo>
                    <a:pt x="126" y="73"/>
                  </a:lnTo>
                  <a:lnTo>
                    <a:pt x="119" y="83"/>
                  </a:lnTo>
                  <a:lnTo>
                    <a:pt x="116" y="88"/>
                  </a:lnTo>
                  <a:lnTo>
                    <a:pt x="109" y="95"/>
                  </a:lnTo>
                  <a:moveTo>
                    <a:pt x="69" y="10"/>
                  </a:moveTo>
                  <a:lnTo>
                    <a:pt x="69" y="10"/>
                  </a:lnTo>
                  <a:lnTo>
                    <a:pt x="67" y="12"/>
                  </a:lnTo>
                  <a:lnTo>
                    <a:pt x="64" y="7"/>
                  </a:lnTo>
                  <a:lnTo>
                    <a:pt x="69" y="0"/>
                  </a:lnTo>
                  <a:lnTo>
                    <a:pt x="71" y="2"/>
                  </a:lnTo>
                  <a:lnTo>
                    <a:pt x="69" y="10"/>
                  </a:lnTo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43" name="Freeform 30">
              <a:extLst>
                <a:ext uri="{FF2B5EF4-FFF2-40B4-BE49-F238E27FC236}">
                  <a16:creationId xmlns:a16="http://schemas.microsoft.com/office/drawing/2014/main" id="{BF0FDA04-212C-BD2F-92C7-6DB56ADD658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6245" y="2835337"/>
              <a:ext cx="186449" cy="118077"/>
            </a:xfrm>
            <a:custGeom>
              <a:avLst/>
              <a:gdLst>
                <a:gd name="connsiteX0" fmla="*/ 350285 w 393462"/>
                <a:gd name="connsiteY0" fmla="*/ 0 h 245535"/>
                <a:gd name="connsiteX1" fmla="*/ 382100 w 393462"/>
                <a:gd name="connsiteY1" fmla="*/ 65902 h 245535"/>
                <a:gd name="connsiteX2" fmla="*/ 393462 w 393462"/>
                <a:gd name="connsiteY2" fmla="*/ 93171 h 245535"/>
                <a:gd name="connsiteX3" fmla="*/ 366193 w 393462"/>
                <a:gd name="connsiteY3" fmla="*/ 102261 h 245535"/>
                <a:gd name="connsiteX4" fmla="*/ 354830 w 393462"/>
                <a:gd name="connsiteY4" fmla="*/ 118169 h 245535"/>
                <a:gd name="connsiteX5" fmla="*/ 354830 w 393462"/>
                <a:gd name="connsiteY5" fmla="*/ 129531 h 245535"/>
                <a:gd name="connsiteX6" fmla="*/ 323016 w 393462"/>
                <a:gd name="connsiteY6" fmla="*/ 145438 h 245535"/>
                <a:gd name="connsiteX7" fmla="*/ 317857 w 393462"/>
                <a:gd name="connsiteY7" fmla="*/ 146827 h 245535"/>
                <a:gd name="connsiteX8" fmla="*/ 315873 w 393462"/>
                <a:gd name="connsiteY8" fmla="*/ 147819 h 245535"/>
                <a:gd name="connsiteX9" fmla="*/ 263153 w 393462"/>
                <a:gd name="connsiteY9" fmla="*/ 162013 h 245535"/>
                <a:gd name="connsiteX10" fmla="*/ 232117 w 393462"/>
                <a:gd name="connsiteY10" fmla="*/ 188615 h 245535"/>
                <a:gd name="connsiteX11" fmla="*/ 225570 w 393462"/>
                <a:gd name="connsiteY11" fmla="*/ 190486 h 245535"/>
                <a:gd name="connsiteX12" fmla="*/ 224974 w 393462"/>
                <a:gd name="connsiteY12" fmla="*/ 190996 h 245535"/>
                <a:gd name="connsiteX13" fmla="*/ 209067 w 393462"/>
                <a:gd name="connsiteY13" fmla="*/ 195541 h 245535"/>
                <a:gd name="connsiteX14" fmla="*/ 199521 w 393462"/>
                <a:gd name="connsiteY14" fmla="*/ 191723 h 245535"/>
                <a:gd name="connsiteX15" fmla="*/ 177578 w 393462"/>
                <a:gd name="connsiteY15" fmla="*/ 204522 h 245535"/>
                <a:gd name="connsiteX16" fmla="*/ 170435 w 393462"/>
                <a:gd name="connsiteY16" fmla="*/ 206903 h 245535"/>
                <a:gd name="connsiteX17" fmla="*/ 170435 w 393462"/>
                <a:gd name="connsiteY17" fmla="*/ 206903 h 245535"/>
                <a:gd name="connsiteX18" fmla="*/ 149983 w 393462"/>
                <a:gd name="connsiteY18" fmla="*/ 213721 h 245535"/>
                <a:gd name="connsiteX19" fmla="*/ 122713 w 393462"/>
                <a:gd name="connsiteY19" fmla="*/ 218266 h 245535"/>
                <a:gd name="connsiteX20" fmla="*/ 116589 w 393462"/>
                <a:gd name="connsiteY20" fmla="*/ 218266 h 245535"/>
                <a:gd name="connsiteX21" fmla="*/ 109404 w 393462"/>
                <a:gd name="connsiteY21" fmla="*/ 227247 h 245535"/>
                <a:gd name="connsiteX22" fmla="*/ 98042 w 393462"/>
                <a:gd name="connsiteY22" fmla="*/ 231792 h 245535"/>
                <a:gd name="connsiteX23" fmla="*/ 93497 w 393462"/>
                <a:gd name="connsiteY23" fmla="*/ 236337 h 245535"/>
                <a:gd name="connsiteX24" fmla="*/ 88735 w 393462"/>
                <a:gd name="connsiteY24" fmla="*/ 236337 h 245535"/>
                <a:gd name="connsiteX25" fmla="*/ 86354 w 393462"/>
                <a:gd name="connsiteY25" fmla="*/ 238718 h 245535"/>
                <a:gd name="connsiteX26" fmla="*/ 72143 w 393462"/>
                <a:gd name="connsiteY26" fmla="*/ 238718 h 245535"/>
                <a:gd name="connsiteX27" fmla="*/ 66227 w 393462"/>
                <a:gd name="connsiteY27" fmla="*/ 243154 h 245535"/>
                <a:gd name="connsiteX28" fmla="*/ 62259 w 393462"/>
                <a:gd name="connsiteY28" fmla="*/ 243154 h 245535"/>
                <a:gd name="connsiteX29" fmla="*/ 59084 w 393462"/>
                <a:gd name="connsiteY29" fmla="*/ 245535 h 245535"/>
                <a:gd name="connsiteX30" fmla="*/ 31815 w 393462"/>
                <a:gd name="connsiteY30" fmla="*/ 245535 h 245535"/>
                <a:gd name="connsiteX31" fmla="*/ 20452 w 393462"/>
                <a:gd name="connsiteY31" fmla="*/ 222811 h 245535"/>
                <a:gd name="connsiteX32" fmla="*/ 20452 w 393462"/>
                <a:gd name="connsiteY32" fmla="*/ 202358 h 245535"/>
                <a:gd name="connsiteX33" fmla="*/ 15908 w 393462"/>
                <a:gd name="connsiteY33" fmla="*/ 190996 h 245535"/>
                <a:gd name="connsiteX34" fmla="*/ 9090 w 393462"/>
                <a:gd name="connsiteY34" fmla="*/ 159181 h 245535"/>
                <a:gd name="connsiteX35" fmla="*/ 0 w 393462"/>
                <a:gd name="connsiteY35" fmla="*/ 147819 h 245535"/>
                <a:gd name="connsiteX36" fmla="*/ 4545 w 393462"/>
                <a:gd name="connsiteY36" fmla="*/ 143274 h 245535"/>
                <a:gd name="connsiteX37" fmla="*/ 4545 w 393462"/>
                <a:gd name="connsiteY37" fmla="*/ 127367 h 245535"/>
                <a:gd name="connsiteX38" fmla="*/ 9090 w 393462"/>
                <a:gd name="connsiteY38" fmla="*/ 120550 h 245535"/>
                <a:gd name="connsiteX39" fmla="*/ 4545 w 393462"/>
                <a:gd name="connsiteY39" fmla="*/ 104642 h 245535"/>
                <a:gd name="connsiteX40" fmla="*/ 20452 w 393462"/>
                <a:gd name="connsiteY40" fmla="*/ 95552 h 245535"/>
                <a:gd name="connsiteX41" fmla="*/ 15908 w 393462"/>
                <a:gd name="connsiteY41" fmla="*/ 72828 h 245535"/>
                <a:gd name="connsiteX42" fmla="*/ 27270 w 393462"/>
                <a:gd name="connsiteY42" fmla="*/ 56920 h 245535"/>
                <a:gd name="connsiteX43" fmla="*/ 30874 w 393462"/>
                <a:gd name="connsiteY43" fmla="*/ 59494 h 245535"/>
                <a:gd name="connsiteX44" fmla="*/ 34413 w 393462"/>
                <a:gd name="connsiteY44" fmla="*/ 54539 h 245535"/>
                <a:gd name="connsiteX45" fmla="*/ 50320 w 393462"/>
                <a:gd name="connsiteY45" fmla="*/ 65902 h 245535"/>
                <a:gd name="connsiteX46" fmla="*/ 59410 w 393462"/>
                <a:gd name="connsiteY46" fmla="*/ 65902 h 245535"/>
                <a:gd name="connsiteX47" fmla="*/ 102587 w 393462"/>
                <a:gd name="connsiteY47" fmla="*/ 59084 h 245535"/>
                <a:gd name="connsiteX48" fmla="*/ 109404 w 393462"/>
                <a:gd name="connsiteY48" fmla="*/ 65902 h 245535"/>
                <a:gd name="connsiteX49" fmla="*/ 144856 w 393462"/>
                <a:gd name="connsiteY49" fmla="*/ 70333 h 245535"/>
                <a:gd name="connsiteX50" fmla="*/ 149983 w 393462"/>
                <a:gd name="connsiteY50" fmla="*/ 68283 h 245535"/>
                <a:gd name="connsiteX51" fmla="*/ 150380 w 393462"/>
                <a:gd name="connsiteY51" fmla="*/ 68600 h 245535"/>
                <a:gd name="connsiteX52" fmla="*/ 157126 w 393462"/>
                <a:gd name="connsiteY52" fmla="*/ 65902 h 245535"/>
                <a:gd name="connsiteX53" fmla="*/ 168488 w 393462"/>
                <a:gd name="connsiteY53" fmla="*/ 74992 h 245535"/>
                <a:gd name="connsiteX54" fmla="*/ 177553 w 393462"/>
                <a:gd name="connsiteY54" fmla="*/ 72402 h 245535"/>
                <a:gd name="connsiteX55" fmla="*/ 204522 w 393462"/>
                <a:gd name="connsiteY55" fmla="*/ 34196 h 245535"/>
                <a:gd name="connsiteX56" fmla="*/ 236337 w 393462"/>
                <a:gd name="connsiteY56" fmla="*/ 18289 h 245535"/>
                <a:gd name="connsiteX57" fmla="*/ 239728 w 393462"/>
                <a:gd name="connsiteY57" fmla="*/ 17784 h 245535"/>
                <a:gd name="connsiteX58" fmla="*/ 243480 w 393462"/>
                <a:gd name="connsiteY58" fmla="*/ 15908 h 245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93462" h="245535">
                  <a:moveTo>
                    <a:pt x="350285" y="0"/>
                  </a:moveTo>
                  <a:lnTo>
                    <a:pt x="382100" y="65902"/>
                  </a:lnTo>
                  <a:lnTo>
                    <a:pt x="393462" y="93171"/>
                  </a:lnTo>
                  <a:lnTo>
                    <a:pt x="366193" y="102261"/>
                  </a:lnTo>
                  <a:lnTo>
                    <a:pt x="354830" y="118169"/>
                  </a:lnTo>
                  <a:lnTo>
                    <a:pt x="354830" y="129531"/>
                  </a:lnTo>
                  <a:lnTo>
                    <a:pt x="323016" y="145438"/>
                  </a:lnTo>
                  <a:lnTo>
                    <a:pt x="317857" y="146827"/>
                  </a:lnTo>
                  <a:lnTo>
                    <a:pt x="315873" y="147819"/>
                  </a:lnTo>
                  <a:lnTo>
                    <a:pt x="263153" y="162013"/>
                  </a:lnTo>
                  <a:lnTo>
                    <a:pt x="232117" y="188615"/>
                  </a:lnTo>
                  <a:lnTo>
                    <a:pt x="225570" y="190486"/>
                  </a:lnTo>
                  <a:lnTo>
                    <a:pt x="224974" y="190996"/>
                  </a:lnTo>
                  <a:lnTo>
                    <a:pt x="209067" y="195541"/>
                  </a:lnTo>
                  <a:lnTo>
                    <a:pt x="199521" y="191723"/>
                  </a:lnTo>
                  <a:lnTo>
                    <a:pt x="177578" y="204522"/>
                  </a:lnTo>
                  <a:lnTo>
                    <a:pt x="170435" y="206903"/>
                  </a:lnTo>
                  <a:lnTo>
                    <a:pt x="170435" y="206903"/>
                  </a:lnTo>
                  <a:lnTo>
                    <a:pt x="149983" y="213721"/>
                  </a:lnTo>
                  <a:lnTo>
                    <a:pt x="122713" y="218266"/>
                  </a:lnTo>
                  <a:lnTo>
                    <a:pt x="116589" y="218266"/>
                  </a:lnTo>
                  <a:lnTo>
                    <a:pt x="109404" y="227247"/>
                  </a:lnTo>
                  <a:lnTo>
                    <a:pt x="98042" y="231792"/>
                  </a:lnTo>
                  <a:lnTo>
                    <a:pt x="93497" y="236337"/>
                  </a:lnTo>
                  <a:lnTo>
                    <a:pt x="88735" y="236337"/>
                  </a:lnTo>
                  <a:lnTo>
                    <a:pt x="86354" y="238718"/>
                  </a:lnTo>
                  <a:lnTo>
                    <a:pt x="72143" y="238718"/>
                  </a:lnTo>
                  <a:lnTo>
                    <a:pt x="66227" y="243154"/>
                  </a:lnTo>
                  <a:lnTo>
                    <a:pt x="62259" y="243154"/>
                  </a:lnTo>
                  <a:lnTo>
                    <a:pt x="59084" y="245535"/>
                  </a:lnTo>
                  <a:lnTo>
                    <a:pt x="31815" y="245535"/>
                  </a:lnTo>
                  <a:lnTo>
                    <a:pt x="20452" y="222811"/>
                  </a:lnTo>
                  <a:lnTo>
                    <a:pt x="20452" y="202358"/>
                  </a:lnTo>
                  <a:lnTo>
                    <a:pt x="15908" y="190996"/>
                  </a:lnTo>
                  <a:lnTo>
                    <a:pt x="9090" y="159181"/>
                  </a:lnTo>
                  <a:lnTo>
                    <a:pt x="0" y="147819"/>
                  </a:lnTo>
                  <a:lnTo>
                    <a:pt x="4545" y="143274"/>
                  </a:lnTo>
                  <a:lnTo>
                    <a:pt x="4545" y="127367"/>
                  </a:lnTo>
                  <a:lnTo>
                    <a:pt x="9090" y="120550"/>
                  </a:lnTo>
                  <a:lnTo>
                    <a:pt x="4545" y="104642"/>
                  </a:lnTo>
                  <a:lnTo>
                    <a:pt x="20452" y="95552"/>
                  </a:lnTo>
                  <a:lnTo>
                    <a:pt x="15908" y="72828"/>
                  </a:lnTo>
                  <a:lnTo>
                    <a:pt x="27270" y="56920"/>
                  </a:lnTo>
                  <a:lnTo>
                    <a:pt x="30874" y="59494"/>
                  </a:lnTo>
                  <a:lnTo>
                    <a:pt x="34413" y="54539"/>
                  </a:lnTo>
                  <a:lnTo>
                    <a:pt x="50320" y="65902"/>
                  </a:lnTo>
                  <a:lnTo>
                    <a:pt x="59410" y="65902"/>
                  </a:lnTo>
                  <a:lnTo>
                    <a:pt x="102587" y="59084"/>
                  </a:lnTo>
                  <a:lnTo>
                    <a:pt x="109404" y="65902"/>
                  </a:lnTo>
                  <a:lnTo>
                    <a:pt x="144856" y="70333"/>
                  </a:lnTo>
                  <a:lnTo>
                    <a:pt x="149983" y="68283"/>
                  </a:lnTo>
                  <a:lnTo>
                    <a:pt x="150380" y="68600"/>
                  </a:lnTo>
                  <a:lnTo>
                    <a:pt x="157126" y="65902"/>
                  </a:lnTo>
                  <a:lnTo>
                    <a:pt x="168488" y="74992"/>
                  </a:lnTo>
                  <a:lnTo>
                    <a:pt x="177553" y="72402"/>
                  </a:lnTo>
                  <a:lnTo>
                    <a:pt x="204522" y="34196"/>
                  </a:lnTo>
                  <a:lnTo>
                    <a:pt x="236337" y="18289"/>
                  </a:lnTo>
                  <a:lnTo>
                    <a:pt x="239728" y="17784"/>
                  </a:lnTo>
                  <a:lnTo>
                    <a:pt x="243480" y="15908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44" name="Freeform 31">
              <a:extLst>
                <a:ext uri="{FF2B5EF4-FFF2-40B4-BE49-F238E27FC236}">
                  <a16:creationId xmlns:a16="http://schemas.microsoft.com/office/drawing/2014/main" id="{FD4062F0-5C69-DED8-D6E5-CBF47E488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6151" y="2578470"/>
              <a:ext cx="370594" cy="309477"/>
            </a:xfrm>
            <a:custGeom>
              <a:avLst/>
              <a:gdLst>
                <a:gd name="connsiteX0" fmla="*/ 165890 w 782054"/>
                <a:gd name="connsiteY0" fmla="*/ 0 h 643542"/>
                <a:gd name="connsiteX1" fmla="*/ 209067 w 782054"/>
                <a:gd name="connsiteY1" fmla="*/ 11362 h 643542"/>
                <a:gd name="connsiteX2" fmla="*/ 263606 w 782054"/>
                <a:gd name="connsiteY2" fmla="*/ 38632 h 643542"/>
                <a:gd name="connsiteX3" fmla="*/ 370412 w 782054"/>
                <a:gd name="connsiteY3" fmla="*/ 122713 h 643542"/>
                <a:gd name="connsiteX4" fmla="*/ 436314 w 782054"/>
                <a:gd name="connsiteY4" fmla="*/ 129531 h 643542"/>
                <a:gd name="connsiteX5" fmla="*/ 468128 w 782054"/>
                <a:gd name="connsiteY5" fmla="*/ 129531 h 643542"/>
                <a:gd name="connsiteX6" fmla="*/ 473419 w 782054"/>
                <a:gd name="connsiteY6" fmla="*/ 139055 h 643542"/>
                <a:gd name="connsiteX7" fmla="*/ 475271 w 782054"/>
                <a:gd name="connsiteY7" fmla="*/ 139055 h 643542"/>
                <a:gd name="connsiteX8" fmla="*/ 481343 w 782054"/>
                <a:gd name="connsiteY8" fmla="*/ 149983 h 643542"/>
                <a:gd name="connsiteX9" fmla="*/ 504488 w 782054"/>
                <a:gd name="connsiteY9" fmla="*/ 149983 h 643542"/>
                <a:gd name="connsiteX10" fmla="*/ 509250 w 782054"/>
                <a:gd name="connsiteY10" fmla="*/ 159507 h 643542"/>
                <a:gd name="connsiteX11" fmla="*/ 511631 w 782054"/>
                <a:gd name="connsiteY11" fmla="*/ 159507 h 643542"/>
                <a:gd name="connsiteX12" fmla="*/ 523858 w 782054"/>
                <a:gd name="connsiteY12" fmla="*/ 183962 h 643542"/>
                <a:gd name="connsiteX13" fmla="*/ 538575 w 782054"/>
                <a:gd name="connsiteY13" fmla="*/ 193160 h 643542"/>
                <a:gd name="connsiteX14" fmla="*/ 540335 w 782054"/>
                <a:gd name="connsiteY14" fmla="*/ 199319 h 643542"/>
                <a:gd name="connsiteX15" fmla="*/ 545718 w 782054"/>
                <a:gd name="connsiteY15" fmla="*/ 202684 h 643542"/>
                <a:gd name="connsiteX16" fmla="*/ 548426 w 782054"/>
                <a:gd name="connsiteY16" fmla="*/ 212163 h 643542"/>
                <a:gd name="connsiteX17" fmla="*/ 570389 w 782054"/>
                <a:gd name="connsiteY17" fmla="*/ 224974 h 643542"/>
                <a:gd name="connsiteX18" fmla="*/ 570389 w 782054"/>
                <a:gd name="connsiteY18" fmla="*/ 230332 h 643542"/>
                <a:gd name="connsiteX19" fmla="*/ 577532 w 782054"/>
                <a:gd name="connsiteY19" fmla="*/ 234498 h 643542"/>
                <a:gd name="connsiteX20" fmla="*/ 577532 w 782054"/>
                <a:gd name="connsiteY20" fmla="*/ 250406 h 643542"/>
                <a:gd name="connsiteX21" fmla="*/ 577532 w 782054"/>
                <a:gd name="connsiteY21" fmla="*/ 268585 h 643542"/>
                <a:gd name="connsiteX22" fmla="*/ 577532 w 782054"/>
                <a:gd name="connsiteY22" fmla="*/ 277080 h 643542"/>
                <a:gd name="connsiteX23" fmla="*/ 579479 w 782054"/>
                <a:gd name="connsiteY23" fmla="*/ 279514 h 643542"/>
                <a:gd name="connsiteX24" fmla="*/ 580029 w 782054"/>
                <a:gd name="connsiteY24" fmla="*/ 280796 h 643542"/>
                <a:gd name="connsiteX25" fmla="*/ 586622 w 782054"/>
                <a:gd name="connsiteY25" fmla="*/ 289038 h 643542"/>
                <a:gd name="connsiteX26" fmla="*/ 591511 w 782054"/>
                <a:gd name="connsiteY26" fmla="*/ 300444 h 643542"/>
                <a:gd name="connsiteX27" fmla="*/ 606749 w 782054"/>
                <a:gd name="connsiteY27" fmla="*/ 311328 h 643542"/>
                <a:gd name="connsiteX28" fmla="*/ 613566 w 782054"/>
                <a:gd name="connsiteY28" fmla="*/ 306783 h 643542"/>
                <a:gd name="connsiteX29" fmla="*/ 619478 w 782054"/>
                <a:gd name="connsiteY29" fmla="*/ 317128 h 643542"/>
                <a:gd name="connsiteX30" fmla="*/ 620709 w 782054"/>
                <a:gd name="connsiteY30" fmla="*/ 316307 h 643542"/>
                <a:gd name="connsiteX31" fmla="*/ 629799 w 782054"/>
                <a:gd name="connsiteY31" fmla="*/ 332214 h 643542"/>
                <a:gd name="connsiteX32" fmla="*/ 629799 w 782054"/>
                <a:gd name="connsiteY32" fmla="*/ 343577 h 643542"/>
                <a:gd name="connsiteX33" fmla="*/ 642404 w 782054"/>
                <a:gd name="connsiteY33" fmla="*/ 377790 h 643542"/>
                <a:gd name="connsiteX34" fmla="*/ 747642 w 782054"/>
                <a:gd name="connsiteY34" fmla="*/ 393137 h 643542"/>
                <a:gd name="connsiteX35" fmla="*/ 752187 w 782054"/>
                <a:gd name="connsiteY35" fmla="*/ 386319 h 643542"/>
                <a:gd name="connsiteX36" fmla="*/ 774911 w 782054"/>
                <a:gd name="connsiteY36" fmla="*/ 413589 h 643542"/>
                <a:gd name="connsiteX37" fmla="*/ 774670 w 782054"/>
                <a:gd name="connsiteY37" fmla="*/ 414252 h 643542"/>
                <a:gd name="connsiteX38" fmla="*/ 782054 w 782054"/>
                <a:gd name="connsiteY38" fmla="*/ 423113 h 643542"/>
                <a:gd name="connsiteX39" fmla="*/ 754785 w 782054"/>
                <a:gd name="connsiteY39" fmla="*/ 498104 h 643542"/>
                <a:gd name="connsiteX40" fmla="*/ 645706 w 782054"/>
                <a:gd name="connsiteY40" fmla="*/ 541281 h 643542"/>
                <a:gd name="connsiteX41" fmla="*/ 538900 w 782054"/>
                <a:gd name="connsiteY41" fmla="*/ 557189 h 643542"/>
                <a:gd name="connsiteX42" fmla="*/ 502541 w 782054"/>
                <a:gd name="connsiteY42" fmla="*/ 573096 h 643542"/>
                <a:gd name="connsiteX43" fmla="*/ 479816 w 782054"/>
                <a:gd name="connsiteY43" fmla="*/ 611728 h 643542"/>
                <a:gd name="connsiteX44" fmla="*/ 459364 w 782054"/>
                <a:gd name="connsiteY44" fmla="*/ 616273 h 643542"/>
                <a:gd name="connsiteX45" fmla="*/ 452547 w 782054"/>
                <a:gd name="connsiteY45" fmla="*/ 607183 h 643542"/>
                <a:gd name="connsiteX46" fmla="*/ 436639 w 782054"/>
                <a:gd name="connsiteY46" fmla="*/ 607183 h 643542"/>
                <a:gd name="connsiteX47" fmla="*/ 400280 w 782054"/>
                <a:gd name="connsiteY47" fmla="*/ 607183 h 643542"/>
                <a:gd name="connsiteX48" fmla="*/ 393463 w 782054"/>
                <a:gd name="connsiteY48" fmla="*/ 600365 h 643542"/>
                <a:gd name="connsiteX49" fmla="*/ 350286 w 782054"/>
                <a:gd name="connsiteY49" fmla="*/ 600365 h 643542"/>
                <a:gd name="connsiteX50" fmla="*/ 341196 w 782054"/>
                <a:gd name="connsiteY50" fmla="*/ 607183 h 643542"/>
                <a:gd name="connsiteX51" fmla="*/ 325289 w 782054"/>
                <a:gd name="connsiteY51" fmla="*/ 595820 h 643542"/>
                <a:gd name="connsiteX52" fmla="*/ 313926 w 782054"/>
                <a:gd name="connsiteY52" fmla="*/ 611728 h 643542"/>
                <a:gd name="connsiteX53" fmla="*/ 318471 w 782054"/>
                <a:gd name="connsiteY53" fmla="*/ 627635 h 643542"/>
                <a:gd name="connsiteX54" fmla="*/ 302564 w 782054"/>
                <a:gd name="connsiteY54" fmla="*/ 643542 h 643542"/>
                <a:gd name="connsiteX55" fmla="*/ 302564 w 782054"/>
                <a:gd name="connsiteY55" fmla="*/ 627635 h 643542"/>
                <a:gd name="connsiteX56" fmla="*/ 302121 w 782054"/>
                <a:gd name="connsiteY56" fmla="*/ 627319 h 643542"/>
                <a:gd name="connsiteX57" fmla="*/ 295421 w 782054"/>
                <a:gd name="connsiteY57" fmla="*/ 634018 h 643542"/>
                <a:gd name="connsiteX58" fmla="*/ 295421 w 782054"/>
                <a:gd name="connsiteY58" fmla="*/ 622533 h 643542"/>
                <a:gd name="connsiteX59" fmla="*/ 286657 w 782054"/>
                <a:gd name="connsiteY59" fmla="*/ 616273 h 643542"/>
                <a:gd name="connsiteX60" fmla="*/ 286657 w 782054"/>
                <a:gd name="connsiteY60" fmla="*/ 611851 h 643542"/>
                <a:gd name="connsiteX61" fmla="*/ 279514 w 782054"/>
                <a:gd name="connsiteY61" fmla="*/ 606749 h 643542"/>
                <a:gd name="connsiteX62" fmla="*/ 279514 w 782054"/>
                <a:gd name="connsiteY62" fmla="*/ 594810 h 643542"/>
                <a:gd name="connsiteX63" fmla="*/ 266204 w 782054"/>
                <a:gd name="connsiteY63" fmla="*/ 584458 h 643542"/>
                <a:gd name="connsiteX64" fmla="*/ 262123 w 782054"/>
                <a:gd name="connsiteY64" fmla="*/ 577315 h 643542"/>
                <a:gd name="connsiteX65" fmla="*/ 259061 w 782054"/>
                <a:gd name="connsiteY65" fmla="*/ 574934 h 643542"/>
                <a:gd name="connsiteX66" fmla="*/ 240882 w 782054"/>
                <a:gd name="connsiteY66" fmla="*/ 543120 h 643542"/>
                <a:gd name="connsiteX67" fmla="*/ 232744 w 782054"/>
                <a:gd name="connsiteY67" fmla="*/ 514639 h 643542"/>
                <a:gd name="connsiteX68" fmla="*/ 211665 w 782054"/>
                <a:gd name="connsiteY68" fmla="*/ 493559 h 643542"/>
                <a:gd name="connsiteX69" fmla="*/ 195758 w 782054"/>
                <a:gd name="connsiteY69" fmla="*/ 489015 h 643542"/>
                <a:gd name="connsiteX70" fmla="*/ 190467 w 782054"/>
                <a:gd name="connsiteY70" fmla="*/ 480020 h 643542"/>
                <a:gd name="connsiteX71" fmla="*/ 188615 w 782054"/>
                <a:gd name="connsiteY71" fmla="*/ 479491 h 643542"/>
                <a:gd name="connsiteX72" fmla="*/ 165890 w 782054"/>
                <a:gd name="connsiteY72" fmla="*/ 440859 h 643542"/>
                <a:gd name="connsiteX73" fmla="*/ 161345 w 782054"/>
                <a:gd name="connsiteY73" fmla="*/ 413589 h 643542"/>
                <a:gd name="connsiteX74" fmla="*/ 161345 w 782054"/>
                <a:gd name="connsiteY74" fmla="*/ 393137 h 643542"/>
                <a:gd name="connsiteX75" fmla="*/ 141963 w 782054"/>
                <a:gd name="connsiteY75" fmla="*/ 350495 h 643542"/>
                <a:gd name="connsiteX76" fmla="*/ 129856 w 782054"/>
                <a:gd name="connsiteY76" fmla="*/ 343577 h 643542"/>
                <a:gd name="connsiteX77" fmla="*/ 109404 w 782054"/>
                <a:gd name="connsiteY77" fmla="*/ 332214 h 643542"/>
                <a:gd name="connsiteX78" fmla="*/ 105558 w 782054"/>
                <a:gd name="connsiteY78" fmla="*/ 324522 h 643542"/>
                <a:gd name="connsiteX79" fmla="*/ 102261 w 782054"/>
                <a:gd name="connsiteY79" fmla="*/ 322690 h 643542"/>
                <a:gd name="connsiteX80" fmla="*/ 90899 w 782054"/>
                <a:gd name="connsiteY80" fmla="*/ 299966 h 643542"/>
                <a:gd name="connsiteX81" fmla="*/ 90899 w 782054"/>
                <a:gd name="connsiteY81" fmla="*/ 290876 h 643542"/>
                <a:gd name="connsiteX82" fmla="*/ 83505 w 782054"/>
                <a:gd name="connsiteY82" fmla="*/ 276088 h 643542"/>
                <a:gd name="connsiteX83" fmla="*/ 77590 w 782054"/>
                <a:gd name="connsiteY83" fmla="*/ 273130 h 643542"/>
                <a:gd name="connsiteX84" fmla="*/ 73621 w 782054"/>
                <a:gd name="connsiteY84" fmla="*/ 265194 h 643542"/>
                <a:gd name="connsiteX85" fmla="*/ 70447 w 782054"/>
                <a:gd name="connsiteY85" fmla="*/ 263606 h 643542"/>
                <a:gd name="connsiteX86" fmla="*/ 54539 w 782054"/>
                <a:gd name="connsiteY86" fmla="*/ 231792 h 643542"/>
                <a:gd name="connsiteX87" fmla="*/ 38632 w 782054"/>
                <a:gd name="connsiteY87" fmla="*/ 199977 h 643542"/>
                <a:gd name="connsiteX88" fmla="*/ 22257 w 782054"/>
                <a:gd name="connsiteY88" fmla="*/ 175414 h 643542"/>
                <a:gd name="connsiteX89" fmla="*/ 7143 w 782054"/>
                <a:gd name="connsiteY89" fmla="*/ 175414 h 643542"/>
                <a:gd name="connsiteX90" fmla="*/ 9260 w 782054"/>
                <a:gd name="connsiteY90" fmla="*/ 165890 h 643542"/>
                <a:gd name="connsiteX91" fmla="*/ 0 w 782054"/>
                <a:gd name="connsiteY91" fmla="*/ 165890 h 643542"/>
                <a:gd name="connsiteX92" fmla="*/ 4545 w 782054"/>
                <a:gd name="connsiteY92" fmla="*/ 145438 h 643542"/>
                <a:gd name="connsiteX93" fmla="*/ 4545 w 782054"/>
                <a:gd name="connsiteY93" fmla="*/ 134076 h 643542"/>
                <a:gd name="connsiteX94" fmla="*/ 11363 w 782054"/>
                <a:gd name="connsiteY94" fmla="*/ 113623 h 643542"/>
                <a:gd name="connsiteX95" fmla="*/ 47722 w 782054"/>
                <a:gd name="connsiteY95" fmla="*/ 122713 h 643542"/>
                <a:gd name="connsiteX96" fmla="*/ 63629 w 782054"/>
                <a:gd name="connsiteY96" fmla="*/ 106806 h 643542"/>
                <a:gd name="connsiteX97" fmla="*/ 74992 w 782054"/>
                <a:gd name="connsiteY97" fmla="*/ 97716 h 643542"/>
                <a:gd name="connsiteX98" fmla="*/ 102261 w 782054"/>
                <a:gd name="connsiteY98" fmla="*/ 90899 h 643542"/>
                <a:gd name="connsiteX99" fmla="*/ 106806 w 782054"/>
                <a:gd name="connsiteY99" fmla="*/ 74992 h 643542"/>
                <a:gd name="connsiteX100" fmla="*/ 121324 w 782054"/>
                <a:gd name="connsiteY100" fmla="*/ 64621 h 643542"/>
                <a:gd name="connsiteX101" fmla="*/ 93497 w 782054"/>
                <a:gd name="connsiteY101" fmla="*/ 36794 h 643542"/>
                <a:gd name="connsiteX102" fmla="*/ 95324 w 782054"/>
                <a:gd name="connsiteY102" fmla="*/ 36240 h 643542"/>
                <a:gd name="connsiteX103" fmla="*/ 86354 w 782054"/>
                <a:gd name="connsiteY103" fmla="*/ 27270 h 643542"/>
                <a:gd name="connsiteX104" fmla="*/ 161345 w 782054"/>
                <a:gd name="connsiteY104" fmla="*/ 4545 h 643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782054" h="643542">
                  <a:moveTo>
                    <a:pt x="165890" y="0"/>
                  </a:moveTo>
                  <a:lnTo>
                    <a:pt x="209067" y="11362"/>
                  </a:lnTo>
                  <a:lnTo>
                    <a:pt x="263606" y="38632"/>
                  </a:lnTo>
                  <a:lnTo>
                    <a:pt x="370412" y="122713"/>
                  </a:lnTo>
                  <a:lnTo>
                    <a:pt x="436314" y="129531"/>
                  </a:lnTo>
                  <a:lnTo>
                    <a:pt x="468128" y="129531"/>
                  </a:lnTo>
                  <a:lnTo>
                    <a:pt x="473419" y="139055"/>
                  </a:lnTo>
                  <a:lnTo>
                    <a:pt x="475271" y="139055"/>
                  </a:lnTo>
                  <a:lnTo>
                    <a:pt x="481343" y="149983"/>
                  </a:lnTo>
                  <a:lnTo>
                    <a:pt x="504488" y="149983"/>
                  </a:lnTo>
                  <a:lnTo>
                    <a:pt x="509250" y="159507"/>
                  </a:lnTo>
                  <a:lnTo>
                    <a:pt x="511631" y="159507"/>
                  </a:lnTo>
                  <a:lnTo>
                    <a:pt x="523858" y="183962"/>
                  </a:lnTo>
                  <a:lnTo>
                    <a:pt x="538575" y="193160"/>
                  </a:lnTo>
                  <a:lnTo>
                    <a:pt x="540335" y="199319"/>
                  </a:lnTo>
                  <a:lnTo>
                    <a:pt x="545718" y="202684"/>
                  </a:lnTo>
                  <a:lnTo>
                    <a:pt x="548426" y="212163"/>
                  </a:lnTo>
                  <a:lnTo>
                    <a:pt x="570389" y="224974"/>
                  </a:lnTo>
                  <a:lnTo>
                    <a:pt x="570389" y="230332"/>
                  </a:lnTo>
                  <a:lnTo>
                    <a:pt x="577532" y="234498"/>
                  </a:lnTo>
                  <a:lnTo>
                    <a:pt x="577532" y="250406"/>
                  </a:lnTo>
                  <a:lnTo>
                    <a:pt x="577532" y="268585"/>
                  </a:lnTo>
                  <a:lnTo>
                    <a:pt x="577532" y="277080"/>
                  </a:lnTo>
                  <a:lnTo>
                    <a:pt x="579479" y="279514"/>
                  </a:lnTo>
                  <a:lnTo>
                    <a:pt x="580029" y="280796"/>
                  </a:lnTo>
                  <a:lnTo>
                    <a:pt x="586622" y="289038"/>
                  </a:lnTo>
                  <a:lnTo>
                    <a:pt x="591511" y="300444"/>
                  </a:lnTo>
                  <a:lnTo>
                    <a:pt x="606749" y="311328"/>
                  </a:lnTo>
                  <a:lnTo>
                    <a:pt x="613566" y="306783"/>
                  </a:lnTo>
                  <a:lnTo>
                    <a:pt x="619478" y="317128"/>
                  </a:lnTo>
                  <a:lnTo>
                    <a:pt x="620709" y="316307"/>
                  </a:lnTo>
                  <a:lnTo>
                    <a:pt x="629799" y="332214"/>
                  </a:lnTo>
                  <a:lnTo>
                    <a:pt x="629799" y="343577"/>
                  </a:lnTo>
                  <a:lnTo>
                    <a:pt x="642404" y="377790"/>
                  </a:lnTo>
                  <a:lnTo>
                    <a:pt x="747642" y="393137"/>
                  </a:lnTo>
                  <a:lnTo>
                    <a:pt x="752187" y="386319"/>
                  </a:lnTo>
                  <a:lnTo>
                    <a:pt x="774911" y="413589"/>
                  </a:lnTo>
                  <a:lnTo>
                    <a:pt x="774670" y="414252"/>
                  </a:lnTo>
                  <a:lnTo>
                    <a:pt x="782054" y="423113"/>
                  </a:lnTo>
                  <a:lnTo>
                    <a:pt x="754785" y="498104"/>
                  </a:lnTo>
                  <a:lnTo>
                    <a:pt x="645706" y="541281"/>
                  </a:lnTo>
                  <a:lnTo>
                    <a:pt x="538900" y="557189"/>
                  </a:lnTo>
                  <a:lnTo>
                    <a:pt x="502541" y="573096"/>
                  </a:lnTo>
                  <a:lnTo>
                    <a:pt x="479816" y="611728"/>
                  </a:lnTo>
                  <a:lnTo>
                    <a:pt x="459364" y="616273"/>
                  </a:lnTo>
                  <a:lnTo>
                    <a:pt x="452547" y="607183"/>
                  </a:lnTo>
                  <a:lnTo>
                    <a:pt x="436639" y="607183"/>
                  </a:lnTo>
                  <a:lnTo>
                    <a:pt x="400280" y="607183"/>
                  </a:lnTo>
                  <a:lnTo>
                    <a:pt x="393463" y="600365"/>
                  </a:lnTo>
                  <a:lnTo>
                    <a:pt x="350286" y="600365"/>
                  </a:lnTo>
                  <a:lnTo>
                    <a:pt x="341196" y="607183"/>
                  </a:lnTo>
                  <a:lnTo>
                    <a:pt x="325289" y="595820"/>
                  </a:lnTo>
                  <a:lnTo>
                    <a:pt x="313926" y="611728"/>
                  </a:lnTo>
                  <a:lnTo>
                    <a:pt x="318471" y="627635"/>
                  </a:lnTo>
                  <a:lnTo>
                    <a:pt x="302564" y="643542"/>
                  </a:lnTo>
                  <a:lnTo>
                    <a:pt x="302564" y="627635"/>
                  </a:lnTo>
                  <a:lnTo>
                    <a:pt x="302121" y="627319"/>
                  </a:lnTo>
                  <a:lnTo>
                    <a:pt x="295421" y="634018"/>
                  </a:lnTo>
                  <a:lnTo>
                    <a:pt x="295421" y="622533"/>
                  </a:lnTo>
                  <a:lnTo>
                    <a:pt x="286657" y="616273"/>
                  </a:lnTo>
                  <a:lnTo>
                    <a:pt x="286657" y="611851"/>
                  </a:lnTo>
                  <a:lnTo>
                    <a:pt x="279514" y="606749"/>
                  </a:lnTo>
                  <a:lnTo>
                    <a:pt x="279514" y="594810"/>
                  </a:lnTo>
                  <a:lnTo>
                    <a:pt x="266204" y="584458"/>
                  </a:lnTo>
                  <a:lnTo>
                    <a:pt x="262123" y="577315"/>
                  </a:lnTo>
                  <a:lnTo>
                    <a:pt x="259061" y="574934"/>
                  </a:lnTo>
                  <a:lnTo>
                    <a:pt x="240882" y="543120"/>
                  </a:lnTo>
                  <a:lnTo>
                    <a:pt x="232744" y="514639"/>
                  </a:lnTo>
                  <a:lnTo>
                    <a:pt x="211665" y="493559"/>
                  </a:lnTo>
                  <a:lnTo>
                    <a:pt x="195758" y="489015"/>
                  </a:lnTo>
                  <a:lnTo>
                    <a:pt x="190467" y="480020"/>
                  </a:lnTo>
                  <a:lnTo>
                    <a:pt x="188615" y="479491"/>
                  </a:lnTo>
                  <a:lnTo>
                    <a:pt x="165890" y="440859"/>
                  </a:lnTo>
                  <a:lnTo>
                    <a:pt x="161345" y="413589"/>
                  </a:lnTo>
                  <a:lnTo>
                    <a:pt x="161345" y="393137"/>
                  </a:lnTo>
                  <a:lnTo>
                    <a:pt x="141963" y="350495"/>
                  </a:lnTo>
                  <a:lnTo>
                    <a:pt x="129856" y="343577"/>
                  </a:lnTo>
                  <a:lnTo>
                    <a:pt x="109404" y="332214"/>
                  </a:lnTo>
                  <a:lnTo>
                    <a:pt x="105558" y="324522"/>
                  </a:lnTo>
                  <a:lnTo>
                    <a:pt x="102261" y="322690"/>
                  </a:lnTo>
                  <a:lnTo>
                    <a:pt x="90899" y="299966"/>
                  </a:lnTo>
                  <a:lnTo>
                    <a:pt x="90899" y="290876"/>
                  </a:lnTo>
                  <a:lnTo>
                    <a:pt x="83505" y="276088"/>
                  </a:lnTo>
                  <a:lnTo>
                    <a:pt x="77590" y="273130"/>
                  </a:lnTo>
                  <a:lnTo>
                    <a:pt x="73621" y="265194"/>
                  </a:lnTo>
                  <a:lnTo>
                    <a:pt x="70447" y="263606"/>
                  </a:lnTo>
                  <a:lnTo>
                    <a:pt x="54539" y="231792"/>
                  </a:lnTo>
                  <a:lnTo>
                    <a:pt x="38632" y="199977"/>
                  </a:lnTo>
                  <a:lnTo>
                    <a:pt x="22257" y="175414"/>
                  </a:lnTo>
                  <a:lnTo>
                    <a:pt x="7143" y="175414"/>
                  </a:lnTo>
                  <a:lnTo>
                    <a:pt x="9260" y="165890"/>
                  </a:lnTo>
                  <a:lnTo>
                    <a:pt x="0" y="165890"/>
                  </a:lnTo>
                  <a:lnTo>
                    <a:pt x="4545" y="145438"/>
                  </a:lnTo>
                  <a:lnTo>
                    <a:pt x="4545" y="134076"/>
                  </a:lnTo>
                  <a:lnTo>
                    <a:pt x="11363" y="113623"/>
                  </a:lnTo>
                  <a:lnTo>
                    <a:pt x="47722" y="122713"/>
                  </a:lnTo>
                  <a:lnTo>
                    <a:pt x="63629" y="106806"/>
                  </a:lnTo>
                  <a:lnTo>
                    <a:pt x="74992" y="97716"/>
                  </a:lnTo>
                  <a:lnTo>
                    <a:pt x="102261" y="90899"/>
                  </a:lnTo>
                  <a:lnTo>
                    <a:pt x="106806" y="74992"/>
                  </a:lnTo>
                  <a:lnTo>
                    <a:pt x="121324" y="64621"/>
                  </a:lnTo>
                  <a:lnTo>
                    <a:pt x="93497" y="36794"/>
                  </a:lnTo>
                  <a:lnTo>
                    <a:pt x="95324" y="36240"/>
                  </a:lnTo>
                  <a:lnTo>
                    <a:pt x="86354" y="27270"/>
                  </a:lnTo>
                  <a:lnTo>
                    <a:pt x="161345" y="454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45" name="Freeform 32">
              <a:extLst>
                <a:ext uri="{FF2B5EF4-FFF2-40B4-BE49-F238E27FC236}">
                  <a16:creationId xmlns:a16="http://schemas.microsoft.com/office/drawing/2014/main" id="{52F57F80-9E16-1D4A-269F-A10F271FE94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81170" y="2950135"/>
              <a:ext cx="29126" cy="35021"/>
            </a:xfrm>
            <a:custGeom>
              <a:avLst/>
              <a:gdLst>
                <a:gd name="connsiteX0" fmla="*/ 47722 w 61465"/>
                <a:gd name="connsiteY0" fmla="*/ 0 h 72828"/>
                <a:gd name="connsiteX1" fmla="*/ 50103 w 61465"/>
                <a:gd name="connsiteY1" fmla="*/ 2381 h 72828"/>
                <a:gd name="connsiteX2" fmla="*/ 50103 w 61465"/>
                <a:gd name="connsiteY2" fmla="*/ 2381 h 72828"/>
                <a:gd name="connsiteX3" fmla="*/ 61465 w 61465"/>
                <a:gd name="connsiteY3" fmla="*/ 13744 h 72828"/>
                <a:gd name="connsiteX4" fmla="*/ 54648 w 61465"/>
                <a:gd name="connsiteY4" fmla="*/ 29651 h 72828"/>
                <a:gd name="connsiteX5" fmla="*/ 38741 w 61465"/>
                <a:gd name="connsiteY5" fmla="*/ 41013 h 72828"/>
                <a:gd name="connsiteX6" fmla="*/ 50103 w 61465"/>
                <a:gd name="connsiteY6" fmla="*/ 52376 h 72828"/>
                <a:gd name="connsiteX7" fmla="*/ 38741 w 61465"/>
                <a:gd name="connsiteY7" fmla="*/ 72828 h 72828"/>
                <a:gd name="connsiteX8" fmla="*/ 35320 w 61465"/>
                <a:gd name="connsiteY8" fmla="*/ 69407 h 72828"/>
                <a:gd name="connsiteX9" fmla="*/ 34196 w 61465"/>
                <a:gd name="connsiteY9" fmla="*/ 68283 h 72828"/>
                <a:gd name="connsiteX10" fmla="*/ 22833 w 61465"/>
                <a:gd name="connsiteY10" fmla="*/ 68283 h 72828"/>
                <a:gd name="connsiteX11" fmla="*/ 2381 w 61465"/>
                <a:gd name="connsiteY11" fmla="*/ 68283 h 72828"/>
                <a:gd name="connsiteX12" fmla="*/ 2381 w 61465"/>
                <a:gd name="connsiteY12" fmla="*/ 65902 h 72828"/>
                <a:gd name="connsiteX13" fmla="*/ 0 w 61465"/>
                <a:gd name="connsiteY13" fmla="*/ 65902 h 72828"/>
                <a:gd name="connsiteX14" fmla="*/ 0 w 61465"/>
                <a:gd name="connsiteY14" fmla="*/ 54540 h 72828"/>
                <a:gd name="connsiteX15" fmla="*/ 0 w 61465"/>
                <a:gd name="connsiteY15" fmla="*/ 43177 h 72828"/>
                <a:gd name="connsiteX16" fmla="*/ 9090 w 61465"/>
                <a:gd name="connsiteY16" fmla="*/ 22725 h 72828"/>
                <a:gd name="connsiteX17" fmla="*/ 20452 w 61465"/>
                <a:gd name="connsiteY17" fmla="*/ 6818 h 72828"/>
                <a:gd name="connsiteX18" fmla="*/ 36360 w 61465"/>
                <a:gd name="connsiteY18" fmla="*/ 11363 h 72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1465" h="72828">
                  <a:moveTo>
                    <a:pt x="47722" y="0"/>
                  </a:moveTo>
                  <a:lnTo>
                    <a:pt x="50103" y="2381"/>
                  </a:lnTo>
                  <a:lnTo>
                    <a:pt x="50103" y="2381"/>
                  </a:lnTo>
                  <a:lnTo>
                    <a:pt x="61465" y="13744"/>
                  </a:lnTo>
                  <a:lnTo>
                    <a:pt x="54648" y="29651"/>
                  </a:lnTo>
                  <a:lnTo>
                    <a:pt x="38741" y="41013"/>
                  </a:lnTo>
                  <a:lnTo>
                    <a:pt x="50103" y="52376"/>
                  </a:lnTo>
                  <a:lnTo>
                    <a:pt x="38741" y="72828"/>
                  </a:lnTo>
                  <a:lnTo>
                    <a:pt x="35320" y="69407"/>
                  </a:lnTo>
                  <a:lnTo>
                    <a:pt x="34196" y="68283"/>
                  </a:lnTo>
                  <a:lnTo>
                    <a:pt x="22833" y="68283"/>
                  </a:lnTo>
                  <a:lnTo>
                    <a:pt x="2381" y="68283"/>
                  </a:lnTo>
                  <a:lnTo>
                    <a:pt x="2381" y="65902"/>
                  </a:lnTo>
                  <a:lnTo>
                    <a:pt x="0" y="65902"/>
                  </a:lnTo>
                  <a:lnTo>
                    <a:pt x="0" y="54540"/>
                  </a:lnTo>
                  <a:lnTo>
                    <a:pt x="0" y="43177"/>
                  </a:lnTo>
                  <a:lnTo>
                    <a:pt x="9090" y="22725"/>
                  </a:lnTo>
                  <a:lnTo>
                    <a:pt x="20452" y="6818"/>
                  </a:lnTo>
                  <a:lnTo>
                    <a:pt x="36360" y="11363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46" name="Freeform 33">
              <a:extLst>
                <a:ext uri="{FF2B5EF4-FFF2-40B4-BE49-F238E27FC236}">
                  <a16:creationId xmlns:a16="http://schemas.microsoft.com/office/drawing/2014/main" id="{07AD8DA9-6781-7F18-64CB-9143223C3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3990" y="2974177"/>
              <a:ext cx="116506" cy="64580"/>
            </a:xfrm>
            <a:custGeom>
              <a:avLst/>
              <a:gdLst>
                <a:gd name="connsiteX0" fmla="*/ 20452 w 245860"/>
                <a:gd name="connsiteY0" fmla="*/ 0 h 134293"/>
                <a:gd name="connsiteX1" fmla="*/ 31815 w 245860"/>
                <a:gd name="connsiteY1" fmla="*/ 4545 h 134293"/>
                <a:gd name="connsiteX2" fmla="*/ 32122 w 245860"/>
                <a:gd name="connsiteY2" fmla="*/ 5621 h 134293"/>
                <a:gd name="connsiteX3" fmla="*/ 41339 w 245860"/>
                <a:gd name="connsiteY3" fmla="*/ 9307 h 134293"/>
                <a:gd name="connsiteX4" fmla="*/ 45884 w 245860"/>
                <a:gd name="connsiteY4" fmla="*/ 25215 h 134293"/>
                <a:gd name="connsiteX5" fmla="*/ 61805 w 245860"/>
                <a:gd name="connsiteY5" fmla="*/ 36360 h 134293"/>
                <a:gd name="connsiteX6" fmla="*/ 74991 w 245860"/>
                <a:gd name="connsiteY6" fmla="*/ 36360 h 134293"/>
                <a:gd name="connsiteX7" fmla="*/ 106806 w 245860"/>
                <a:gd name="connsiteY7" fmla="*/ 27270 h 134293"/>
                <a:gd name="connsiteX8" fmla="*/ 149983 w 245860"/>
                <a:gd name="connsiteY8" fmla="*/ 20453 h 134293"/>
                <a:gd name="connsiteX9" fmla="*/ 181797 w 245860"/>
                <a:gd name="connsiteY9" fmla="*/ 9090 h 134293"/>
                <a:gd name="connsiteX10" fmla="*/ 197704 w 245860"/>
                <a:gd name="connsiteY10" fmla="*/ 9090 h 134293"/>
                <a:gd name="connsiteX11" fmla="*/ 213612 w 245860"/>
                <a:gd name="connsiteY11" fmla="*/ 0 h 134293"/>
                <a:gd name="connsiteX12" fmla="*/ 236336 w 245860"/>
                <a:gd name="connsiteY12" fmla="*/ 0 h 134293"/>
                <a:gd name="connsiteX13" fmla="*/ 236336 w 245860"/>
                <a:gd name="connsiteY13" fmla="*/ 4762 h 134293"/>
                <a:gd name="connsiteX14" fmla="*/ 245860 w 245860"/>
                <a:gd name="connsiteY14" fmla="*/ 4762 h 134293"/>
                <a:gd name="connsiteX15" fmla="*/ 245860 w 245860"/>
                <a:gd name="connsiteY15" fmla="*/ 20670 h 134293"/>
                <a:gd name="connsiteX16" fmla="*/ 245860 w 245860"/>
                <a:gd name="connsiteY16" fmla="*/ 57029 h 134293"/>
                <a:gd name="connsiteX17" fmla="*/ 245860 w 245860"/>
                <a:gd name="connsiteY17" fmla="*/ 79754 h 134293"/>
                <a:gd name="connsiteX18" fmla="*/ 223136 w 245860"/>
                <a:gd name="connsiteY18" fmla="*/ 100206 h 134293"/>
                <a:gd name="connsiteX19" fmla="*/ 202683 w 245860"/>
                <a:gd name="connsiteY19" fmla="*/ 134293 h 134293"/>
                <a:gd name="connsiteX20" fmla="*/ 170869 w 245860"/>
                <a:gd name="connsiteY20" fmla="*/ 134293 h 134293"/>
                <a:gd name="connsiteX21" fmla="*/ 52701 w 245860"/>
                <a:gd name="connsiteY21" fmla="*/ 91116 h 134293"/>
                <a:gd name="connsiteX22" fmla="*/ 51052 w 245860"/>
                <a:gd name="connsiteY22" fmla="*/ 89232 h 134293"/>
                <a:gd name="connsiteX23" fmla="*/ 43177 w 245860"/>
                <a:gd name="connsiteY23" fmla="*/ 86354 h 134293"/>
                <a:gd name="connsiteX24" fmla="*/ 27270 w 245860"/>
                <a:gd name="connsiteY24" fmla="*/ 68174 h 134293"/>
                <a:gd name="connsiteX25" fmla="*/ 15907 w 245860"/>
                <a:gd name="connsiteY25" fmla="*/ 52267 h 134293"/>
                <a:gd name="connsiteX26" fmla="*/ 0 w 245860"/>
                <a:gd name="connsiteY26" fmla="*/ 31815 h 134293"/>
                <a:gd name="connsiteX27" fmla="*/ 9090 w 245860"/>
                <a:gd name="connsiteY27" fmla="*/ 15908 h 134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45860" h="134293">
                  <a:moveTo>
                    <a:pt x="20452" y="0"/>
                  </a:moveTo>
                  <a:lnTo>
                    <a:pt x="31815" y="4545"/>
                  </a:lnTo>
                  <a:lnTo>
                    <a:pt x="32122" y="5621"/>
                  </a:lnTo>
                  <a:lnTo>
                    <a:pt x="41339" y="9307"/>
                  </a:lnTo>
                  <a:lnTo>
                    <a:pt x="45884" y="25215"/>
                  </a:lnTo>
                  <a:lnTo>
                    <a:pt x="61805" y="36360"/>
                  </a:lnTo>
                  <a:lnTo>
                    <a:pt x="74991" y="36360"/>
                  </a:lnTo>
                  <a:lnTo>
                    <a:pt x="106806" y="27270"/>
                  </a:lnTo>
                  <a:lnTo>
                    <a:pt x="149983" y="20453"/>
                  </a:lnTo>
                  <a:lnTo>
                    <a:pt x="181797" y="9090"/>
                  </a:lnTo>
                  <a:lnTo>
                    <a:pt x="197704" y="9090"/>
                  </a:lnTo>
                  <a:lnTo>
                    <a:pt x="213612" y="0"/>
                  </a:lnTo>
                  <a:lnTo>
                    <a:pt x="236336" y="0"/>
                  </a:lnTo>
                  <a:lnTo>
                    <a:pt x="236336" y="4762"/>
                  </a:lnTo>
                  <a:lnTo>
                    <a:pt x="245860" y="4762"/>
                  </a:lnTo>
                  <a:lnTo>
                    <a:pt x="245860" y="20670"/>
                  </a:lnTo>
                  <a:lnTo>
                    <a:pt x="245860" y="57029"/>
                  </a:lnTo>
                  <a:lnTo>
                    <a:pt x="245860" y="79754"/>
                  </a:lnTo>
                  <a:lnTo>
                    <a:pt x="223136" y="100206"/>
                  </a:lnTo>
                  <a:lnTo>
                    <a:pt x="202683" y="134293"/>
                  </a:lnTo>
                  <a:lnTo>
                    <a:pt x="170869" y="134293"/>
                  </a:lnTo>
                  <a:lnTo>
                    <a:pt x="52701" y="91116"/>
                  </a:lnTo>
                  <a:lnTo>
                    <a:pt x="51052" y="89232"/>
                  </a:lnTo>
                  <a:lnTo>
                    <a:pt x="43177" y="86354"/>
                  </a:lnTo>
                  <a:lnTo>
                    <a:pt x="27270" y="68174"/>
                  </a:lnTo>
                  <a:lnTo>
                    <a:pt x="15907" y="52267"/>
                  </a:lnTo>
                  <a:lnTo>
                    <a:pt x="0" y="31815"/>
                  </a:lnTo>
                  <a:lnTo>
                    <a:pt x="9090" y="15908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47" name="Freeform 34">
              <a:extLst>
                <a:ext uri="{FF2B5EF4-FFF2-40B4-BE49-F238E27FC236}">
                  <a16:creationId xmlns:a16="http://schemas.microsoft.com/office/drawing/2014/main" id="{0370D148-798C-78BE-0BC0-483082B44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5279" y="2855060"/>
              <a:ext cx="118506" cy="103976"/>
            </a:xfrm>
            <a:custGeom>
              <a:avLst/>
              <a:gdLst>
                <a:gd name="connsiteX0" fmla="*/ 77373 w 250080"/>
                <a:gd name="connsiteY0" fmla="*/ 0 h 216210"/>
                <a:gd name="connsiteX1" fmla="*/ 100097 w 250080"/>
                <a:gd name="connsiteY1" fmla="*/ 47722 h 216210"/>
                <a:gd name="connsiteX2" fmla="*/ 109187 w 250080"/>
                <a:gd name="connsiteY2" fmla="*/ 79537 h 216210"/>
                <a:gd name="connsiteX3" fmla="*/ 131912 w 250080"/>
                <a:gd name="connsiteY3" fmla="*/ 102261 h 216210"/>
                <a:gd name="connsiteX4" fmla="*/ 179634 w 250080"/>
                <a:gd name="connsiteY4" fmla="*/ 134076 h 216210"/>
                <a:gd name="connsiteX5" fmla="*/ 202358 w 250080"/>
                <a:gd name="connsiteY5" fmla="*/ 154528 h 216210"/>
                <a:gd name="connsiteX6" fmla="*/ 222811 w 250080"/>
                <a:gd name="connsiteY6" fmla="*/ 177253 h 216210"/>
                <a:gd name="connsiteX7" fmla="*/ 234173 w 250080"/>
                <a:gd name="connsiteY7" fmla="*/ 193160 h 216210"/>
                <a:gd name="connsiteX8" fmla="*/ 250080 w 250080"/>
                <a:gd name="connsiteY8" fmla="*/ 197705 h 216210"/>
                <a:gd name="connsiteX9" fmla="*/ 243995 w 250080"/>
                <a:gd name="connsiteY9" fmla="*/ 203790 h 216210"/>
                <a:gd name="connsiteX10" fmla="*/ 247699 w 250080"/>
                <a:gd name="connsiteY10" fmla="*/ 204848 h 216210"/>
                <a:gd name="connsiteX11" fmla="*/ 236337 w 250080"/>
                <a:gd name="connsiteY11" fmla="*/ 216210 h 216210"/>
                <a:gd name="connsiteX12" fmla="*/ 220430 w 250080"/>
                <a:gd name="connsiteY12" fmla="*/ 216210 h 216210"/>
                <a:gd name="connsiteX13" fmla="*/ 209067 w 250080"/>
                <a:gd name="connsiteY13" fmla="*/ 204848 h 216210"/>
                <a:gd name="connsiteX14" fmla="*/ 193160 w 250080"/>
                <a:gd name="connsiteY14" fmla="*/ 179851 h 216210"/>
                <a:gd name="connsiteX15" fmla="*/ 177253 w 250080"/>
                <a:gd name="connsiteY15" fmla="*/ 168488 h 216210"/>
                <a:gd name="connsiteX16" fmla="*/ 165890 w 250080"/>
                <a:gd name="connsiteY16" fmla="*/ 157126 h 216210"/>
                <a:gd name="connsiteX17" fmla="*/ 140893 w 250080"/>
                <a:gd name="connsiteY17" fmla="*/ 141219 h 216210"/>
                <a:gd name="connsiteX18" fmla="*/ 113624 w 250080"/>
                <a:gd name="connsiteY18" fmla="*/ 141219 h 216210"/>
                <a:gd name="connsiteX19" fmla="*/ 102261 w 250080"/>
                <a:gd name="connsiteY19" fmla="*/ 129856 h 216210"/>
                <a:gd name="connsiteX20" fmla="*/ 79537 w 250080"/>
                <a:gd name="connsiteY20" fmla="*/ 141219 h 216210"/>
                <a:gd name="connsiteX21" fmla="*/ 59084 w 250080"/>
                <a:gd name="connsiteY21" fmla="*/ 125312 h 216210"/>
                <a:gd name="connsiteX22" fmla="*/ 47722 w 250080"/>
                <a:gd name="connsiteY22" fmla="*/ 152581 h 216210"/>
                <a:gd name="connsiteX23" fmla="*/ 4545 w 250080"/>
                <a:gd name="connsiteY23" fmla="*/ 145764 h 216210"/>
                <a:gd name="connsiteX24" fmla="*/ 0 w 250080"/>
                <a:gd name="connsiteY24" fmla="*/ 129856 h 216210"/>
                <a:gd name="connsiteX25" fmla="*/ 15908 w 250080"/>
                <a:gd name="connsiteY25" fmla="*/ 70772 h 216210"/>
                <a:gd name="connsiteX26" fmla="*/ 15908 w 250080"/>
                <a:gd name="connsiteY26" fmla="*/ 50320 h 216210"/>
                <a:gd name="connsiteX27" fmla="*/ 18289 w 250080"/>
                <a:gd name="connsiteY27" fmla="*/ 47939 h 216210"/>
                <a:gd name="connsiteX28" fmla="*/ 18289 w 250080"/>
                <a:gd name="connsiteY28" fmla="*/ 43177 h 216210"/>
                <a:gd name="connsiteX29" fmla="*/ 34196 w 250080"/>
                <a:gd name="connsiteY29" fmla="*/ 27270 h 216210"/>
                <a:gd name="connsiteX30" fmla="*/ 61465 w 250080"/>
                <a:gd name="connsiteY30" fmla="*/ 20452 h 216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50080" h="216210">
                  <a:moveTo>
                    <a:pt x="77373" y="0"/>
                  </a:moveTo>
                  <a:lnTo>
                    <a:pt x="100097" y="47722"/>
                  </a:lnTo>
                  <a:lnTo>
                    <a:pt x="109187" y="79537"/>
                  </a:lnTo>
                  <a:lnTo>
                    <a:pt x="131912" y="102261"/>
                  </a:lnTo>
                  <a:lnTo>
                    <a:pt x="179634" y="134076"/>
                  </a:lnTo>
                  <a:lnTo>
                    <a:pt x="202358" y="154528"/>
                  </a:lnTo>
                  <a:lnTo>
                    <a:pt x="222811" y="177253"/>
                  </a:lnTo>
                  <a:lnTo>
                    <a:pt x="234173" y="193160"/>
                  </a:lnTo>
                  <a:lnTo>
                    <a:pt x="250080" y="197705"/>
                  </a:lnTo>
                  <a:lnTo>
                    <a:pt x="243995" y="203790"/>
                  </a:lnTo>
                  <a:lnTo>
                    <a:pt x="247699" y="204848"/>
                  </a:lnTo>
                  <a:lnTo>
                    <a:pt x="236337" y="216210"/>
                  </a:lnTo>
                  <a:lnTo>
                    <a:pt x="220430" y="216210"/>
                  </a:lnTo>
                  <a:lnTo>
                    <a:pt x="209067" y="204848"/>
                  </a:lnTo>
                  <a:lnTo>
                    <a:pt x="193160" y="179851"/>
                  </a:lnTo>
                  <a:lnTo>
                    <a:pt x="177253" y="168488"/>
                  </a:lnTo>
                  <a:lnTo>
                    <a:pt x="165890" y="157126"/>
                  </a:lnTo>
                  <a:lnTo>
                    <a:pt x="140893" y="141219"/>
                  </a:lnTo>
                  <a:lnTo>
                    <a:pt x="113624" y="141219"/>
                  </a:lnTo>
                  <a:lnTo>
                    <a:pt x="102261" y="129856"/>
                  </a:lnTo>
                  <a:lnTo>
                    <a:pt x="79537" y="141219"/>
                  </a:lnTo>
                  <a:lnTo>
                    <a:pt x="59084" y="125312"/>
                  </a:lnTo>
                  <a:lnTo>
                    <a:pt x="47722" y="152581"/>
                  </a:lnTo>
                  <a:lnTo>
                    <a:pt x="4545" y="145764"/>
                  </a:lnTo>
                  <a:lnTo>
                    <a:pt x="0" y="129856"/>
                  </a:lnTo>
                  <a:lnTo>
                    <a:pt x="15908" y="70772"/>
                  </a:lnTo>
                  <a:lnTo>
                    <a:pt x="15908" y="50320"/>
                  </a:lnTo>
                  <a:lnTo>
                    <a:pt x="18289" y="47939"/>
                  </a:lnTo>
                  <a:lnTo>
                    <a:pt x="18289" y="43177"/>
                  </a:lnTo>
                  <a:lnTo>
                    <a:pt x="34196" y="27270"/>
                  </a:lnTo>
                  <a:lnTo>
                    <a:pt x="61465" y="2045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48" name="Freeform 35">
              <a:extLst>
                <a:ext uri="{FF2B5EF4-FFF2-40B4-BE49-F238E27FC236}">
                  <a16:creationId xmlns:a16="http://schemas.microsoft.com/office/drawing/2014/main" id="{E7AD7630-9E97-32E1-9542-EB979C62ED97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6001" y="2909703"/>
              <a:ext cx="261779" cy="211124"/>
            </a:xfrm>
            <a:custGeom>
              <a:avLst/>
              <a:gdLst>
                <a:gd name="connsiteX0" fmla="*/ 186559 w 552426"/>
                <a:gd name="connsiteY0" fmla="*/ 0 h 439020"/>
                <a:gd name="connsiteX1" fmla="*/ 207012 w 552426"/>
                <a:gd name="connsiteY1" fmla="*/ 20452 h 439020"/>
                <a:gd name="connsiteX2" fmla="*/ 229736 w 552426"/>
                <a:gd name="connsiteY2" fmla="*/ 9090 h 439020"/>
                <a:gd name="connsiteX3" fmla="*/ 241099 w 552426"/>
                <a:gd name="connsiteY3" fmla="*/ 15908 h 439020"/>
                <a:gd name="connsiteX4" fmla="*/ 268368 w 552426"/>
                <a:gd name="connsiteY4" fmla="*/ 20452 h 439020"/>
                <a:gd name="connsiteX5" fmla="*/ 300183 w 552426"/>
                <a:gd name="connsiteY5" fmla="*/ 31815 h 439020"/>
                <a:gd name="connsiteX6" fmla="*/ 309273 w 552426"/>
                <a:gd name="connsiteY6" fmla="*/ 47722 h 439020"/>
                <a:gd name="connsiteX7" fmla="*/ 320635 w 552426"/>
                <a:gd name="connsiteY7" fmla="*/ 59084 h 439020"/>
                <a:gd name="connsiteX8" fmla="*/ 336542 w 552426"/>
                <a:gd name="connsiteY8" fmla="*/ 79537 h 439020"/>
                <a:gd name="connsiteX9" fmla="*/ 347904 w 552426"/>
                <a:gd name="connsiteY9" fmla="*/ 90899 h 439020"/>
                <a:gd name="connsiteX10" fmla="*/ 341952 w 552426"/>
                <a:gd name="connsiteY10" fmla="*/ 99232 h 439020"/>
                <a:gd name="connsiteX11" fmla="*/ 343142 w 552426"/>
                <a:gd name="connsiteY11" fmla="*/ 100423 h 439020"/>
                <a:gd name="connsiteX12" fmla="*/ 333181 w 552426"/>
                <a:gd name="connsiteY12" fmla="*/ 114370 h 439020"/>
                <a:gd name="connsiteX13" fmla="*/ 327452 w 552426"/>
                <a:gd name="connsiteY13" fmla="*/ 127258 h 439020"/>
                <a:gd name="connsiteX14" fmla="*/ 327452 w 552426"/>
                <a:gd name="connsiteY14" fmla="*/ 138621 h 439020"/>
                <a:gd name="connsiteX15" fmla="*/ 327452 w 552426"/>
                <a:gd name="connsiteY15" fmla="*/ 149983 h 439020"/>
                <a:gd name="connsiteX16" fmla="*/ 347904 w 552426"/>
                <a:gd name="connsiteY16" fmla="*/ 149983 h 439020"/>
                <a:gd name="connsiteX17" fmla="*/ 359267 w 552426"/>
                <a:gd name="connsiteY17" fmla="*/ 143166 h 439020"/>
                <a:gd name="connsiteX18" fmla="*/ 368357 w 552426"/>
                <a:gd name="connsiteY18" fmla="*/ 149983 h 439020"/>
                <a:gd name="connsiteX19" fmla="*/ 363119 w 552426"/>
                <a:gd name="connsiteY19" fmla="*/ 159150 h 439020"/>
                <a:gd name="connsiteX20" fmla="*/ 363595 w 552426"/>
                <a:gd name="connsiteY20" fmla="*/ 159507 h 439020"/>
                <a:gd name="connsiteX21" fmla="*/ 359659 w 552426"/>
                <a:gd name="connsiteY21" fmla="*/ 166394 h 439020"/>
                <a:gd name="connsiteX22" fmla="*/ 375174 w 552426"/>
                <a:gd name="connsiteY22" fmla="*/ 186342 h 439020"/>
                <a:gd name="connsiteX23" fmla="*/ 386536 w 552426"/>
                <a:gd name="connsiteY23" fmla="*/ 202250 h 439020"/>
                <a:gd name="connsiteX24" fmla="*/ 402444 w 552426"/>
                <a:gd name="connsiteY24" fmla="*/ 220429 h 439020"/>
                <a:gd name="connsiteX25" fmla="*/ 520612 w 552426"/>
                <a:gd name="connsiteY25" fmla="*/ 263606 h 439020"/>
                <a:gd name="connsiteX26" fmla="*/ 552426 w 552426"/>
                <a:gd name="connsiteY26" fmla="*/ 263606 h 439020"/>
                <a:gd name="connsiteX27" fmla="*/ 542902 w 552426"/>
                <a:gd name="connsiteY27" fmla="*/ 273130 h 439020"/>
                <a:gd name="connsiteX28" fmla="*/ 547664 w 552426"/>
                <a:gd name="connsiteY28" fmla="*/ 273130 h 439020"/>
                <a:gd name="connsiteX29" fmla="*/ 440858 w 552426"/>
                <a:gd name="connsiteY29" fmla="*/ 379936 h 439020"/>
                <a:gd name="connsiteX30" fmla="*/ 390864 w 552426"/>
                <a:gd name="connsiteY30" fmla="*/ 379936 h 439020"/>
                <a:gd name="connsiteX31" fmla="*/ 359050 w 552426"/>
                <a:gd name="connsiteY31" fmla="*/ 407206 h 439020"/>
                <a:gd name="connsiteX32" fmla="*/ 338597 w 552426"/>
                <a:gd name="connsiteY32" fmla="*/ 407206 h 439020"/>
                <a:gd name="connsiteX33" fmla="*/ 327235 w 552426"/>
                <a:gd name="connsiteY33" fmla="*/ 416296 h 439020"/>
                <a:gd name="connsiteX34" fmla="*/ 304511 w 552426"/>
                <a:gd name="connsiteY34" fmla="*/ 416296 h 439020"/>
                <a:gd name="connsiteX35" fmla="*/ 288603 w 552426"/>
                <a:gd name="connsiteY35" fmla="*/ 407206 h 439020"/>
                <a:gd name="connsiteX36" fmla="*/ 252244 w 552426"/>
                <a:gd name="connsiteY36" fmla="*/ 423113 h 439020"/>
                <a:gd name="connsiteX37" fmla="*/ 240882 w 552426"/>
                <a:gd name="connsiteY37" fmla="*/ 439020 h 439020"/>
                <a:gd name="connsiteX38" fmla="*/ 220429 w 552426"/>
                <a:gd name="connsiteY38" fmla="*/ 434475 h 439020"/>
                <a:gd name="connsiteX39" fmla="*/ 209067 w 552426"/>
                <a:gd name="connsiteY39" fmla="*/ 427658 h 439020"/>
                <a:gd name="connsiteX40" fmla="*/ 202250 w 552426"/>
                <a:gd name="connsiteY40" fmla="*/ 434475 h 439020"/>
                <a:gd name="connsiteX41" fmla="*/ 193160 w 552426"/>
                <a:gd name="connsiteY41" fmla="*/ 434475 h 439020"/>
                <a:gd name="connsiteX42" fmla="*/ 143166 w 552426"/>
                <a:gd name="connsiteY42" fmla="*/ 400388 h 439020"/>
                <a:gd name="connsiteX43" fmla="*/ 118168 w 552426"/>
                <a:gd name="connsiteY43" fmla="*/ 400388 h 439020"/>
                <a:gd name="connsiteX44" fmla="*/ 106806 w 552426"/>
                <a:gd name="connsiteY44" fmla="*/ 391298 h 439020"/>
                <a:gd name="connsiteX45" fmla="*/ 106806 w 552426"/>
                <a:gd name="connsiteY45" fmla="*/ 368574 h 439020"/>
                <a:gd name="connsiteX46" fmla="*/ 84081 w 552426"/>
                <a:gd name="connsiteY46" fmla="*/ 364029 h 439020"/>
                <a:gd name="connsiteX47" fmla="*/ 63629 w 552426"/>
                <a:gd name="connsiteY47" fmla="*/ 320852 h 439020"/>
                <a:gd name="connsiteX48" fmla="*/ 47722 w 552426"/>
                <a:gd name="connsiteY48" fmla="*/ 314035 h 439020"/>
                <a:gd name="connsiteX49" fmla="*/ 43177 w 552426"/>
                <a:gd name="connsiteY49" fmla="*/ 298127 h 439020"/>
                <a:gd name="connsiteX50" fmla="*/ 20452 w 552426"/>
                <a:gd name="connsiteY50" fmla="*/ 282220 h 439020"/>
                <a:gd name="connsiteX51" fmla="*/ 0 w 552426"/>
                <a:gd name="connsiteY51" fmla="*/ 277675 h 439020"/>
                <a:gd name="connsiteX52" fmla="*/ 9090 w 552426"/>
                <a:gd name="connsiteY52" fmla="*/ 254951 h 439020"/>
                <a:gd name="connsiteX53" fmla="*/ 10043 w 552426"/>
                <a:gd name="connsiteY53" fmla="*/ 254951 h 439020"/>
                <a:gd name="connsiteX54" fmla="*/ 13852 w 552426"/>
                <a:gd name="connsiteY54" fmla="*/ 245427 h 439020"/>
                <a:gd name="connsiteX55" fmla="*/ 36360 w 552426"/>
                <a:gd name="connsiteY55" fmla="*/ 245427 h 439020"/>
                <a:gd name="connsiteX56" fmla="*/ 36360 w 552426"/>
                <a:gd name="connsiteY56" fmla="*/ 211774 h 439020"/>
                <a:gd name="connsiteX57" fmla="*/ 47722 w 552426"/>
                <a:gd name="connsiteY57" fmla="*/ 175414 h 439020"/>
                <a:gd name="connsiteX58" fmla="*/ 50021 w 552426"/>
                <a:gd name="connsiteY58" fmla="*/ 173772 h 439020"/>
                <a:gd name="connsiteX59" fmla="*/ 52484 w 552426"/>
                <a:gd name="connsiteY59" fmla="*/ 165890 h 439020"/>
                <a:gd name="connsiteX60" fmla="*/ 65827 w 552426"/>
                <a:gd name="connsiteY60" fmla="*/ 156359 h 439020"/>
                <a:gd name="connsiteX61" fmla="*/ 68174 w 552426"/>
                <a:gd name="connsiteY61" fmla="*/ 148145 h 439020"/>
                <a:gd name="connsiteX62" fmla="*/ 84081 w 552426"/>
                <a:gd name="connsiteY62" fmla="*/ 116330 h 439020"/>
                <a:gd name="connsiteX63" fmla="*/ 84081 w 552426"/>
                <a:gd name="connsiteY63" fmla="*/ 116330 h 439020"/>
                <a:gd name="connsiteX64" fmla="*/ 88843 w 552426"/>
                <a:gd name="connsiteY64" fmla="*/ 106806 h 439020"/>
                <a:gd name="connsiteX65" fmla="*/ 110388 w 552426"/>
                <a:gd name="connsiteY65" fmla="*/ 91725 h 439020"/>
                <a:gd name="connsiteX66" fmla="*/ 122713 w 552426"/>
                <a:gd name="connsiteY66" fmla="*/ 61791 h 439020"/>
                <a:gd name="connsiteX67" fmla="*/ 127258 w 552426"/>
                <a:gd name="connsiteY67" fmla="*/ 29976 h 439020"/>
                <a:gd name="connsiteX68" fmla="*/ 130536 w 552426"/>
                <a:gd name="connsiteY68" fmla="*/ 30839 h 439020"/>
                <a:gd name="connsiteX69" fmla="*/ 132020 w 552426"/>
                <a:gd name="connsiteY69" fmla="*/ 20452 h 439020"/>
                <a:gd name="connsiteX70" fmla="*/ 173953 w 552426"/>
                <a:gd name="connsiteY70" fmla="*/ 31487 h 439020"/>
                <a:gd name="connsiteX71" fmla="*/ 181797 w 552426"/>
                <a:gd name="connsiteY71" fmla="*/ 9524 h 439020"/>
                <a:gd name="connsiteX72" fmla="*/ 182800 w 552426"/>
                <a:gd name="connsiteY72" fmla="*/ 10527 h 439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552426" h="439020">
                  <a:moveTo>
                    <a:pt x="186559" y="0"/>
                  </a:moveTo>
                  <a:lnTo>
                    <a:pt x="207012" y="20452"/>
                  </a:lnTo>
                  <a:lnTo>
                    <a:pt x="229736" y="9090"/>
                  </a:lnTo>
                  <a:lnTo>
                    <a:pt x="241099" y="15908"/>
                  </a:lnTo>
                  <a:lnTo>
                    <a:pt x="268368" y="20452"/>
                  </a:lnTo>
                  <a:lnTo>
                    <a:pt x="300183" y="31815"/>
                  </a:lnTo>
                  <a:lnTo>
                    <a:pt x="309273" y="47722"/>
                  </a:lnTo>
                  <a:lnTo>
                    <a:pt x="320635" y="59084"/>
                  </a:lnTo>
                  <a:lnTo>
                    <a:pt x="336542" y="79537"/>
                  </a:lnTo>
                  <a:lnTo>
                    <a:pt x="347904" y="90899"/>
                  </a:lnTo>
                  <a:lnTo>
                    <a:pt x="341952" y="99232"/>
                  </a:lnTo>
                  <a:lnTo>
                    <a:pt x="343142" y="100423"/>
                  </a:lnTo>
                  <a:lnTo>
                    <a:pt x="333181" y="114370"/>
                  </a:lnTo>
                  <a:lnTo>
                    <a:pt x="327452" y="127258"/>
                  </a:lnTo>
                  <a:lnTo>
                    <a:pt x="327452" y="138621"/>
                  </a:lnTo>
                  <a:lnTo>
                    <a:pt x="327452" y="149983"/>
                  </a:lnTo>
                  <a:lnTo>
                    <a:pt x="347904" y="149983"/>
                  </a:lnTo>
                  <a:lnTo>
                    <a:pt x="359267" y="143166"/>
                  </a:lnTo>
                  <a:lnTo>
                    <a:pt x="368357" y="149983"/>
                  </a:lnTo>
                  <a:lnTo>
                    <a:pt x="363119" y="159150"/>
                  </a:lnTo>
                  <a:lnTo>
                    <a:pt x="363595" y="159507"/>
                  </a:lnTo>
                  <a:lnTo>
                    <a:pt x="359659" y="166394"/>
                  </a:lnTo>
                  <a:lnTo>
                    <a:pt x="375174" y="186342"/>
                  </a:lnTo>
                  <a:lnTo>
                    <a:pt x="386536" y="202250"/>
                  </a:lnTo>
                  <a:lnTo>
                    <a:pt x="402444" y="220429"/>
                  </a:lnTo>
                  <a:lnTo>
                    <a:pt x="520612" y="263606"/>
                  </a:lnTo>
                  <a:lnTo>
                    <a:pt x="552426" y="263606"/>
                  </a:lnTo>
                  <a:lnTo>
                    <a:pt x="542902" y="273130"/>
                  </a:lnTo>
                  <a:lnTo>
                    <a:pt x="547664" y="273130"/>
                  </a:lnTo>
                  <a:lnTo>
                    <a:pt x="440858" y="379936"/>
                  </a:lnTo>
                  <a:lnTo>
                    <a:pt x="390864" y="379936"/>
                  </a:lnTo>
                  <a:lnTo>
                    <a:pt x="359050" y="407206"/>
                  </a:lnTo>
                  <a:lnTo>
                    <a:pt x="338597" y="407206"/>
                  </a:lnTo>
                  <a:lnTo>
                    <a:pt x="327235" y="416296"/>
                  </a:lnTo>
                  <a:lnTo>
                    <a:pt x="304511" y="416296"/>
                  </a:lnTo>
                  <a:lnTo>
                    <a:pt x="288603" y="407206"/>
                  </a:lnTo>
                  <a:lnTo>
                    <a:pt x="252244" y="423113"/>
                  </a:lnTo>
                  <a:lnTo>
                    <a:pt x="240882" y="439020"/>
                  </a:lnTo>
                  <a:lnTo>
                    <a:pt x="220429" y="434475"/>
                  </a:lnTo>
                  <a:lnTo>
                    <a:pt x="209067" y="427658"/>
                  </a:lnTo>
                  <a:lnTo>
                    <a:pt x="202250" y="434475"/>
                  </a:lnTo>
                  <a:lnTo>
                    <a:pt x="193160" y="434475"/>
                  </a:lnTo>
                  <a:lnTo>
                    <a:pt x="143166" y="400388"/>
                  </a:lnTo>
                  <a:lnTo>
                    <a:pt x="118168" y="400388"/>
                  </a:lnTo>
                  <a:lnTo>
                    <a:pt x="106806" y="391298"/>
                  </a:lnTo>
                  <a:lnTo>
                    <a:pt x="106806" y="368574"/>
                  </a:lnTo>
                  <a:lnTo>
                    <a:pt x="84081" y="364029"/>
                  </a:lnTo>
                  <a:lnTo>
                    <a:pt x="63629" y="320852"/>
                  </a:lnTo>
                  <a:lnTo>
                    <a:pt x="47722" y="314035"/>
                  </a:lnTo>
                  <a:lnTo>
                    <a:pt x="43177" y="298127"/>
                  </a:lnTo>
                  <a:lnTo>
                    <a:pt x="20452" y="282220"/>
                  </a:lnTo>
                  <a:lnTo>
                    <a:pt x="0" y="277675"/>
                  </a:lnTo>
                  <a:lnTo>
                    <a:pt x="9090" y="254951"/>
                  </a:lnTo>
                  <a:lnTo>
                    <a:pt x="10043" y="254951"/>
                  </a:lnTo>
                  <a:lnTo>
                    <a:pt x="13852" y="245427"/>
                  </a:lnTo>
                  <a:lnTo>
                    <a:pt x="36360" y="245427"/>
                  </a:lnTo>
                  <a:lnTo>
                    <a:pt x="36360" y="211774"/>
                  </a:lnTo>
                  <a:lnTo>
                    <a:pt x="47722" y="175414"/>
                  </a:lnTo>
                  <a:lnTo>
                    <a:pt x="50021" y="173772"/>
                  </a:lnTo>
                  <a:lnTo>
                    <a:pt x="52484" y="165890"/>
                  </a:lnTo>
                  <a:lnTo>
                    <a:pt x="65827" y="156359"/>
                  </a:lnTo>
                  <a:lnTo>
                    <a:pt x="68174" y="148145"/>
                  </a:lnTo>
                  <a:lnTo>
                    <a:pt x="84081" y="116330"/>
                  </a:lnTo>
                  <a:lnTo>
                    <a:pt x="84081" y="116330"/>
                  </a:lnTo>
                  <a:lnTo>
                    <a:pt x="88843" y="106806"/>
                  </a:lnTo>
                  <a:lnTo>
                    <a:pt x="110388" y="91725"/>
                  </a:lnTo>
                  <a:lnTo>
                    <a:pt x="122713" y="61791"/>
                  </a:lnTo>
                  <a:lnTo>
                    <a:pt x="127258" y="29976"/>
                  </a:lnTo>
                  <a:lnTo>
                    <a:pt x="130536" y="30839"/>
                  </a:lnTo>
                  <a:lnTo>
                    <a:pt x="132020" y="20452"/>
                  </a:lnTo>
                  <a:lnTo>
                    <a:pt x="173953" y="31487"/>
                  </a:lnTo>
                  <a:lnTo>
                    <a:pt x="181797" y="9524"/>
                  </a:lnTo>
                  <a:lnTo>
                    <a:pt x="182800" y="1052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49" name="Freeform 36">
              <a:extLst>
                <a:ext uri="{FF2B5EF4-FFF2-40B4-BE49-F238E27FC236}">
                  <a16:creationId xmlns:a16="http://schemas.microsoft.com/office/drawing/2014/main" id="{3D471A33-5C04-527C-61B4-A6EF2B30AD07}"/>
                </a:ext>
              </a:extLst>
            </p:cNvPr>
            <p:cNvSpPr>
              <a:spLocks/>
            </p:cNvSpPr>
            <p:nvPr/>
          </p:nvSpPr>
          <p:spPr bwMode="auto">
            <a:xfrm>
              <a:off x="9034422" y="2779655"/>
              <a:ext cx="287521" cy="338880"/>
            </a:xfrm>
            <a:custGeom>
              <a:avLst/>
              <a:gdLst>
                <a:gd name="connsiteX0" fmla="*/ 113623 w 606748"/>
                <a:gd name="connsiteY0" fmla="*/ 0 h 704681"/>
                <a:gd name="connsiteX1" fmla="*/ 263606 w 606748"/>
                <a:gd name="connsiteY1" fmla="*/ 0 h 704681"/>
                <a:gd name="connsiteX2" fmla="*/ 409044 w 606748"/>
                <a:gd name="connsiteY2" fmla="*/ 0 h 704681"/>
                <a:gd name="connsiteX3" fmla="*/ 547664 w 606748"/>
                <a:gd name="connsiteY3" fmla="*/ 0 h 704681"/>
                <a:gd name="connsiteX4" fmla="*/ 563571 w 606748"/>
                <a:gd name="connsiteY4" fmla="*/ 38632 h 704681"/>
                <a:gd name="connsiteX5" fmla="*/ 561888 w 606748"/>
                <a:gd name="connsiteY5" fmla="*/ 39306 h 704681"/>
                <a:gd name="connsiteX6" fmla="*/ 563571 w 606748"/>
                <a:gd name="connsiteY6" fmla="*/ 43394 h 704681"/>
                <a:gd name="connsiteX7" fmla="*/ 552916 w 606748"/>
                <a:gd name="connsiteY7" fmla="*/ 47656 h 704681"/>
                <a:gd name="connsiteX8" fmla="*/ 559026 w 606748"/>
                <a:gd name="connsiteY8" fmla="*/ 86354 h 704681"/>
                <a:gd name="connsiteX9" fmla="*/ 574934 w 606748"/>
                <a:gd name="connsiteY9" fmla="*/ 134076 h 704681"/>
                <a:gd name="connsiteX10" fmla="*/ 590841 w 606748"/>
                <a:gd name="connsiteY10" fmla="*/ 140893 h 704681"/>
                <a:gd name="connsiteX11" fmla="*/ 606748 w 606748"/>
                <a:gd name="connsiteY11" fmla="*/ 156800 h 704681"/>
                <a:gd name="connsiteX12" fmla="*/ 604665 w 606748"/>
                <a:gd name="connsiteY12" fmla="*/ 159479 h 704681"/>
                <a:gd name="connsiteX13" fmla="*/ 606748 w 606748"/>
                <a:gd name="connsiteY13" fmla="*/ 161562 h 704681"/>
                <a:gd name="connsiteX14" fmla="*/ 590841 w 606748"/>
                <a:gd name="connsiteY14" fmla="*/ 182014 h 704681"/>
                <a:gd name="connsiteX15" fmla="*/ 563571 w 606748"/>
                <a:gd name="connsiteY15" fmla="*/ 188832 h 704681"/>
                <a:gd name="connsiteX16" fmla="*/ 547664 w 606748"/>
                <a:gd name="connsiteY16" fmla="*/ 197922 h 704681"/>
                <a:gd name="connsiteX17" fmla="*/ 547664 w 606748"/>
                <a:gd name="connsiteY17" fmla="*/ 220429 h 704681"/>
                <a:gd name="connsiteX18" fmla="*/ 547664 w 606748"/>
                <a:gd name="connsiteY18" fmla="*/ 225191 h 704681"/>
                <a:gd name="connsiteX19" fmla="*/ 532444 w 606748"/>
                <a:gd name="connsiteY19" fmla="*/ 277374 h 704681"/>
                <a:gd name="connsiteX20" fmla="*/ 536302 w 606748"/>
                <a:gd name="connsiteY20" fmla="*/ 290876 h 704681"/>
                <a:gd name="connsiteX21" fmla="*/ 535848 w 606748"/>
                <a:gd name="connsiteY21" fmla="*/ 294050 h 704681"/>
                <a:gd name="connsiteX22" fmla="*/ 536302 w 606748"/>
                <a:gd name="connsiteY22" fmla="*/ 295638 h 704681"/>
                <a:gd name="connsiteX23" fmla="*/ 531757 w 606748"/>
                <a:gd name="connsiteY23" fmla="*/ 327452 h 704681"/>
                <a:gd name="connsiteX24" fmla="*/ 515850 w 606748"/>
                <a:gd name="connsiteY24" fmla="*/ 366084 h 704681"/>
                <a:gd name="connsiteX25" fmla="*/ 493125 w 606748"/>
                <a:gd name="connsiteY25" fmla="*/ 381991 h 704681"/>
                <a:gd name="connsiteX26" fmla="*/ 477218 w 606748"/>
                <a:gd name="connsiteY26" fmla="*/ 413806 h 704681"/>
                <a:gd name="connsiteX27" fmla="*/ 472673 w 606748"/>
                <a:gd name="connsiteY27" fmla="*/ 429713 h 704681"/>
                <a:gd name="connsiteX28" fmla="*/ 456766 w 606748"/>
                <a:gd name="connsiteY28" fmla="*/ 441075 h 704681"/>
                <a:gd name="connsiteX29" fmla="*/ 445403 w 606748"/>
                <a:gd name="connsiteY29" fmla="*/ 477435 h 704681"/>
                <a:gd name="connsiteX30" fmla="*/ 445403 w 606748"/>
                <a:gd name="connsiteY30" fmla="*/ 506760 h 704681"/>
                <a:gd name="connsiteX31" fmla="*/ 445403 w 606748"/>
                <a:gd name="connsiteY31" fmla="*/ 511522 h 704681"/>
                <a:gd name="connsiteX32" fmla="*/ 440858 w 606748"/>
                <a:gd name="connsiteY32" fmla="*/ 520612 h 704681"/>
                <a:gd name="connsiteX33" fmla="*/ 418134 w 606748"/>
                <a:gd name="connsiteY33" fmla="*/ 520612 h 704681"/>
                <a:gd name="connsiteX34" fmla="*/ 410793 w 606748"/>
                <a:gd name="connsiteY34" fmla="*/ 538963 h 704681"/>
                <a:gd name="connsiteX35" fmla="*/ 429496 w 606748"/>
                <a:gd name="connsiteY35" fmla="*/ 543119 h 704681"/>
                <a:gd name="connsiteX36" fmla="*/ 445403 w 606748"/>
                <a:gd name="connsiteY36" fmla="*/ 559026 h 704681"/>
                <a:gd name="connsiteX37" fmla="*/ 456766 w 606748"/>
                <a:gd name="connsiteY37" fmla="*/ 574934 h 704681"/>
                <a:gd name="connsiteX38" fmla="*/ 472673 w 606748"/>
                <a:gd name="connsiteY38" fmla="*/ 581751 h 704681"/>
                <a:gd name="connsiteX39" fmla="*/ 493125 w 606748"/>
                <a:gd name="connsiteY39" fmla="*/ 624928 h 704681"/>
                <a:gd name="connsiteX40" fmla="*/ 491500 w 606748"/>
                <a:gd name="connsiteY40" fmla="*/ 626258 h 704681"/>
                <a:gd name="connsiteX41" fmla="*/ 493125 w 606748"/>
                <a:gd name="connsiteY41" fmla="*/ 629690 h 704681"/>
                <a:gd name="connsiteX42" fmla="*/ 468128 w 606748"/>
                <a:gd name="connsiteY42" fmla="*/ 650142 h 704681"/>
                <a:gd name="connsiteX43" fmla="*/ 445403 w 606748"/>
                <a:gd name="connsiteY43" fmla="*/ 672867 h 704681"/>
                <a:gd name="connsiteX44" fmla="*/ 424951 w 606748"/>
                <a:gd name="connsiteY44" fmla="*/ 693319 h 704681"/>
                <a:gd name="connsiteX45" fmla="*/ 397682 w 606748"/>
                <a:gd name="connsiteY45" fmla="*/ 693319 h 704681"/>
                <a:gd name="connsiteX46" fmla="*/ 365867 w 606748"/>
                <a:gd name="connsiteY46" fmla="*/ 700136 h 704681"/>
                <a:gd name="connsiteX47" fmla="*/ 343142 w 606748"/>
                <a:gd name="connsiteY47" fmla="*/ 693319 h 704681"/>
                <a:gd name="connsiteX48" fmla="*/ 334053 w 606748"/>
                <a:gd name="connsiteY48" fmla="*/ 704681 h 704681"/>
                <a:gd name="connsiteX49" fmla="*/ 295421 w 606748"/>
                <a:gd name="connsiteY49" fmla="*/ 677412 h 704681"/>
                <a:gd name="connsiteX50" fmla="*/ 290876 w 606748"/>
                <a:gd name="connsiteY50" fmla="*/ 661504 h 704681"/>
                <a:gd name="connsiteX51" fmla="*/ 268151 w 606748"/>
                <a:gd name="connsiteY51" fmla="*/ 666049 h 704681"/>
                <a:gd name="connsiteX52" fmla="*/ 252244 w 606748"/>
                <a:gd name="connsiteY52" fmla="*/ 666049 h 704681"/>
                <a:gd name="connsiteX53" fmla="*/ 240881 w 606748"/>
                <a:gd name="connsiteY53" fmla="*/ 672867 h 704681"/>
                <a:gd name="connsiteX54" fmla="*/ 224974 w 606748"/>
                <a:gd name="connsiteY54" fmla="*/ 666049 h 704681"/>
                <a:gd name="connsiteX55" fmla="*/ 204522 w 606748"/>
                <a:gd name="connsiteY55" fmla="*/ 638780 h 704681"/>
                <a:gd name="connsiteX56" fmla="*/ 197705 w 606748"/>
                <a:gd name="connsiteY56" fmla="*/ 629690 h 704681"/>
                <a:gd name="connsiteX57" fmla="*/ 165890 w 606748"/>
                <a:gd name="connsiteY57" fmla="*/ 613783 h 704681"/>
                <a:gd name="connsiteX58" fmla="*/ 161345 w 606748"/>
                <a:gd name="connsiteY58" fmla="*/ 591058 h 704681"/>
                <a:gd name="connsiteX59" fmla="*/ 145438 w 606748"/>
                <a:gd name="connsiteY59" fmla="*/ 575151 h 704681"/>
                <a:gd name="connsiteX60" fmla="*/ 118168 w 606748"/>
                <a:gd name="connsiteY60" fmla="*/ 554699 h 704681"/>
                <a:gd name="connsiteX61" fmla="*/ 118168 w 606748"/>
                <a:gd name="connsiteY61" fmla="*/ 549937 h 704681"/>
                <a:gd name="connsiteX62" fmla="*/ 118168 w 606748"/>
                <a:gd name="connsiteY62" fmla="*/ 543336 h 704681"/>
                <a:gd name="connsiteX63" fmla="*/ 95444 w 606748"/>
                <a:gd name="connsiteY63" fmla="*/ 527429 h 704681"/>
                <a:gd name="connsiteX64" fmla="*/ 70447 w 606748"/>
                <a:gd name="connsiteY64" fmla="*/ 511522 h 704681"/>
                <a:gd name="connsiteX65" fmla="*/ 59084 w 606748"/>
                <a:gd name="connsiteY65" fmla="*/ 500159 h 704681"/>
                <a:gd name="connsiteX66" fmla="*/ 54539 w 606748"/>
                <a:gd name="connsiteY66" fmla="*/ 488797 h 704681"/>
                <a:gd name="connsiteX67" fmla="*/ 55660 w 606748"/>
                <a:gd name="connsiteY67" fmla="*/ 486836 h 704681"/>
                <a:gd name="connsiteX68" fmla="*/ 54539 w 606748"/>
                <a:gd name="connsiteY68" fmla="*/ 484035 h 704681"/>
                <a:gd name="connsiteX69" fmla="*/ 63629 w 606748"/>
                <a:gd name="connsiteY69" fmla="*/ 468128 h 704681"/>
                <a:gd name="connsiteX70" fmla="*/ 63629 w 606748"/>
                <a:gd name="connsiteY70" fmla="*/ 461528 h 704681"/>
                <a:gd name="connsiteX71" fmla="*/ 36360 w 606748"/>
                <a:gd name="connsiteY71" fmla="*/ 436530 h 704681"/>
                <a:gd name="connsiteX72" fmla="*/ 36360 w 606748"/>
                <a:gd name="connsiteY72" fmla="*/ 431768 h 704681"/>
                <a:gd name="connsiteX73" fmla="*/ 36360 w 606748"/>
                <a:gd name="connsiteY73" fmla="*/ 418351 h 704681"/>
                <a:gd name="connsiteX74" fmla="*/ 36360 w 606748"/>
                <a:gd name="connsiteY74" fmla="*/ 413806 h 704681"/>
                <a:gd name="connsiteX75" fmla="*/ 20452 w 606748"/>
                <a:gd name="connsiteY75" fmla="*/ 397899 h 704681"/>
                <a:gd name="connsiteX76" fmla="*/ 20452 w 606748"/>
                <a:gd name="connsiteY76" fmla="*/ 393137 h 704681"/>
                <a:gd name="connsiteX77" fmla="*/ 20452 w 606748"/>
                <a:gd name="connsiteY77" fmla="*/ 377446 h 704681"/>
                <a:gd name="connsiteX78" fmla="*/ 15908 w 606748"/>
                <a:gd name="connsiteY78" fmla="*/ 366084 h 704681"/>
                <a:gd name="connsiteX79" fmla="*/ 0 w 606748"/>
                <a:gd name="connsiteY79" fmla="*/ 366084 h 704681"/>
                <a:gd name="connsiteX80" fmla="*/ 1905 w 606748"/>
                <a:gd name="connsiteY80" fmla="*/ 361322 h 704681"/>
                <a:gd name="connsiteX81" fmla="*/ 0 w 606748"/>
                <a:gd name="connsiteY81" fmla="*/ 361322 h 704681"/>
                <a:gd name="connsiteX82" fmla="*/ 4545 w 606748"/>
                <a:gd name="connsiteY82" fmla="*/ 349960 h 704681"/>
                <a:gd name="connsiteX83" fmla="*/ 14936 w 606748"/>
                <a:gd name="connsiteY83" fmla="*/ 335413 h 704681"/>
                <a:gd name="connsiteX84" fmla="*/ 11363 w 606748"/>
                <a:gd name="connsiteY84" fmla="*/ 322907 h 704681"/>
                <a:gd name="connsiteX85" fmla="*/ 12365 w 606748"/>
                <a:gd name="connsiteY85" fmla="*/ 321654 h 704681"/>
                <a:gd name="connsiteX86" fmla="*/ 11363 w 606748"/>
                <a:gd name="connsiteY86" fmla="*/ 318145 h 704681"/>
                <a:gd name="connsiteX87" fmla="*/ 19182 w 606748"/>
                <a:gd name="connsiteY87" fmla="*/ 308370 h 704681"/>
                <a:gd name="connsiteX88" fmla="*/ 15908 w 606748"/>
                <a:gd name="connsiteY88" fmla="*/ 300183 h 704681"/>
                <a:gd name="connsiteX89" fmla="*/ 16921 w 606748"/>
                <a:gd name="connsiteY89" fmla="*/ 297954 h 704681"/>
                <a:gd name="connsiteX90" fmla="*/ 15908 w 606748"/>
                <a:gd name="connsiteY90" fmla="*/ 295421 h 704681"/>
                <a:gd name="connsiteX91" fmla="*/ 27270 w 606748"/>
                <a:gd name="connsiteY91" fmla="*/ 270423 h 704681"/>
                <a:gd name="connsiteX92" fmla="*/ 43177 w 606748"/>
                <a:gd name="connsiteY92" fmla="*/ 243154 h 704681"/>
                <a:gd name="connsiteX93" fmla="*/ 74992 w 606748"/>
                <a:gd name="connsiteY93" fmla="*/ 247699 h 704681"/>
                <a:gd name="connsiteX94" fmla="*/ 74992 w 606748"/>
                <a:gd name="connsiteY94" fmla="*/ 102478 h 704681"/>
                <a:gd name="connsiteX95" fmla="*/ 74992 w 606748"/>
                <a:gd name="connsiteY95" fmla="*/ 97716 h 704681"/>
                <a:gd name="connsiteX96" fmla="*/ 74992 w 606748"/>
                <a:gd name="connsiteY96" fmla="*/ 79754 h 704681"/>
                <a:gd name="connsiteX97" fmla="*/ 74992 w 606748"/>
                <a:gd name="connsiteY97" fmla="*/ 74992 h 704681"/>
                <a:gd name="connsiteX98" fmla="*/ 113623 w 606748"/>
                <a:gd name="connsiteY98" fmla="*/ 74992 h 704681"/>
                <a:gd name="connsiteX99" fmla="*/ 113623 w 606748"/>
                <a:gd name="connsiteY99" fmla="*/ 4762 h 70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606748" h="704681">
                  <a:moveTo>
                    <a:pt x="113623" y="0"/>
                  </a:moveTo>
                  <a:lnTo>
                    <a:pt x="263606" y="0"/>
                  </a:lnTo>
                  <a:lnTo>
                    <a:pt x="409044" y="0"/>
                  </a:lnTo>
                  <a:lnTo>
                    <a:pt x="547664" y="0"/>
                  </a:lnTo>
                  <a:lnTo>
                    <a:pt x="563571" y="38632"/>
                  </a:lnTo>
                  <a:lnTo>
                    <a:pt x="561888" y="39306"/>
                  </a:lnTo>
                  <a:lnTo>
                    <a:pt x="563571" y="43394"/>
                  </a:lnTo>
                  <a:lnTo>
                    <a:pt x="552916" y="47656"/>
                  </a:lnTo>
                  <a:lnTo>
                    <a:pt x="559026" y="86354"/>
                  </a:lnTo>
                  <a:lnTo>
                    <a:pt x="574934" y="134076"/>
                  </a:lnTo>
                  <a:lnTo>
                    <a:pt x="590841" y="140893"/>
                  </a:lnTo>
                  <a:lnTo>
                    <a:pt x="606748" y="156800"/>
                  </a:lnTo>
                  <a:lnTo>
                    <a:pt x="604665" y="159479"/>
                  </a:lnTo>
                  <a:lnTo>
                    <a:pt x="606748" y="161562"/>
                  </a:lnTo>
                  <a:lnTo>
                    <a:pt x="590841" y="182014"/>
                  </a:lnTo>
                  <a:lnTo>
                    <a:pt x="563571" y="188832"/>
                  </a:lnTo>
                  <a:lnTo>
                    <a:pt x="547664" y="197922"/>
                  </a:lnTo>
                  <a:lnTo>
                    <a:pt x="547664" y="220429"/>
                  </a:lnTo>
                  <a:lnTo>
                    <a:pt x="547664" y="225191"/>
                  </a:lnTo>
                  <a:lnTo>
                    <a:pt x="532444" y="277374"/>
                  </a:lnTo>
                  <a:lnTo>
                    <a:pt x="536302" y="290876"/>
                  </a:lnTo>
                  <a:lnTo>
                    <a:pt x="535848" y="294050"/>
                  </a:lnTo>
                  <a:lnTo>
                    <a:pt x="536302" y="295638"/>
                  </a:lnTo>
                  <a:lnTo>
                    <a:pt x="531757" y="327452"/>
                  </a:lnTo>
                  <a:lnTo>
                    <a:pt x="515850" y="366084"/>
                  </a:lnTo>
                  <a:lnTo>
                    <a:pt x="493125" y="381991"/>
                  </a:lnTo>
                  <a:lnTo>
                    <a:pt x="477218" y="413806"/>
                  </a:lnTo>
                  <a:lnTo>
                    <a:pt x="472673" y="429713"/>
                  </a:lnTo>
                  <a:lnTo>
                    <a:pt x="456766" y="441075"/>
                  </a:lnTo>
                  <a:lnTo>
                    <a:pt x="445403" y="477435"/>
                  </a:lnTo>
                  <a:lnTo>
                    <a:pt x="445403" y="506760"/>
                  </a:lnTo>
                  <a:lnTo>
                    <a:pt x="445403" y="511522"/>
                  </a:lnTo>
                  <a:lnTo>
                    <a:pt x="440858" y="520612"/>
                  </a:lnTo>
                  <a:lnTo>
                    <a:pt x="418134" y="520612"/>
                  </a:lnTo>
                  <a:lnTo>
                    <a:pt x="410793" y="538963"/>
                  </a:lnTo>
                  <a:lnTo>
                    <a:pt x="429496" y="543119"/>
                  </a:lnTo>
                  <a:lnTo>
                    <a:pt x="445403" y="559026"/>
                  </a:lnTo>
                  <a:lnTo>
                    <a:pt x="456766" y="574934"/>
                  </a:lnTo>
                  <a:lnTo>
                    <a:pt x="472673" y="581751"/>
                  </a:lnTo>
                  <a:lnTo>
                    <a:pt x="493125" y="624928"/>
                  </a:lnTo>
                  <a:lnTo>
                    <a:pt x="491500" y="626258"/>
                  </a:lnTo>
                  <a:lnTo>
                    <a:pt x="493125" y="629690"/>
                  </a:lnTo>
                  <a:lnTo>
                    <a:pt x="468128" y="650142"/>
                  </a:lnTo>
                  <a:lnTo>
                    <a:pt x="445403" y="672867"/>
                  </a:lnTo>
                  <a:lnTo>
                    <a:pt x="424951" y="693319"/>
                  </a:lnTo>
                  <a:lnTo>
                    <a:pt x="397682" y="693319"/>
                  </a:lnTo>
                  <a:lnTo>
                    <a:pt x="365867" y="700136"/>
                  </a:lnTo>
                  <a:lnTo>
                    <a:pt x="343142" y="693319"/>
                  </a:lnTo>
                  <a:lnTo>
                    <a:pt x="334053" y="704681"/>
                  </a:lnTo>
                  <a:lnTo>
                    <a:pt x="295421" y="677412"/>
                  </a:lnTo>
                  <a:lnTo>
                    <a:pt x="290876" y="661504"/>
                  </a:lnTo>
                  <a:lnTo>
                    <a:pt x="268151" y="666049"/>
                  </a:lnTo>
                  <a:lnTo>
                    <a:pt x="252244" y="666049"/>
                  </a:lnTo>
                  <a:lnTo>
                    <a:pt x="240881" y="672867"/>
                  </a:lnTo>
                  <a:lnTo>
                    <a:pt x="224974" y="666049"/>
                  </a:lnTo>
                  <a:lnTo>
                    <a:pt x="204522" y="638780"/>
                  </a:lnTo>
                  <a:lnTo>
                    <a:pt x="197705" y="629690"/>
                  </a:lnTo>
                  <a:lnTo>
                    <a:pt x="165890" y="613783"/>
                  </a:lnTo>
                  <a:lnTo>
                    <a:pt x="161345" y="591058"/>
                  </a:lnTo>
                  <a:lnTo>
                    <a:pt x="145438" y="575151"/>
                  </a:lnTo>
                  <a:lnTo>
                    <a:pt x="118168" y="554699"/>
                  </a:lnTo>
                  <a:lnTo>
                    <a:pt x="118168" y="549937"/>
                  </a:lnTo>
                  <a:lnTo>
                    <a:pt x="118168" y="543336"/>
                  </a:lnTo>
                  <a:lnTo>
                    <a:pt x="95444" y="527429"/>
                  </a:lnTo>
                  <a:lnTo>
                    <a:pt x="70447" y="511522"/>
                  </a:lnTo>
                  <a:lnTo>
                    <a:pt x="59084" y="500159"/>
                  </a:lnTo>
                  <a:lnTo>
                    <a:pt x="54539" y="488797"/>
                  </a:lnTo>
                  <a:lnTo>
                    <a:pt x="55660" y="486836"/>
                  </a:lnTo>
                  <a:lnTo>
                    <a:pt x="54539" y="484035"/>
                  </a:lnTo>
                  <a:lnTo>
                    <a:pt x="63629" y="468128"/>
                  </a:lnTo>
                  <a:lnTo>
                    <a:pt x="63629" y="461528"/>
                  </a:lnTo>
                  <a:lnTo>
                    <a:pt x="36360" y="436530"/>
                  </a:lnTo>
                  <a:lnTo>
                    <a:pt x="36360" y="431768"/>
                  </a:lnTo>
                  <a:lnTo>
                    <a:pt x="36360" y="418351"/>
                  </a:lnTo>
                  <a:lnTo>
                    <a:pt x="36360" y="413806"/>
                  </a:lnTo>
                  <a:lnTo>
                    <a:pt x="20452" y="397899"/>
                  </a:lnTo>
                  <a:lnTo>
                    <a:pt x="20452" y="393137"/>
                  </a:lnTo>
                  <a:lnTo>
                    <a:pt x="20452" y="377446"/>
                  </a:lnTo>
                  <a:lnTo>
                    <a:pt x="15908" y="366084"/>
                  </a:lnTo>
                  <a:lnTo>
                    <a:pt x="0" y="366084"/>
                  </a:lnTo>
                  <a:lnTo>
                    <a:pt x="1905" y="361322"/>
                  </a:lnTo>
                  <a:lnTo>
                    <a:pt x="0" y="361322"/>
                  </a:lnTo>
                  <a:lnTo>
                    <a:pt x="4545" y="349960"/>
                  </a:lnTo>
                  <a:lnTo>
                    <a:pt x="14936" y="335413"/>
                  </a:lnTo>
                  <a:lnTo>
                    <a:pt x="11363" y="322907"/>
                  </a:lnTo>
                  <a:lnTo>
                    <a:pt x="12365" y="321654"/>
                  </a:lnTo>
                  <a:lnTo>
                    <a:pt x="11363" y="318145"/>
                  </a:lnTo>
                  <a:lnTo>
                    <a:pt x="19182" y="308370"/>
                  </a:lnTo>
                  <a:lnTo>
                    <a:pt x="15908" y="300183"/>
                  </a:lnTo>
                  <a:lnTo>
                    <a:pt x="16921" y="297954"/>
                  </a:lnTo>
                  <a:lnTo>
                    <a:pt x="15908" y="295421"/>
                  </a:lnTo>
                  <a:lnTo>
                    <a:pt x="27270" y="270423"/>
                  </a:lnTo>
                  <a:lnTo>
                    <a:pt x="43177" y="243154"/>
                  </a:lnTo>
                  <a:lnTo>
                    <a:pt x="74992" y="247699"/>
                  </a:lnTo>
                  <a:lnTo>
                    <a:pt x="74992" y="102478"/>
                  </a:lnTo>
                  <a:lnTo>
                    <a:pt x="74992" y="97716"/>
                  </a:lnTo>
                  <a:lnTo>
                    <a:pt x="74992" y="79754"/>
                  </a:lnTo>
                  <a:lnTo>
                    <a:pt x="74992" y="74992"/>
                  </a:lnTo>
                  <a:lnTo>
                    <a:pt x="113623" y="74992"/>
                  </a:lnTo>
                  <a:lnTo>
                    <a:pt x="113623" y="476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50" name="Freeform 37">
              <a:extLst>
                <a:ext uri="{FF2B5EF4-FFF2-40B4-BE49-F238E27FC236}">
                  <a16:creationId xmlns:a16="http://schemas.microsoft.com/office/drawing/2014/main" id="{AD90BB7D-F7DA-BDA0-825E-CEA9165BBC9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9028" y="3098655"/>
              <a:ext cx="95893" cy="102830"/>
            </a:xfrm>
            <a:custGeom>
              <a:avLst/>
              <a:gdLst>
                <a:gd name="connsiteX0" fmla="*/ 163726 w 202358"/>
                <a:gd name="connsiteY0" fmla="*/ 0 h 213829"/>
                <a:gd name="connsiteX1" fmla="*/ 179634 w 202358"/>
                <a:gd name="connsiteY1" fmla="*/ 27270 h 213829"/>
                <a:gd name="connsiteX2" fmla="*/ 186451 w 202358"/>
                <a:gd name="connsiteY2" fmla="*/ 43177 h 213829"/>
                <a:gd name="connsiteX3" fmla="*/ 202358 w 202358"/>
                <a:gd name="connsiteY3" fmla="*/ 86354 h 213829"/>
                <a:gd name="connsiteX4" fmla="*/ 190996 w 202358"/>
                <a:gd name="connsiteY4" fmla="*/ 111351 h 213829"/>
                <a:gd name="connsiteX5" fmla="*/ 190446 w 202358"/>
                <a:gd name="connsiteY5" fmla="*/ 112084 h 213829"/>
                <a:gd name="connsiteX6" fmla="*/ 188615 w 202358"/>
                <a:gd name="connsiteY6" fmla="*/ 116113 h 213829"/>
                <a:gd name="connsiteX7" fmla="*/ 168163 w 202358"/>
                <a:gd name="connsiteY7" fmla="*/ 143383 h 213829"/>
                <a:gd name="connsiteX8" fmla="*/ 159181 w 202358"/>
                <a:gd name="connsiteY8" fmla="*/ 155957 h 213829"/>
                <a:gd name="connsiteX9" fmla="*/ 159181 w 202358"/>
                <a:gd name="connsiteY9" fmla="*/ 193160 h 213829"/>
                <a:gd name="connsiteX10" fmla="*/ 156800 w 202358"/>
                <a:gd name="connsiteY10" fmla="*/ 193160 h 213829"/>
                <a:gd name="connsiteX11" fmla="*/ 156800 w 202358"/>
                <a:gd name="connsiteY11" fmla="*/ 197922 h 213829"/>
                <a:gd name="connsiteX12" fmla="*/ 86354 w 202358"/>
                <a:gd name="connsiteY12" fmla="*/ 197922 h 213829"/>
                <a:gd name="connsiteX13" fmla="*/ 43177 w 202358"/>
                <a:gd name="connsiteY13" fmla="*/ 197922 h 213829"/>
                <a:gd name="connsiteX14" fmla="*/ 31815 w 202358"/>
                <a:gd name="connsiteY14" fmla="*/ 202467 h 213829"/>
                <a:gd name="connsiteX15" fmla="*/ 11363 w 202358"/>
                <a:gd name="connsiteY15" fmla="*/ 213829 h 213829"/>
                <a:gd name="connsiteX16" fmla="*/ 0 w 202358"/>
                <a:gd name="connsiteY16" fmla="*/ 209284 h 213829"/>
                <a:gd name="connsiteX17" fmla="*/ 0 w 202358"/>
                <a:gd name="connsiteY17" fmla="*/ 182015 h 213829"/>
                <a:gd name="connsiteX18" fmla="*/ 2381 w 202358"/>
                <a:gd name="connsiteY18" fmla="*/ 178681 h 213829"/>
                <a:gd name="connsiteX19" fmla="*/ 2381 w 202358"/>
                <a:gd name="connsiteY19" fmla="*/ 177253 h 213829"/>
                <a:gd name="connsiteX20" fmla="*/ 11363 w 202358"/>
                <a:gd name="connsiteY20" fmla="*/ 164679 h 213829"/>
                <a:gd name="connsiteX21" fmla="*/ 11363 w 202358"/>
                <a:gd name="connsiteY21" fmla="*/ 138838 h 213829"/>
                <a:gd name="connsiteX22" fmla="*/ 13744 w 202358"/>
                <a:gd name="connsiteY22" fmla="*/ 135504 h 213829"/>
                <a:gd name="connsiteX23" fmla="*/ 13744 w 202358"/>
                <a:gd name="connsiteY23" fmla="*/ 134076 h 213829"/>
                <a:gd name="connsiteX24" fmla="*/ 24023 w 202358"/>
                <a:gd name="connsiteY24" fmla="*/ 119684 h 213829"/>
                <a:gd name="connsiteX25" fmla="*/ 31815 w 202358"/>
                <a:gd name="connsiteY25" fmla="*/ 100206 h 213829"/>
                <a:gd name="connsiteX26" fmla="*/ 32344 w 202358"/>
                <a:gd name="connsiteY26" fmla="*/ 100073 h 213829"/>
                <a:gd name="connsiteX27" fmla="*/ 34196 w 202358"/>
                <a:gd name="connsiteY27" fmla="*/ 95444 h 213829"/>
                <a:gd name="connsiteX28" fmla="*/ 52375 w 202358"/>
                <a:gd name="connsiteY28" fmla="*/ 90899 h 213829"/>
                <a:gd name="connsiteX29" fmla="*/ 58811 w 202358"/>
                <a:gd name="connsiteY29" fmla="*/ 79637 h 213829"/>
                <a:gd name="connsiteX30" fmla="*/ 43177 w 202358"/>
                <a:gd name="connsiteY30" fmla="*/ 72936 h 213829"/>
                <a:gd name="connsiteX31" fmla="*/ 49994 w 202358"/>
                <a:gd name="connsiteY31" fmla="*/ 32032 h 213829"/>
                <a:gd name="connsiteX32" fmla="*/ 51999 w 202358"/>
                <a:gd name="connsiteY32" fmla="*/ 29526 h 213829"/>
                <a:gd name="connsiteX33" fmla="*/ 52375 w 202358"/>
                <a:gd name="connsiteY33" fmla="*/ 27270 h 213829"/>
                <a:gd name="connsiteX34" fmla="*/ 61465 w 202358"/>
                <a:gd name="connsiteY34" fmla="*/ 15908 h 213829"/>
                <a:gd name="connsiteX35" fmla="*/ 88735 w 202358"/>
                <a:gd name="connsiteY35" fmla="*/ 27270 h 213829"/>
                <a:gd name="connsiteX36" fmla="*/ 116005 w 202358"/>
                <a:gd name="connsiteY36" fmla="*/ 15908 h 213829"/>
                <a:gd name="connsiteX37" fmla="*/ 143274 w 202358"/>
                <a:gd name="connsiteY37" fmla="*/ 15908 h 213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02358" h="213829">
                  <a:moveTo>
                    <a:pt x="163726" y="0"/>
                  </a:moveTo>
                  <a:lnTo>
                    <a:pt x="179634" y="27270"/>
                  </a:lnTo>
                  <a:lnTo>
                    <a:pt x="186451" y="43177"/>
                  </a:lnTo>
                  <a:lnTo>
                    <a:pt x="202358" y="86354"/>
                  </a:lnTo>
                  <a:lnTo>
                    <a:pt x="190996" y="111351"/>
                  </a:lnTo>
                  <a:lnTo>
                    <a:pt x="190446" y="112084"/>
                  </a:lnTo>
                  <a:lnTo>
                    <a:pt x="188615" y="116113"/>
                  </a:lnTo>
                  <a:lnTo>
                    <a:pt x="168163" y="143383"/>
                  </a:lnTo>
                  <a:lnTo>
                    <a:pt x="159181" y="155957"/>
                  </a:lnTo>
                  <a:lnTo>
                    <a:pt x="159181" y="193160"/>
                  </a:lnTo>
                  <a:lnTo>
                    <a:pt x="156800" y="193160"/>
                  </a:lnTo>
                  <a:lnTo>
                    <a:pt x="156800" y="197922"/>
                  </a:lnTo>
                  <a:lnTo>
                    <a:pt x="86354" y="197922"/>
                  </a:lnTo>
                  <a:lnTo>
                    <a:pt x="43177" y="197922"/>
                  </a:lnTo>
                  <a:lnTo>
                    <a:pt x="31815" y="202467"/>
                  </a:lnTo>
                  <a:lnTo>
                    <a:pt x="11363" y="213829"/>
                  </a:lnTo>
                  <a:lnTo>
                    <a:pt x="0" y="209284"/>
                  </a:lnTo>
                  <a:lnTo>
                    <a:pt x="0" y="182015"/>
                  </a:lnTo>
                  <a:lnTo>
                    <a:pt x="2381" y="178681"/>
                  </a:lnTo>
                  <a:lnTo>
                    <a:pt x="2381" y="177253"/>
                  </a:lnTo>
                  <a:lnTo>
                    <a:pt x="11363" y="164679"/>
                  </a:lnTo>
                  <a:lnTo>
                    <a:pt x="11363" y="138838"/>
                  </a:lnTo>
                  <a:lnTo>
                    <a:pt x="13744" y="135504"/>
                  </a:lnTo>
                  <a:lnTo>
                    <a:pt x="13744" y="134076"/>
                  </a:lnTo>
                  <a:lnTo>
                    <a:pt x="24023" y="119684"/>
                  </a:lnTo>
                  <a:lnTo>
                    <a:pt x="31815" y="100206"/>
                  </a:lnTo>
                  <a:lnTo>
                    <a:pt x="32344" y="100073"/>
                  </a:lnTo>
                  <a:lnTo>
                    <a:pt x="34196" y="95444"/>
                  </a:lnTo>
                  <a:lnTo>
                    <a:pt x="52375" y="90899"/>
                  </a:lnTo>
                  <a:lnTo>
                    <a:pt x="58811" y="79637"/>
                  </a:lnTo>
                  <a:lnTo>
                    <a:pt x="43177" y="72936"/>
                  </a:lnTo>
                  <a:lnTo>
                    <a:pt x="49994" y="32032"/>
                  </a:lnTo>
                  <a:lnTo>
                    <a:pt x="51999" y="29526"/>
                  </a:lnTo>
                  <a:lnTo>
                    <a:pt x="52375" y="27270"/>
                  </a:lnTo>
                  <a:lnTo>
                    <a:pt x="61465" y="15908"/>
                  </a:lnTo>
                  <a:lnTo>
                    <a:pt x="88735" y="27270"/>
                  </a:lnTo>
                  <a:lnTo>
                    <a:pt x="116005" y="15908"/>
                  </a:lnTo>
                  <a:lnTo>
                    <a:pt x="143274" y="15908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51" name="Freeform 38">
              <a:extLst>
                <a:ext uri="{FF2B5EF4-FFF2-40B4-BE49-F238E27FC236}">
                  <a16:creationId xmlns:a16="http://schemas.microsoft.com/office/drawing/2014/main" id="{A3203131-8B91-5381-08C7-860538FE5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1076" y="3074456"/>
              <a:ext cx="143375" cy="185001"/>
            </a:xfrm>
            <a:custGeom>
              <a:avLst/>
              <a:gdLst>
                <a:gd name="connsiteX0" fmla="*/ 59410 w 302563"/>
                <a:gd name="connsiteY0" fmla="*/ 0 h 384698"/>
                <a:gd name="connsiteX1" fmla="*/ 82134 w 302563"/>
                <a:gd name="connsiteY1" fmla="*/ 4545 h 384698"/>
                <a:gd name="connsiteX2" fmla="*/ 82134 w 302563"/>
                <a:gd name="connsiteY2" fmla="*/ 27270 h 384698"/>
                <a:gd name="connsiteX3" fmla="*/ 93497 w 302563"/>
                <a:gd name="connsiteY3" fmla="*/ 36360 h 384698"/>
                <a:gd name="connsiteX4" fmla="*/ 118494 w 302563"/>
                <a:gd name="connsiteY4" fmla="*/ 36360 h 384698"/>
                <a:gd name="connsiteX5" fmla="*/ 161671 w 302563"/>
                <a:gd name="connsiteY5" fmla="*/ 70447 h 384698"/>
                <a:gd name="connsiteX6" fmla="*/ 177578 w 302563"/>
                <a:gd name="connsiteY6" fmla="*/ 70447 h 384698"/>
                <a:gd name="connsiteX7" fmla="*/ 184395 w 302563"/>
                <a:gd name="connsiteY7" fmla="*/ 70447 h 384698"/>
                <a:gd name="connsiteX8" fmla="*/ 195758 w 302563"/>
                <a:gd name="connsiteY8" fmla="*/ 70447 h 384698"/>
                <a:gd name="connsiteX9" fmla="*/ 216210 w 302563"/>
                <a:gd name="connsiteY9" fmla="*/ 74992 h 384698"/>
                <a:gd name="connsiteX10" fmla="*/ 227572 w 302563"/>
                <a:gd name="connsiteY10" fmla="*/ 59084 h 384698"/>
                <a:gd name="connsiteX11" fmla="*/ 263931 w 302563"/>
                <a:gd name="connsiteY11" fmla="*/ 43177 h 384698"/>
                <a:gd name="connsiteX12" fmla="*/ 279839 w 302563"/>
                <a:gd name="connsiteY12" fmla="*/ 59084 h 384698"/>
                <a:gd name="connsiteX13" fmla="*/ 302563 w 302563"/>
                <a:gd name="connsiteY13" fmla="*/ 59084 h 384698"/>
                <a:gd name="connsiteX14" fmla="*/ 290063 w 302563"/>
                <a:gd name="connsiteY14" fmla="*/ 73370 h 384698"/>
                <a:gd name="connsiteX15" fmla="*/ 295420 w 302563"/>
                <a:gd name="connsiteY15" fmla="*/ 73370 h 384698"/>
                <a:gd name="connsiteX16" fmla="*/ 270749 w 302563"/>
                <a:gd name="connsiteY16" fmla="*/ 101566 h 384698"/>
                <a:gd name="connsiteX17" fmla="*/ 270749 w 302563"/>
                <a:gd name="connsiteY17" fmla="*/ 231792 h 384698"/>
                <a:gd name="connsiteX18" fmla="*/ 291201 w 302563"/>
                <a:gd name="connsiteY18" fmla="*/ 263606 h 384698"/>
                <a:gd name="connsiteX19" fmla="*/ 278502 w 302563"/>
                <a:gd name="connsiteY19" fmla="*/ 269250 h 384698"/>
                <a:gd name="connsiteX20" fmla="*/ 284058 w 302563"/>
                <a:gd name="connsiteY20" fmla="*/ 277892 h 384698"/>
                <a:gd name="connsiteX21" fmla="*/ 263606 w 302563"/>
                <a:gd name="connsiteY21" fmla="*/ 286982 h 384698"/>
                <a:gd name="connsiteX22" fmla="*/ 252243 w 302563"/>
                <a:gd name="connsiteY22" fmla="*/ 305162 h 384698"/>
                <a:gd name="connsiteX23" fmla="*/ 241336 w 302563"/>
                <a:gd name="connsiteY23" fmla="*/ 308278 h 384698"/>
                <a:gd name="connsiteX24" fmla="*/ 238934 w 302563"/>
                <a:gd name="connsiteY24" fmla="*/ 322690 h 384698"/>
                <a:gd name="connsiteX25" fmla="*/ 233220 w 302563"/>
                <a:gd name="connsiteY25" fmla="*/ 328405 h 384698"/>
                <a:gd name="connsiteX26" fmla="*/ 231791 w 302563"/>
                <a:gd name="connsiteY26" fmla="*/ 336976 h 384698"/>
                <a:gd name="connsiteX27" fmla="*/ 224894 w 302563"/>
                <a:gd name="connsiteY27" fmla="*/ 343874 h 384698"/>
                <a:gd name="connsiteX28" fmla="*/ 220755 w 302563"/>
                <a:gd name="connsiteY28" fmla="*/ 359050 h 384698"/>
                <a:gd name="connsiteX29" fmla="*/ 216722 w 302563"/>
                <a:gd name="connsiteY29" fmla="*/ 361930 h 384698"/>
                <a:gd name="connsiteX30" fmla="*/ 213612 w 302563"/>
                <a:gd name="connsiteY30" fmla="*/ 373336 h 384698"/>
                <a:gd name="connsiteX31" fmla="*/ 197704 w 302563"/>
                <a:gd name="connsiteY31" fmla="*/ 384698 h 384698"/>
                <a:gd name="connsiteX32" fmla="*/ 145438 w 302563"/>
                <a:gd name="connsiteY32" fmla="*/ 348339 h 384698"/>
                <a:gd name="connsiteX33" fmla="*/ 138620 w 302563"/>
                <a:gd name="connsiteY33" fmla="*/ 330159 h 384698"/>
                <a:gd name="connsiteX34" fmla="*/ 4545 w 302563"/>
                <a:gd name="connsiteY34" fmla="*/ 255168 h 384698"/>
                <a:gd name="connsiteX35" fmla="*/ 0 w 302563"/>
                <a:gd name="connsiteY35" fmla="*/ 250623 h 384698"/>
                <a:gd name="connsiteX36" fmla="*/ 0 w 302563"/>
                <a:gd name="connsiteY36" fmla="*/ 211991 h 384698"/>
                <a:gd name="connsiteX37" fmla="*/ 7143 w 302563"/>
                <a:gd name="connsiteY37" fmla="*/ 201991 h 384698"/>
                <a:gd name="connsiteX38" fmla="*/ 7143 w 302563"/>
                <a:gd name="connsiteY38" fmla="*/ 197705 h 384698"/>
                <a:gd name="connsiteX39" fmla="*/ 18506 w 302563"/>
                <a:gd name="connsiteY39" fmla="*/ 181798 h 384698"/>
                <a:gd name="connsiteX40" fmla="*/ 37310 w 302563"/>
                <a:gd name="connsiteY40" fmla="*/ 156725 h 384698"/>
                <a:gd name="connsiteX41" fmla="*/ 43177 w 302563"/>
                <a:gd name="connsiteY41" fmla="*/ 143817 h 384698"/>
                <a:gd name="connsiteX42" fmla="*/ 27270 w 302563"/>
                <a:gd name="connsiteY42" fmla="*/ 100640 h 384698"/>
                <a:gd name="connsiteX43" fmla="*/ 20452 w 302563"/>
                <a:gd name="connsiteY43" fmla="*/ 84733 h 384698"/>
                <a:gd name="connsiteX44" fmla="*/ 4545 w 302563"/>
                <a:gd name="connsiteY44" fmla="*/ 57463 h 384698"/>
                <a:gd name="connsiteX45" fmla="*/ 14320 w 302563"/>
                <a:gd name="connsiteY45" fmla="*/ 47689 h 384698"/>
                <a:gd name="connsiteX46" fmla="*/ 11688 w 302563"/>
                <a:gd name="connsiteY46" fmla="*/ 43177 h 384698"/>
                <a:gd name="connsiteX47" fmla="*/ 34413 w 302563"/>
                <a:gd name="connsiteY47" fmla="*/ 20452 h 384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302563" h="384698">
                  <a:moveTo>
                    <a:pt x="59410" y="0"/>
                  </a:moveTo>
                  <a:lnTo>
                    <a:pt x="82134" y="4545"/>
                  </a:lnTo>
                  <a:lnTo>
                    <a:pt x="82134" y="27270"/>
                  </a:lnTo>
                  <a:lnTo>
                    <a:pt x="93497" y="36360"/>
                  </a:lnTo>
                  <a:lnTo>
                    <a:pt x="118494" y="36360"/>
                  </a:lnTo>
                  <a:lnTo>
                    <a:pt x="161671" y="70447"/>
                  </a:lnTo>
                  <a:lnTo>
                    <a:pt x="177578" y="70447"/>
                  </a:lnTo>
                  <a:lnTo>
                    <a:pt x="184395" y="70447"/>
                  </a:lnTo>
                  <a:lnTo>
                    <a:pt x="195758" y="70447"/>
                  </a:lnTo>
                  <a:lnTo>
                    <a:pt x="216210" y="74992"/>
                  </a:lnTo>
                  <a:lnTo>
                    <a:pt x="227572" y="59084"/>
                  </a:lnTo>
                  <a:lnTo>
                    <a:pt x="263931" y="43177"/>
                  </a:lnTo>
                  <a:lnTo>
                    <a:pt x="279839" y="59084"/>
                  </a:lnTo>
                  <a:lnTo>
                    <a:pt x="302563" y="59084"/>
                  </a:lnTo>
                  <a:lnTo>
                    <a:pt x="290063" y="73370"/>
                  </a:lnTo>
                  <a:lnTo>
                    <a:pt x="295420" y="73370"/>
                  </a:lnTo>
                  <a:lnTo>
                    <a:pt x="270749" y="101566"/>
                  </a:lnTo>
                  <a:lnTo>
                    <a:pt x="270749" y="231792"/>
                  </a:lnTo>
                  <a:lnTo>
                    <a:pt x="291201" y="263606"/>
                  </a:lnTo>
                  <a:lnTo>
                    <a:pt x="278502" y="269250"/>
                  </a:lnTo>
                  <a:lnTo>
                    <a:pt x="284058" y="277892"/>
                  </a:lnTo>
                  <a:lnTo>
                    <a:pt x="263606" y="286982"/>
                  </a:lnTo>
                  <a:lnTo>
                    <a:pt x="252243" y="305162"/>
                  </a:lnTo>
                  <a:lnTo>
                    <a:pt x="241336" y="308278"/>
                  </a:lnTo>
                  <a:lnTo>
                    <a:pt x="238934" y="322690"/>
                  </a:lnTo>
                  <a:lnTo>
                    <a:pt x="233220" y="328405"/>
                  </a:lnTo>
                  <a:lnTo>
                    <a:pt x="231791" y="336976"/>
                  </a:lnTo>
                  <a:lnTo>
                    <a:pt x="224894" y="343874"/>
                  </a:lnTo>
                  <a:lnTo>
                    <a:pt x="220755" y="359050"/>
                  </a:lnTo>
                  <a:lnTo>
                    <a:pt x="216722" y="361930"/>
                  </a:lnTo>
                  <a:lnTo>
                    <a:pt x="213612" y="373336"/>
                  </a:lnTo>
                  <a:lnTo>
                    <a:pt x="197704" y="384698"/>
                  </a:lnTo>
                  <a:lnTo>
                    <a:pt x="145438" y="348339"/>
                  </a:lnTo>
                  <a:lnTo>
                    <a:pt x="138620" y="330159"/>
                  </a:lnTo>
                  <a:lnTo>
                    <a:pt x="4545" y="255168"/>
                  </a:lnTo>
                  <a:lnTo>
                    <a:pt x="0" y="250623"/>
                  </a:lnTo>
                  <a:lnTo>
                    <a:pt x="0" y="211991"/>
                  </a:lnTo>
                  <a:lnTo>
                    <a:pt x="7143" y="201991"/>
                  </a:lnTo>
                  <a:lnTo>
                    <a:pt x="7143" y="197705"/>
                  </a:lnTo>
                  <a:lnTo>
                    <a:pt x="18506" y="181798"/>
                  </a:lnTo>
                  <a:lnTo>
                    <a:pt x="37310" y="156725"/>
                  </a:lnTo>
                  <a:lnTo>
                    <a:pt x="43177" y="143817"/>
                  </a:lnTo>
                  <a:lnTo>
                    <a:pt x="27270" y="100640"/>
                  </a:lnTo>
                  <a:lnTo>
                    <a:pt x="20452" y="84733"/>
                  </a:lnTo>
                  <a:lnTo>
                    <a:pt x="4545" y="57463"/>
                  </a:lnTo>
                  <a:lnTo>
                    <a:pt x="14320" y="47689"/>
                  </a:lnTo>
                  <a:lnTo>
                    <a:pt x="11688" y="43177"/>
                  </a:lnTo>
                  <a:lnTo>
                    <a:pt x="34413" y="2045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52" name="Freeform 39">
              <a:extLst>
                <a:ext uri="{FF2B5EF4-FFF2-40B4-BE49-F238E27FC236}">
                  <a16:creationId xmlns:a16="http://schemas.microsoft.com/office/drawing/2014/main" id="{B78E4F5C-2214-2835-4ED6-CD18D209897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9340" y="3194876"/>
              <a:ext cx="32409" cy="35128"/>
            </a:xfrm>
            <a:custGeom>
              <a:avLst/>
              <a:gdLst>
                <a:gd name="connsiteX0" fmla="*/ 57029 w 68391"/>
                <a:gd name="connsiteY0" fmla="*/ 0 h 73045"/>
                <a:gd name="connsiteX1" fmla="*/ 68391 w 68391"/>
                <a:gd name="connsiteY1" fmla="*/ 22725 h 73045"/>
                <a:gd name="connsiteX2" fmla="*/ 68391 w 68391"/>
                <a:gd name="connsiteY2" fmla="*/ 43177 h 73045"/>
                <a:gd name="connsiteX3" fmla="*/ 63629 w 68391"/>
                <a:gd name="connsiteY3" fmla="*/ 46034 h 73045"/>
                <a:gd name="connsiteX4" fmla="*/ 63629 w 68391"/>
                <a:gd name="connsiteY4" fmla="*/ 50320 h 73045"/>
                <a:gd name="connsiteX5" fmla="*/ 52267 w 68391"/>
                <a:gd name="connsiteY5" fmla="*/ 57138 h 73045"/>
                <a:gd name="connsiteX6" fmla="*/ 36360 w 68391"/>
                <a:gd name="connsiteY6" fmla="*/ 50320 h 73045"/>
                <a:gd name="connsiteX7" fmla="*/ 20452 w 68391"/>
                <a:gd name="connsiteY7" fmla="*/ 73045 h 73045"/>
                <a:gd name="connsiteX8" fmla="*/ 0 w 68391"/>
                <a:gd name="connsiteY8" fmla="*/ 73045 h 73045"/>
                <a:gd name="connsiteX9" fmla="*/ 4545 w 68391"/>
                <a:gd name="connsiteY9" fmla="*/ 50320 h 73045"/>
                <a:gd name="connsiteX10" fmla="*/ 8712 w 68391"/>
                <a:gd name="connsiteY10" fmla="*/ 46153 h 73045"/>
                <a:gd name="connsiteX11" fmla="*/ 9090 w 68391"/>
                <a:gd name="connsiteY11" fmla="*/ 44262 h 73045"/>
                <a:gd name="connsiteX12" fmla="*/ 9090 w 68391"/>
                <a:gd name="connsiteY12" fmla="*/ 23051 h 73045"/>
                <a:gd name="connsiteX13" fmla="*/ 13852 w 68391"/>
                <a:gd name="connsiteY13" fmla="*/ 19241 h 73045"/>
                <a:gd name="connsiteX14" fmla="*/ 13852 w 68391"/>
                <a:gd name="connsiteY14" fmla="*/ 15908 h 73045"/>
                <a:gd name="connsiteX15" fmla="*/ 25214 w 68391"/>
                <a:gd name="connsiteY15" fmla="*/ 6817 h 73045"/>
                <a:gd name="connsiteX16" fmla="*/ 36577 w 68391"/>
                <a:gd name="connsiteY16" fmla="*/ 11363 h 73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8391" h="73045">
                  <a:moveTo>
                    <a:pt x="57029" y="0"/>
                  </a:moveTo>
                  <a:lnTo>
                    <a:pt x="68391" y="22725"/>
                  </a:lnTo>
                  <a:lnTo>
                    <a:pt x="68391" y="43177"/>
                  </a:lnTo>
                  <a:lnTo>
                    <a:pt x="63629" y="46034"/>
                  </a:lnTo>
                  <a:lnTo>
                    <a:pt x="63629" y="50320"/>
                  </a:lnTo>
                  <a:lnTo>
                    <a:pt x="52267" y="57138"/>
                  </a:lnTo>
                  <a:lnTo>
                    <a:pt x="36360" y="50320"/>
                  </a:lnTo>
                  <a:lnTo>
                    <a:pt x="20452" y="73045"/>
                  </a:lnTo>
                  <a:lnTo>
                    <a:pt x="0" y="73045"/>
                  </a:lnTo>
                  <a:lnTo>
                    <a:pt x="4545" y="50320"/>
                  </a:lnTo>
                  <a:lnTo>
                    <a:pt x="8712" y="46153"/>
                  </a:lnTo>
                  <a:lnTo>
                    <a:pt x="9090" y="44262"/>
                  </a:lnTo>
                  <a:lnTo>
                    <a:pt x="9090" y="23051"/>
                  </a:lnTo>
                  <a:lnTo>
                    <a:pt x="13852" y="19241"/>
                  </a:lnTo>
                  <a:lnTo>
                    <a:pt x="13852" y="15908"/>
                  </a:lnTo>
                  <a:lnTo>
                    <a:pt x="25214" y="6817"/>
                  </a:lnTo>
                  <a:lnTo>
                    <a:pt x="36577" y="11363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53" name="Freeform 40">
              <a:extLst>
                <a:ext uri="{FF2B5EF4-FFF2-40B4-BE49-F238E27FC236}">
                  <a16:creationId xmlns:a16="http://schemas.microsoft.com/office/drawing/2014/main" id="{AA7F29EC-F5FA-D1BF-32C1-C609F4664630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1389" y="3191544"/>
              <a:ext cx="196195" cy="193639"/>
            </a:xfrm>
            <a:custGeom>
              <a:avLst/>
              <a:gdLst>
                <a:gd name="connsiteX0" fmla="*/ 54539 w 414022"/>
                <a:gd name="connsiteY0" fmla="*/ 0 h 402661"/>
                <a:gd name="connsiteX1" fmla="*/ 97716 w 414022"/>
                <a:gd name="connsiteY1" fmla="*/ 0 h 402661"/>
                <a:gd name="connsiteX2" fmla="*/ 172707 w 414022"/>
                <a:gd name="connsiteY2" fmla="*/ 0 h 402661"/>
                <a:gd name="connsiteX3" fmla="*/ 172707 w 414022"/>
                <a:gd name="connsiteY3" fmla="*/ 4545 h 402661"/>
                <a:gd name="connsiteX4" fmla="*/ 181609 w 414022"/>
                <a:gd name="connsiteY4" fmla="*/ 9524 h 402661"/>
                <a:gd name="connsiteX5" fmla="*/ 182231 w 414022"/>
                <a:gd name="connsiteY5" fmla="*/ 9524 h 402661"/>
                <a:gd name="connsiteX6" fmla="*/ 182231 w 414022"/>
                <a:gd name="connsiteY6" fmla="*/ 9872 h 402661"/>
                <a:gd name="connsiteX7" fmla="*/ 306782 w 414022"/>
                <a:gd name="connsiteY7" fmla="*/ 79537 h 402661"/>
                <a:gd name="connsiteX8" fmla="*/ 308774 w 414022"/>
                <a:gd name="connsiteY8" fmla="*/ 84848 h 402661"/>
                <a:gd name="connsiteX9" fmla="*/ 316306 w 414022"/>
                <a:gd name="connsiteY9" fmla="*/ 89061 h 402661"/>
                <a:gd name="connsiteX10" fmla="*/ 321653 w 414022"/>
                <a:gd name="connsiteY10" fmla="*/ 103319 h 402661"/>
                <a:gd name="connsiteX11" fmla="*/ 365866 w 414022"/>
                <a:gd name="connsiteY11" fmla="*/ 134076 h 402661"/>
                <a:gd name="connsiteX12" fmla="*/ 365016 w 414022"/>
                <a:gd name="connsiteY12" fmla="*/ 136383 h 402661"/>
                <a:gd name="connsiteX13" fmla="*/ 375390 w 414022"/>
                <a:gd name="connsiteY13" fmla="*/ 143600 h 402661"/>
                <a:gd name="connsiteX14" fmla="*/ 359483 w 414022"/>
                <a:gd name="connsiteY14" fmla="*/ 186777 h 402661"/>
                <a:gd name="connsiteX15" fmla="*/ 359483 w 414022"/>
                <a:gd name="connsiteY15" fmla="*/ 205324 h 402661"/>
                <a:gd name="connsiteX16" fmla="*/ 372684 w 414022"/>
                <a:gd name="connsiteY16" fmla="*/ 215885 h 402661"/>
                <a:gd name="connsiteX17" fmla="*/ 377229 w 414022"/>
                <a:gd name="connsiteY17" fmla="*/ 220430 h 402661"/>
                <a:gd name="connsiteX18" fmla="*/ 376918 w 414022"/>
                <a:gd name="connsiteY18" fmla="*/ 221177 h 402661"/>
                <a:gd name="connsiteX19" fmla="*/ 382208 w 414022"/>
                <a:gd name="connsiteY19" fmla="*/ 225409 h 402661"/>
                <a:gd name="connsiteX20" fmla="*/ 386753 w 414022"/>
                <a:gd name="connsiteY20" fmla="*/ 229954 h 402661"/>
                <a:gd name="connsiteX21" fmla="*/ 375390 w 414022"/>
                <a:gd name="connsiteY21" fmla="*/ 257223 h 402661"/>
                <a:gd name="connsiteX22" fmla="*/ 375390 w 414022"/>
                <a:gd name="connsiteY22" fmla="*/ 268586 h 402661"/>
                <a:gd name="connsiteX23" fmla="*/ 375390 w 414022"/>
                <a:gd name="connsiteY23" fmla="*/ 284493 h 402661"/>
                <a:gd name="connsiteX24" fmla="*/ 386753 w 414022"/>
                <a:gd name="connsiteY24" fmla="*/ 304945 h 402661"/>
                <a:gd name="connsiteX25" fmla="*/ 401490 w 414022"/>
                <a:gd name="connsiteY25" fmla="*/ 340736 h 402661"/>
                <a:gd name="connsiteX26" fmla="*/ 404498 w 414022"/>
                <a:gd name="connsiteY26" fmla="*/ 343143 h 402661"/>
                <a:gd name="connsiteX27" fmla="*/ 403332 w 414022"/>
                <a:gd name="connsiteY27" fmla="*/ 344115 h 402661"/>
                <a:gd name="connsiteX28" fmla="*/ 414022 w 414022"/>
                <a:gd name="connsiteY28" fmla="*/ 352667 h 402661"/>
                <a:gd name="connsiteX29" fmla="*/ 386753 w 414022"/>
                <a:gd name="connsiteY29" fmla="*/ 375392 h 402661"/>
                <a:gd name="connsiteX30" fmla="*/ 348121 w 414022"/>
                <a:gd name="connsiteY30" fmla="*/ 386754 h 402661"/>
                <a:gd name="connsiteX31" fmla="*/ 323124 w 414022"/>
                <a:gd name="connsiteY31" fmla="*/ 386754 h 402661"/>
                <a:gd name="connsiteX32" fmla="*/ 311762 w 414022"/>
                <a:gd name="connsiteY32" fmla="*/ 395844 h 402661"/>
                <a:gd name="connsiteX33" fmla="*/ 284492 w 414022"/>
                <a:gd name="connsiteY33" fmla="*/ 395844 h 402661"/>
                <a:gd name="connsiteX34" fmla="*/ 273130 w 414022"/>
                <a:gd name="connsiteY34" fmla="*/ 402661 h 402661"/>
                <a:gd name="connsiteX35" fmla="*/ 229953 w 414022"/>
                <a:gd name="connsiteY35" fmla="*/ 395844 h 402661"/>
                <a:gd name="connsiteX36" fmla="*/ 204956 w 414022"/>
                <a:gd name="connsiteY36" fmla="*/ 395844 h 402661"/>
                <a:gd name="connsiteX37" fmla="*/ 202688 w 414022"/>
                <a:gd name="connsiteY37" fmla="*/ 386320 h 402661"/>
                <a:gd name="connsiteX38" fmla="*/ 195432 w 414022"/>
                <a:gd name="connsiteY38" fmla="*/ 386320 h 402661"/>
                <a:gd name="connsiteX39" fmla="*/ 184070 w 414022"/>
                <a:gd name="connsiteY39" fmla="*/ 338598 h 402661"/>
                <a:gd name="connsiteX40" fmla="*/ 173532 w 414022"/>
                <a:gd name="connsiteY40" fmla="*/ 319630 h 402661"/>
                <a:gd name="connsiteX41" fmla="*/ 139055 w 414022"/>
                <a:gd name="connsiteY41" fmla="*/ 309490 h 402661"/>
                <a:gd name="connsiteX42" fmla="*/ 118602 w 414022"/>
                <a:gd name="connsiteY42" fmla="*/ 300400 h 402661"/>
                <a:gd name="connsiteX43" fmla="*/ 91333 w 414022"/>
                <a:gd name="connsiteY43" fmla="*/ 293583 h 402661"/>
                <a:gd name="connsiteX44" fmla="*/ 79971 w 414022"/>
                <a:gd name="connsiteY44" fmla="*/ 289038 h 402661"/>
                <a:gd name="connsiteX45" fmla="*/ 64063 w 414022"/>
                <a:gd name="connsiteY45" fmla="*/ 277675 h 402661"/>
                <a:gd name="connsiteX46" fmla="*/ 62383 w 414022"/>
                <a:gd name="connsiteY46" fmla="*/ 273754 h 402661"/>
                <a:gd name="connsiteX47" fmla="*/ 54539 w 414022"/>
                <a:gd name="connsiteY47" fmla="*/ 268151 h 402661"/>
                <a:gd name="connsiteX48" fmla="*/ 35836 w 414022"/>
                <a:gd name="connsiteY48" fmla="*/ 224511 h 402661"/>
                <a:gd name="connsiteX49" fmla="*/ 20887 w 414022"/>
                <a:gd name="connsiteY49" fmla="*/ 214046 h 402661"/>
                <a:gd name="connsiteX50" fmla="*/ 20348 w 414022"/>
                <a:gd name="connsiteY50" fmla="*/ 210812 h 402661"/>
                <a:gd name="connsiteX51" fmla="*/ 11363 w 414022"/>
                <a:gd name="connsiteY51" fmla="*/ 204522 h 402661"/>
                <a:gd name="connsiteX52" fmla="*/ 6817 w 414022"/>
                <a:gd name="connsiteY52" fmla="*/ 177253 h 402661"/>
                <a:gd name="connsiteX53" fmla="*/ 11363 w 414022"/>
                <a:gd name="connsiteY53" fmla="*/ 161345 h 402661"/>
                <a:gd name="connsiteX54" fmla="*/ 0 w 414022"/>
                <a:gd name="connsiteY54" fmla="*/ 129531 h 402661"/>
                <a:gd name="connsiteX55" fmla="*/ 18180 w 414022"/>
                <a:gd name="connsiteY55" fmla="*/ 129531 h 402661"/>
                <a:gd name="connsiteX56" fmla="*/ 34087 w 414022"/>
                <a:gd name="connsiteY56" fmla="*/ 113624 h 402661"/>
                <a:gd name="connsiteX57" fmla="*/ 43177 w 414022"/>
                <a:gd name="connsiteY57" fmla="*/ 90899 h 402661"/>
                <a:gd name="connsiteX58" fmla="*/ 54539 w 414022"/>
                <a:gd name="connsiteY58" fmla="*/ 86354 h 402661"/>
                <a:gd name="connsiteX59" fmla="*/ 54539 w 414022"/>
                <a:gd name="connsiteY59" fmla="*/ 74992 h 402661"/>
                <a:gd name="connsiteX60" fmla="*/ 49994 w 414022"/>
                <a:gd name="connsiteY60" fmla="*/ 63629 h 402661"/>
                <a:gd name="connsiteX61" fmla="*/ 43177 w 414022"/>
                <a:gd name="connsiteY61" fmla="*/ 54539 h 402661"/>
                <a:gd name="connsiteX62" fmla="*/ 54539 w 414022"/>
                <a:gd name="connsiteY62" fmla="*/ 47722 h 402661"/>
                <a:gd name="connsiteX63" fmla="*/ 61357 w 414022"/>
                <a:gd name="connsiteY63" fmla="*/ 27270 h 402661"/>
                <a:gd name="connsiteX64" fmla="*/ 43177 w 414022"/>
                <a:gd name="connsiteY64" fmla="*/ 4545 h 402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414022" h="402661">
                  <a:moveTo>
                    <a:pt x="54539" y="0"/>
                  </a:moveTo>
                  <a:lnTo>
                    <a:pt x="97716" y="0"/>
                  </a:lnTo>
                  <a:lnTo>
                    <a:pt x="172707" y="0"/>
                  </a:lnTo>
                  <a:lnTo>
                    <a:pt x="172707" y="4545"/>
                  </a:lnTo>
                  <a:lnTo>
                    <a:pt x="181609" y="9524"/>
                  </a:lnTo>
                  <a:lnTo>
                    <a:pt x="182231" y="9524"/>
                  </a:lnTo>
                  <a:lnTo>
                    <a:pt x="182231" y="9872"/>
                  </a:lnTo>
                  <a:lnTo>
                    <a:pt x="306782" y="79537"/>
                  </a:lnTo>
                  <a:lnTo>
                    <a:pt x="308774" y="84848"/>
                  </a:lnTo>
                  <a:lnTo>
                    <a:pt x="316306" y="89061"/>
                  </a:lnTo>
                  <a:lnTo>
                    <a:pt x="321653" y="103319"/>
                  </a:lnTo>
                  <a:lnTo>
                    <a:pt x="365866" y="134076"/>
                  </a:lnTo>
                  <a:lnTo>
                    <a:pt x="365016" y="136383"/>
                  </a:lnTo>
                  <a:lnTo>
                    <a:pt x="375390" y="143600"/>
                  </a:lnTo>
                  <a:lnTo>
                    <a:pt x="359483" y="186777"/>
                  </a:lnTo>
                  <a:lnTo>
                    <a:pt x="359483" y="205324"/>
                  </a:lnTo>
                  <a:lnTo>
                    <a:pt x="372684" y="215885"/>
                  </a:lnTo>
                  <a:lnTo>
                    <a:pt x="377229" y="220430"/>
                  </a:lnTo>
                  <a:lnTo>
                    <a:pt x="376918" y="221177"/>
                  </a:lnTo>
                  <a:lnTo>
                    <a:pt x="382208" y="225409"/>
                  </a:lnTo>
                  <a:lnTo>
                    <a:pt x="386753" y="229954"/>
                  </a:lnTo>
                  <a:lnTo>
                    <a:pt x="375390" y="257223"/>
                  </a:lnTo>
                  <a:lnTo>
                    <a:pt x="375390" y="268586"/>
                  </a:lnTo>
                  <a:lnTo>
                    <a:pt x="375390" y="284493"/>
                  </a:lnTo>
                  <a:lnTo>
                    <a:pt x="386753" y="304945"/>
                  </a:lnTo>
                  <a:lnTo>
                    <a:pt x="401490" y="340736"/>
                  </a:lnTo>
                  <a:lnTo>
                    <a:pt x="404498" y="343143"/>
                  </a:lnTo>
                  <a:lnTo>
                    <a:pt x="403332" y="344115"/>
                  </a:lnTo>
                  <a:lnTo>
                    <a:pt x="414022" y="352667"/>
                  </a:lnTo>
                  <a:lnTo>
                    <a:pt x="386753" y="375392"/>
                  </a:lnTo>
                  <a:lnTo>
                    <a:pt x="348121" y="386754"/>
                  </a:lnTo>
                  <a:lnTo>
                    <a:pt x="323124" y="386754"/>
                  </a:lnTo>
                  <a:lnTo>
                    <a:pt x="311762" y="395844"/>
                  </a:lnTo>
                  <a:lnTo>
                    <a:pt x="284492" y="395844"/>
                  </a:lnTo>
                  <a:lnTo>
                    <a:pt x="273130" y="402661"/>
                  </a:lnTo>
                  <a:lnTo>
                    <a:pt x="229953" y="395844"/>
                  </a:lnTo>
                  <a:lnTo>
                    <a:pt x="204956" y="395844"/>
                  </a:lnTo>
                  <a:lnTo>
                    <a:pt x="202688" y="386320"/>
                  </a:lnTo>
                  <a:lnTo>
                    <a:pt x="195432" y="386320"/>
                  </a:lnTo>
                  <a:lnTo>
                    <a:pt x="184070" y="338598"/>
                  </a:lnTo>
                  <a:lnTo>
                    <a:pt x="173532" y="319630"/>
                  </a:lnTo>
                  <a:lnTo>
                    <a:pt x="139055" y="309490"/>
                  </a:lnTo>
                  <a:lnTo>
                    <a:pt x="118602" y="300400"/>
                  </a:lnTo>
                  <a:lnTo>
                    <a:pt x="91333" y="293583"/>
                  </a:lnTo>
                  <a:lnTo>
                    <a:pt x="79971" y="289038"/>
                  </a:lnTo>
                  <a:lnTo>
                    <a:pt x="64063" y="277675"/>
                  </a:lnTo>
                  <a:lnTo>
                    <a:pt x="62383" y="273754"/>
                  </a:lnTo>
                  <a:lnTo>
                    <a:pt x="54539" y="268151"/>
                  </a:lnTo>
                  <a:lnTo>
                    <a:pt x="35836" y="224511"/>
                  </a:lnTo>
                  <a:lnTo>
                    <a:pt x="20887" y="214046"/>
                  </a:lnTo>
                  <a:lnTo>
                    <a:pt x="20348" y="210812"/>
                  </a:lnTo>
                  <a:lnTo>
                    <a:pt x="11363" y="204522"/>
                  </a:lnTo>
                  <a:lnTo>
                    <a:pt x="6817" y="177253"/>
                  </a:lnTo>
                  <a:lnTo>
                    <a:pt x="11363" y="161345"/>
                  </a:lnTo>
                  <a:lnTo>
                    <a:pt x="0" y="129531"/>
                  </a:lnTo>
                  <a:lnTo>
                    <a:pt x="18180" y="129531"/>
                  </a:lnTo>
                  <a:lnTo>
                    <a:pt x="34087" y="113624"/>
                  </a:lnTo>
                  <a:lnTo>
                    <a:pt x="43177" y="90899"/>
                  </a:lnTo>
                  <a:lnTo>
                    <a:pt x="54539" y="86354"/>
                  </a:lnTo>
                  <a:lnTo>
                    <a:pt x="54539" y="74992"/>
                  </a:lnTo>
                  <a:lnTo>
                    <a:pt x="49994" y="63629"/>
                  </a:lnTo>
                  <a:lnTo>
                    <a:pt x="43177" y="54539"/>
                  </a:lnTo>
                  <a:lnTo>
                    <a:pt x="54539" y="47722"/>
                  </a:lnTo>
                  <a:lnTo>
                    <a:pt x="61357" y="27270"/>
                  </a:lnTo>
                  <a:lnTo>
                    <a:pt x="43177" y="454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54" name="Freeform 41">
              <a:extLst>
                <a:ext uri="{FF2B5EF4-FFF2-40B4-BE49-F238E27FC236}">
                  <a16:creationId xmlns:a16="http://schemas.microsoft.com/office/drawing/2014/main" id="{543A7937-D83F-4C55-15D2-F04EF1CD5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2872" y="3334652"/>
              <a:ext cx="56099" cy="141132"/>
            </a:xfrm>
            <a:custGeom>
              <a:avLst/>
              <a:gdLst>
                <a:gd name="connsiteX0" fmla="*/ 9307 w 118385"/>
                <a:gd name="connsiteY0" fmla="*/ 0 h 293473"/>
                <a:gd name="connsiteX1" fmla="*/ 47939 w 118385"/>
                <a:gd name="connsiteY1" fmla="*/ 11363 h 293473"/>
                <a:gd name="connsiteX2" fmla="*/ 52484 w 118385"/>
                <a:gd name="connsiteY2" fmla="*/ 22725 h 293473"/>
                <a:gd name="connsiteX3" fmla="*/ 63846 w 118385"/>
                <a:gd name="connsiteY3" fmla="*/ 38632 h 293473"/>
                <a:gd name="connsiteX4" fmla="*/ 75209 w 118385"/>
                <a:gd name="connsiteY4" fmla="*/ 86354 h 293473"/>
                <a:gd name="connsiteX5" fmla="*/ 63846 w 118385"/>
                <a:gd name="connsiteY5" fmla="*/ 120441 h 293473"/>
                <a:gd name="connsiteX6" fmla="*/ 75209 w 118385"/>
                <a:gd name="connsiteY6" fmla="*/ 161345 h 293473"/>
                <a:gd name="connsiteX7" fmla="*/ 91116 w 118385"/>
                <a:gd name="connsiteY7" fmla="*/ 161345 h 293473"/>
                <a:gd name="connsiteX8" fmla="*/ 100206 w 118385"/>
                <a:gd name="connsiteY8" fmla="*/ 179525 h 293473"/>
                <a:gd name="connsiteX9" fmla="*/ 118385 w 118385"/>
                <a:gd name="connsiteY9" fmla="*/ 204522 h 293473"/>
                <a:gd name="connsiteX10" fmla="*/ 118385 w 118385"/>
                <a:gd name="connsiteY10" fmla="*/ 254516 h 293473"/>
                <a:gd name="connsiteX11" fmla="*/ 113623 w 118385"/>
                <a:gd name="connsiteY11" fmla="*/ 255706 h 293473"/>
                <a:gd name="connsiteX12" fmla="*/ 113623 w 118385"/>
                <a:gd name="connsiteY12" fmla="*/ 261659 h 293473"/>
                <a:gd name="connsiteX13" fmla="*/ 98041 w 118385"/>
                <a:gd name="connsiteY13" fmla="*/ 265554 h 293473"/>
                <a:gd name="connsiteX14" fmla="*/ 91116 w 118385"/>
                <a:gd name="connsiteY14" fmla="*/ 286330 h 293473"/>
                <a:gd name="connsiteX15" fmla="*/ 89330 w 118385"/>
                <a:gd name="connsiteY15" fmla="*/ 284545 h 293473"/>
                <a:gd name="connsiteX16" fmla="*/ 86354 w 118385"/>
                <a:gd name="connsiteY16" fmla="*/ 293473 h 293473"/>
                <a:gd name="connsiteX17" fmla="*/ 63629 w 118385"/>
                <a:gd name="connsiteY17" fmla="*/ 270749 h 293473"/>
                <a:gd name="connsiteX18" fmla="*/ 59084 w 118385"/>
                <a:gd name="connsiteY18" fmla="*/ 245752 h 293473"/>
                <a:gd name="connsiteX19" fmla="*/ 70447 w 118385"/>
                <a:gd name="connsiteY19" fmla="*/ 227572 h 293473"/>
                <a:gd name="connsiteX20" fmla="*/ 63629 w 118385"/>
                <a:gd name="connsiteY20" fmla="*/ 211665 h 293473"/>
                <a:gd name="connsiteX21" fmla="*/ 54539 w 118385"/>
                <a:gd name="connsiteY21" fmla="*/ 202575 h 293473"/>
                <a:gd name="connsiteX22" fmla="*/ 43177 w 118385"/>
                <a:gd name="connsiteY22" fmla="*/ 202575 h 293473"/>
                <a:gd name="connsiteX23" fmla="*/ 20452 w 118385"/>
                <a:gd name="connsiteY23" fmla="*/ 186668 h 293473"/>
                <a:gd name="connsiteX24" fmla="*/ 0 w 118385"/>
                <a:gd name="connsiteY24" fmla="*/ 175305 h 293473"/>
                <a:gd name="connsiteX25" fmla="*/ 15907 w 118385"/>
                <a:gd name="connsiteY25" fmla="*/ 143491 h 293473"/>
                <a:gd name="connsiteX26" fmla="*/ 20452 w 118385"/>
                <a:gd name="connsiteY26" fmla="*/ 132129 h 293473"/>
                <a:gd name="connsiteX27" fmla="*/ 15907 w 118385"/>
                <a:gd name="connsiteY27" fmla="*/ 100314 h 293473"/>
                <a:gd name="connsiteX28" fmla="*/ 20452 w 118385"/>
                <a:gd name="connsiteY28" fmla="*/ 66227 h 293473"/>
                <a:gd name="connsiteX29" fmla="*/ 24717 w 118385"/>
                <a:gd name="connsiteY29" fmla="*/ 62816 h 293473"/>
                <a:gd name="connsiteX30" fmla="*/ 25214 w 118385"/>
                <a:gd name="connsiteY30" fmla="*/ 59084 h 293473"/>
                <a:gd name="connsiteX31" fmla="*/ 30773 w 118385"/>
                <a:gd name="connsiteY31" fmla="*/ 54637 h 293473"/>
                <a:gd name="connsiteX32" fmla="*/ 20452 w 118385"/>
                <a:gd name="connsiteY32" fmla="*/ 29868 h 293473"/>
                <a:gd name="connsiteX33" fmla="*/ 4545 w 118385"/>
                <a:gd name="connsiteY33" fmla="*/ 7143 h 293473"/>
                <a:gd name="connsiteX34" fmla="*/ 16838 w 118385"/>
                <a:gd name="connsiteY34" fmla="*/ 10759 h 293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18385" h="293473">
                  <a:moveTo>
                    <a:pt x="9307" y="0"/>
                  </a:moveTo>
                  <a:lnTo>
                    <a:pt x="47939" y="11363"/>
                  </a:lnTo>
                  <a:lnTo>
                    <a:pt x="52484" y="22725"/>
                  </a:lnTo>
                  <a:lnTo>
                    <a:pt x="63846" y="38632"/>
                  </a:lnTo>
                  <a:lnTo>
                    <a:pt x="75209" y="86354"/>
                  </a:lnTo>
                  <a:lnTo>
                    <a:pt x="63846" y="120441"/>
                  </a:lnTo>
                  <a:lnTo>
                    <a:pt x="75209" y="161345"/>
                  </a:lnTo>
                  <a:lnTo>
                    <a:pt x="91116" y="161345"/>
                  </a:lnTo>
                  <a:lnTo>
                    <a:pt x="100206" y="179525"/>
                  </a:lnTo>
                  <a:lnTo>
                    <a:pt x="118385" y="204522"/>
                  </a:lnTo>
                  <a:lnTo>
                    <a:pt x="118385" y="254516"/>
                  </a:lnTo>
                  <a:lnTo>
                    <a:pt x="113623" y="255706"/>
                  </a:lnTo>
                  <a:lnTo>
                    <a:pt x="113623" y="261659"/>
                  </a:lnTo>
                  <a:lnTo>
                    <a:pt x="98041" y="265554"/>
                  </a:lnTo>
                  <a:lnTo>
                    <a:pt x="91116" y="286330"/>
                  </a:lnTo>
                  <a:lnTo>
                    <a:pt x="89330" y="284545"/>
                  </a:lnTo>
                  <a:lnTo>
                    <a:pt x="86354" y="293473"/>
                  </a:lnTo>
                  <a:lnTo>
                    <a:pt x="63629" y="270749"/>
                  </a:lnTo>
                  <a:lnTo>
                    <a:pt x="59084" y="245752"/>
                  </a:lnTo>
                  <a:lnTo>
                    <a:pt x="70447" y="227572"/>
                  </a:lnTo>
                  <a:lnTo>
                    <a:pt x="63629" y="211665"/>
                  </a:lnTo>
                  <a:lnTo>
                    <a:pt x="54539" y="202575"/>
                  </a:lnTo>
                  <a:lnTo>
                    <a:pt x="43177" y="202575"/>
                  </a:lnTo>
                  <a:lnTo>
                    <a:pt x="20452" y="186668"/>
                  </a:lnTo>
                  <a:lnTo>
                    <a:pt x="0" y="175305"/>
                  </a:lnTo>
                  <a:lnTo>
                    <a:pt x="15907" y="143491"/>
                  </a:lnTo>
                  <a:lnTo>
                    <a:pt x="20452" y="132129"/>
                  </a:lnTo>
                  <a:lnTo>
                    <a:pt x="15907" y="100314"/>
                  </a:lnTo>
                  <a:lnTo>
                    <a:pt x="20452" y="66227"/>
                  </a:lnTo>
                  <a:lnTo>
                    <a:pt x="24717" y="62816"/>
                  </a:lnTo>
                  <a:lnTo>
                    <a:pt x="25214" y="59084"/>
                  </a:lnTo>
                  <a:lnTo>
                    <a:pt x="30773" y="54637"/>
                  </a:lnTo>
                  <a:lnTo>
                    <a:pt x="20452" y="29868"/>
                  </a:lnTo>
                  <a:lnTo>
                    <a:pt x="4545" y="7143"/>
                  </a:lnTo>
                  <a:lnTo>
                    <a:pt x="16838" y="10759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55" name="Freeform 42">
              <a:extLst>
                <a:ext uri="{FF2B5EF4-FFF2-40B4-BE49-F238E27FC236}">
                  <a16:creationId xmlns:a16="http://schemas.microsoft.com/office/drawing/2014/main" id="{D8AD9D3C-1F4C-0DB8-D284-AC828872A37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6413" y="3357707"/>
              <a:ext cx="189733" cy="310569"/>
            </a:xfrm>
            <a:custGeom>
              <a:avLst/>
              <a:gdLst>
                <a:gd name="connsiteX0" fmla="*/ 379936 w 400388"/>
                <a:gd name="connsiteY0" fmla="*/ 0 h 645815"/>
                <a:gd name="connsiteX1" fmla="*/ 391298 w 400388"/>
                <a:gd name="connsiteY1" fmla="*/ 15907 h 645815"/>
                <a:gd name="connsiteX2" fmla="*/ 384481 w 400388"/>
                <a:gd name="connsiteY2" fmla="*/ 54539 h 645815"/>
                <a:gd name="connsiteX3" fmla="*/ 391298 w 400388"/>
                <a:gd name="connsiteY3" fmla="*/ 86354 h 645815"/>
                <a:gd name="connsiteX4" fmla="*/ 395843 w 400388"/>
                <a:gd name="connsiteY4" fmla="*/ 145438 h 645815"/>
                <a:gd name="connsiteX5" fmla="*/ 400388 w 400388"/>
                <a:gd name="connsiteY5" fmla="*/ 161345 h 645815"/>
                <a:gd name="connsiteX6" fmla="*/ 391298 w 400388"/>
                <a:gd name="connsiteY6" fmla="*/ 188615 h 645815"/>
                <a:gd name="connsiteX7" fmla="*/ 375391 w 400388"/>
                <a:gd name="connsiteY7" fmla="*/ 215884 h 645815"/>
                <a:gd name="connsiteX8" fmla="*/ 352666 w 400388"/>
                <a:gd name="connsiteY8" fmla="*/ 243154 h 645815"/>
                <a:gd name="connsiteX9" fmla="*/ 351616 w 400388"/>
                <a:gd name="connsiteY9" fmla="*/ 243463 h 645815"/>
                <a:gd name="connsiteX10" fmla="*/ 347904 w 400388"/>
                <a:gd name="connsiteY10" fmla="*/ 247917 h 645815"/>
                <a:gd name="connsiteX11" fmla="*/ 346853 w 400388"/>
                <a:gd name="connsiteY11" fmla="*/ 248226 h 645815"/>
                <a:gd name="connsiteX12" fmla="*/ 343142 w 400388"/>
                <a:gd name="connsiteY12" fmla="*/ 252679 h 645815"/>
                <a:gd name="connsiteX13" fmla="*/ 304511 w 400388"/>
                <a:gd name="connsiteY13" fmla="*/ 264041 h 645815"/>
                <a:gd name="connsiteX14" fmla="*/ 268151 w 400388"/>
                <a:gd name="connsiteY14" fmla="*/ 284493 h 645815"/>
                <a:gd name="connsiteX15" fmla="*/ 224974 w 400388"/>
                <a:gd name="connsiteY15" fmla="*/ 323125 h 645815"/>
                <a:gd name="connsiteX16" fmla="*/ 210868 w 400388"/>
                <a:gd name="connsiteY16" fmla="*/ 327156 h 645815"/>
                <a:gd name="connsiteX17" fmla="*/ 191321 w 400388"/>
                <a:gd name="connsiteY17" fmla="*/ 349960 h 645815"/>
                <a:gd name="connsiteX18" fmla="*/ 189923 w 400388"/>
                <a:gd name="connsiteY18" fmla="*/ 350799 h 645815"/>
                <a:gd name="connsiteX19" fmla="*/ 186559 w 400388"/>
                <a:gd name="connsiteY19" fmla="*/ 354723 h 645815"/>
                <a:gd name="connsiteX20" fmla="*/ 185159 w 400388"/>
                <a:gd name="connsiteY20" fmla="*/ 355563 h 645815"/>
                <a:gd name="connsiteX21" fmla="*/ 181797 w 400388"/>
                <a:gd name="connsiteY21" fmla="*/ 359485 h 645815"/>
                <a:gd name="connsiteX22" fmla="*/ 179182 w 400388"/>
                <a:gd name="connsiteY22" fmla="*/ 361054 h 645815"/>
                <a:gd name="connsiteX23" fmla="*/ 175414 w 400388"/>
                <a:gd name="connsiteY23" fmla="*/ 381774 h 645815"/>
                <a:gd name="connsiteX24" fmla="*/ 191321 w 400388"/>
                <a:gd name="connsiteY24" fmla="*/ 415861 h 645815"/>
                <a:gd name="connsiteX25" fmla="*/ 202684 w 400388"/>
                <a:gd name="connsiteY25" fmla="*/ 436313 h 645815"/>
                <a:gd name="connsiteX26" fmla="*/ 202684 w 400388"/>
                <a:gd name="connsiteY26" fmla="*/ 447676 h 645815"/>
                <a:gd name="connsiteX27" fmla="*/ 207229 w 400388"/>
                <a:gd name="connsiteY27" fmla="*/ 447676 h 645815"/>
                <a:gd name="connsiteX28" fmla="*/ 207229 w 400388"/>
                <a:gd name="connsiteY28" fmla="*/ 484035 h 645815"/>
                <a:gd name="connsiteX29" fmla="*/ 202684 w 400388"/>
                <a:gd name="connsiteY29" fmla="*/ 506760 h 645815"/>
                <a:gd name="connsiteX30" fmla="*/ 207229 w 400388"/>
                <a:gd name="connsiteY30" fmla="*/ 511305 h 645815"/>
                <a:gd name="connsiteX31" fmla="*/ 202684 w 400388"/>
                <a:gd name="connsiteY31" fmla="*/ 527212 h 645815"/>
                <a:gd name="connsiteX32" fmla="*/ 197923 w 400388"/>
                <a:gd name="connsiteY32" fmla="*/ 531974 h 645815"/>
                <a:gd name="connsiteX33" fmla="*/ 197922 w 400388"/>
                <a:gd name="connsiteY33" fmla="*/ 531975 h 645815"/>
                <a:gd name="connsiteX34" fmla="*/ 182015 w 400388"/>
                <a:gd name="connsiteY34" fmla="*/ 547882 h 645815"/>
                <a:gd name="connsiteX35" fmla="*/ 182014 w 400388"/>
                <a:gd name="connsiteY35" fmla="*/ 547882 h 645815"/>
                <a:gd name="connsiteX36" fmla="*/ 177253 w 400388"/>
                <a:gd name="connsiteY36" fmla="*/ 552644 h 645815"/>
                <a:gd name="connsiteX37" fmla="*/ 149983 w 400388"/>
                <a:gd name="connsiteY37" fmla="*/ 564007 h 645815"/>
                <a:gd name="connsiteX38" fmla="*/ 106806 w 400388"/>
                <a:gd name="connsiteY38" fmla="*/ 586731 h 645815"/>
                <a:gd name="connsiteX39" fmla="*/ 100423 w 400388"/>
                <a:gd name="connsiteY39" fmla="*/ 593114 h 645815"/>
                <a:gd name="connsiteX40" fmla="*/ 100423 w 400388"/>
                <a:gd name="connsiteY40" fmla="*/ 609021 h 645815"/>
                <a:gd name="connsiteX41" fmla="*/ 111785 w 400388"/>
                <a:gd name="connsiteY41" fmla="*/ 613566 h 645815"/>
                <a:gd name="connsiteX42" fmla="*/ 104968 w 400388"/>
                <a:gd name="connsiteY42" fmla="*/ 636290 h 645815"/>
                <a:gd name="connsiteX43" fmla="*/ 101868 w 400388"/>
                <a:gd name="connsiteY43" fmla="*/ 635515 h 645815"/>
                <a:gd name="connsiteX44" fmla="*/ 100206 w 400388"/>
                <a:gd name="connsiteY44" fmla="*/ 641053 h 645815"/>
                <a:gd name="connsiteX45" fmla="*/ 97105 w 400388"/>
                <a:gd name="connsiteY45" fmla="*/ 640278 h 645815"/>
                <a:gd name="connsiteX46" fmla="*/ 95444 w 400388"/>
                <a:gd name="connsiteY46" fmla="*/ 645815 h 645815"/>
                <a:gd name="connsiteX47" fmla="*/ 68174 w 400388"/>
                <a:gd name="connsiteY47" fmla="*/ 638998 h 645815"/>
                <a:gd name="connsiteX48" fmla="*/ 68174 w 400388"/>
                <a:gd name="connsiteY48" fmla="*/ 623091 h 645815"/>
                <a:gd name="connsiteX49" fmla="*/ 63629 w 400388"/>
                <a:gd name="connsiteY49" fmla="*/ 607183 h 645815"/>
                <a:gd name="connsiteX50" fmla="*/ 59084 w 400388"/>
                <a:gd name="connsiteY50" fmla="*/ 591276 h 645815"/>
                <a:gd name="connsiteX51" fmla="*/ 63629 w 400388"/>
                <a:gd name="connsiteY51" fmla="*/ 548099 h 645815"/>
                <a:gd name="connsiteX52" fmla="*/ 52267 w 400388"/>
                <a:gd name="connsiteY52" fmla="*/ 520830 h 645815"/>
                <a:gd name="connsiteX53" fmla="*/ 36360 w 400388"/>
                <a:gd name="connsiteY53" fmla="*/ 461746 h 645815"/>
                <a:gd name="connsiteX54" fmla="*/ 74992 w 400388"/>
                <a:gd name="connsiteY54" fmla="*/ 418569 h 645815"/>
                <a:gd name="connsiteX55" fmla="*/ 86354 w 400388"/>
                <a:gd name="connsiteY55" fmla="*/ 391299 h 645815"/>
                <a:gd name="connsiteX56" fmla="*/ 90899 w 400388"/>
                <a:gd name="connsiteY56" fmla="*/ 386754 h 645815"/>
                <a:gd name="connsiteX57" fmla="*/ 95444 w 400388"/>
                <a:gd name="connsiteY57" fmla="*/ 366302 h 645815"/>
                <a:gd name="connsiteX58" fmla="*/ 90899 w 400388"/>
                <a:gd name="connsiteY58" fmla="*/ 354940 h 645815"/>
                <a:gd name="connsiteX59" fmla="*/ 90899 w 400388"/>
                <a:gd name="connsiteY59" fmla="*/ 323125 h 645815"/>
                <a:gd name="connsiteX60" fmla="*/ 102261 w 400388"/>
                <a:gd name="connsiteY60" fmla="*/ 300401 h 645815"/>
                <a:gd name="connsiteX61" fmla="*/ 102261 w 400388"/>
                <a:gd name="connsiteY61" fmla="*/ 248134 h 645815"/>
                <a:gd name="connsiteX62" fmla="*/ 79537 w 400388"/>
                <a:gd name="connsiteY62" fmla="*/ 236772 h 645815"/>
                <a:gd name="connsiteX63" fmla="*/ 63629 w 400388"/>
                <a:gd name="connsiteY63" fmla="*/ 229954 h 645815"/>
                <a:gd name="connsiteX64" fmla="*/ 52267 w 400388"/>
                <a:gd name="connsiteY64" fmla="*/ 225409 h 645815"/>
                <a:gd name="connsiteX65" fmla="*/ 36360 w 400388"/>
                <a:gd name="connsiteY65" fmla="*/ 214047 h 645815"/>
                <a:gd name="connsiteX66" fmla="*/ 4545 w 400388"/>
                <a:gd name="connsiteY66" fmla="*/ 214047 h 645815"/>
                <a:gd name="connsiteX67" fmla="*/ 4545 w 400388"/>
                <a:gd name="connsiteY67" fmla="*/ 204957 h 645815"/>
                <a:gd name="connsiteX68" fmla="*/ 0 w 400388"/>
                <a:gd name="connsiteY68" fmla="*/ 177688 h 645815"/>
                <a:gd name="connsiteX69" fmla="*/ 5303 w 400388"/>
                <a:gd name="connsiteY69" fmla="*/ 176173 h 645815"/>
                <a:gd name="connsiteX70" fmla="*/ 4762 w 400388"/>
                <a:gd name="connsiteY70" fmla="*/ 172926 h 645815"/>
                <a:gd name="connsiteX71" fmla="*/ 4762 w 400388"/>
                <a:gd name="connsiteY71" fmla="*/ 172926 h 645815"/>
                <a:gd name="connsiteX72" fmla="*/ 4762 w 400388"/>
                <a:gd name="connsiteY72" fmla="*/ 172925 h 645815"/>
                <a:gd name="connsiteX73" fmla="*/ 10065 w 400388"/>
                <a:gd name="connsiteY73" fmla="*/ 171410 h 645815"/>
                <a:gd name="connsiteX74" fmla="*/ 9524 w 400388"/>
                <a:gd name="connsiteY74" fmla="*/ 168163 h 645815"/>
                <a:gd name="connsiteX75" fmla="*/ 120875 w 400388"/>
                <a:gd name="connsiteY75" fmla="*/ 136348 h 645815"/>
                <a:gd name="connsiteX76" fmla="*/ 143600 w 400388"/>
                <a:gd name="connsiteY76" fmla="*/ 152255 h 645815"/>
                <a:gd name="connsiteX77" fmla="*/ 154962 w 400388"/>
                <a:gd name="connsiteY77" fmla="*/ 152255 h 645815"/>
                <a:gd name="connsiteX78" fmla="*/ 170869 w 400388"/>
                <a:gd name="connsiteY78" fmla="*/ 156800 h 645815"/>
                <a:gd name="connsiteX79" fmla="*/ 170869 w 400388"/>
                <a:gd name="connsiteY79" fmla="*/ 172708 h 645815"/>
                <a:gd name="connsiteX80" fmla="*/ 159507 w 400388"/>
                <a:gd name="connsiteY80" fmla="*/ 195432 h 645815"/>
                <a:gd name="connsiteX81" fmla="*/ 164052 w 400388"/>
                <a:gd name="connsiteY81" fmla="*/ 215884 h 645815"/>
                <a:gd name="connsiteX82" fmla="*/ 182242 w 400388"/>
                <a:gd name="connsiteY82" fmla="*/ 237712 h 645815"/>
                <a:gd name="connsiteX83" fmla="*/ 186342 w 400388"/>
                <a:gd name="connsiteY83" fmla="*/ 225409 h 645815"/>
                <a:gd name="connsiteX84" fmla="*/ 189743 w 400388"/>
                <a:gd name="connsiteY84" fmla="*/ 224729 h 645815"/>
                <a:gd name="connsiteX85" fmla="*/ 191104 w 400388"/>
                <a:gd name="connsiteY85" fmla="*/ 220646 h 645815"/>
                <a:gd name="connsiteX86" fmla="*/ 194506 w 400388"/>
                <a:gd name="connsiteY86" fmla="*/ 219966 h 645815"/>
                <a:gd name="connsiteX87" fmla="*/ 195866 w 400388"/>
                <a:gd name="connsiteY87" fmla="*/ 215884 h 645815"/>
                <a:gd name="connsiteX88" fmla="*/ 208443 w 400388"/>
                <a:gd name="connsiteY88" fmla="*/ 213369 h 645815"/>
                <a:gd name="connsiteX89" fmla="*/ 204522 w 400388"/>
                <a:gd name="connsiteY89" fmla="*/ 166325 h 645815"/>
                <a:gd name="connsiteX90" fmla="*/ 186342 w 400388"/>
                <a:gd name="connsiteY90" fmla="*/ 139056 h 645815"/>
                <a:gd name="connsiteX91" fmla="*/ 177253 w 400388"/>
                <a:gd name="connsiteY91" fmla="*/ 127693 h 645815"/>
                <a:gd name="connsiteX92" fmla="*/ 161345 w 400388"/>
                <a:gd name="connsiteY92" fmla="*/ 127693 h 645815"/>
                <a:gd name="connsiteX93" fmla="*/ 149983 w 400388"/>
                <a:gd name="connsiteY93" fmla="*/ 79972 h 645815"/>
                <a:gd name="connsiteX94" fmla="*/ 161345 w 400388"/>
                <a:gd name="connsiteY94" fmla="*/ 52702 h 645815"/>
                <a:gd name="connsiteX95" fmla="*/ 164123 w 400388"/>
                <a:gd name="connsiteY95" fmla="*/ 52702 h 645815"/>
                <a:gd name="connsiteX96" fmla="*/ 166107 w 400388"/>
                <a:gd name="connsiteY96" fmla="*/ 47939 h 645815"/>
                <a:gd name="connsiteX97" fmla="*/ 168885 w 400388"/>
                <a:gd name="connsiteY97" fmla="*/ 47939 h 645815"/>
                <a:gd name="connsiteX98" fmla="*/ 170869 w 400388"/>
                <a:gd name="connsiteY98" fmla="*/ 43177 h 645815"/>
                <a:gd name="connsiteX99" fmla="*/ 195866 w 400388"/>
                <a:gd name="connsiteY99" fmla="*/ 43177 h 645815"/>
                <a:gd name="connsiteX100" fmla="*/ 239043 w 400388"/>
                <a:gd name="connsiteY100" fmla="*/ 49994 h 645815"/>
                <a:gd name="connsiteX101" fmla="*/ 250406 w 400388"/>
                <a:gd name="connsiteY101" fmla="*/ 43177 h 645815"/>
                <a:gd name="connsiteX102" fmla="*/ 277675 w 400388"/>
                <a:gd name="connsiteY102" fmla="*/ 43177 h 645815"/>
                <a:gd name="connsiteX103" fmla="*/ 293582 w 400388"/>
                <a:gd name="connsiteY103" fmla="*/ 34087 h 645815"/>
                <a:gd name="connsiteX104" fmla="*/ 314035 w 400388"/>
                <a:gd name="connsiteY104" fmla="*/ 34087 h 645815"/>
                <a:gd name="connsiteX105" fmla="*/ 352666 w 400388"/>
                <a:gd name="connsiteY105" fmla="*/ 22725 h 645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</a:cxnLst>
              <a:rect l="l" t="t" r="r" b="b"/>
              <a:pathLst>
                <a:path w="400388" h="645815">
                  <a:moveTo>
                    <a:pt x="379936" y="0"/>
                  </a:moveTo>
                  <a:lnTo>
                    <a:pt x="391298" y="15907"/>
                  </a:lnTo>
                  <a:lnTo>
                    <a:pt x="384481" y="54539"/>
                  </a:lnTo>
                  <a:lnTo>
                    <a:pt x="391298" y="86354"/>
                  </a:lnTo>
                  <a:lnTo>
                    <a:pt x="395843" y="145438"/>
                  </a:lnTo>
                  <a:lnTo>
                    <a:pt x="400388" y="161345"/>
                  </a:lnTo>
                  <a:lnTo>
                    <a:pt x="391298" y="188615"/>
                  </a:lnTo>
                  <a:lnTo>
                    <a:pt x="375391" y="215884"/>
                  </a:lnTo>
                  <a:lnTo>
                    <a:pt x="352666" y="243154"/>
                  </a:lnTo>
                  <a:lnTo>
                    <a:pt x="351616" y="243463"/>
                  </a:lnTo>
                  <a:lnTo>
                    <a:pt x="347904" y="247917"/>
                  </a:lnTo>
                  <a:lnTo>
                    <a:pt x="346853" y="248226"/>
                  </a:lnTo>
                  <a:lnTo>
                    <a:pt x="343142" y="252679"/>
                  </a:lnTo>
                  <a:lnTo>
                    <a:pt x="304511" y="264041"/>
                  </a:lnTo>
                  <a:lnTo>
                    <a:pt x="268151" y="284493"/>
                  </a:lnTo>
                  <a:lnTo>
                    <a:pt x="224974" y="323125"/>
                  </a:lnTo>
                  <a:lnTo>
                    <a:pt x="210868" y="327156"/>
                  </a:lnTo>
                  <a:lnTo>
                    <a:pt x="191321" y="349960"/>
                  </a:lnTo>
                  <a:lnTo>
                    <a:pt x="189923" y="350799"/>
                  </a:lnTo>
                  <a:lnTo>
                    <a:pt x="186559" y="354723"/>
                  </a:lnTo>
                  <a:lnTo>
                    <a:pt x="185159" y="355563"/>
                  </a:lnTo>
                  <a:lnTo>
                    <a:pt x="181797" y="359485"/>
                  </a:lnTo>
                  <a:lnTo>
                    <a:pt x="179182" y="361054"/>
                  </a:lnTo>
                  <a:lnTo>
                    <a:pt x="175414" y="381774"/>
                  </a:lnTo>
                  <a:lnTo>
                    <a:pt x="191321" y="415861"/>
                  </a:lnTo>
                  <a:lnTo>
                    <a:pt x="202684" y="436313"/>
                  </a:lnTo>
                  <a:lnTo>
                    <a:pt x="202684" y="447676"/>
                  </a:lnTo>
                  <a:lnTo>
                    <a:pt x="207229" y="447676"/>
                  </a:lnTo>
                  <a:lnTo>
                    <a:pt x="207229" y="484035"/>
                  </a:lnTo>
                  <a:lnTo>
                    <a:pt x="202684" y="506760"/>
                  </a:lnTo>
                  <a:lnTo>
                    <a:pt x="207229" y="511305"/>
                  </a:lnTo>
                  <a:lnTo>
                    <a:pt x="202684" y="527212"/>
                  </a:lnTo>
                  <a:lnTo>
                    <a:pt x="197923" y="531974"/>
                  </a:lnTo>
                  <a:lnTo>
                    <a:pt x="197922" y="531975"/>
                  </a:lnTo>
                  <a:lnTo>
                    <a:pt x="182015" y="547882"/>
                  </a:lnTo>
                  <a:lnTo>
                    <a:pt x="182014" y="547882"/>
                  </a:lnTo>
                  <a:lnTo>
                    <a:pt x="177253" y="552644"/>
                  </a:lnTo>
                  <a:lnTo>
                    <a:pt x="149983" y="564007"/>
                  </a:lnTo>
                  <a:lnTo>
                    <a:pt x="106806" y="586731"/>
                  </a:lnTo>
                  <a:lnTo>
                    <a:pt x="100423" y="593114"/>
                  </a:lnTo>
                  <a:lnTo>
                    <a:pt x="100423" y="609021"/>
                  </a:lnTo>
                  <a:lnTo>
                    <a:pt x="111785" y="613566"/>
                  </a:lnTo>
                  <a:lnTo>
                    <a:pt x="104968" y="636290"/>
                  </a:lnTo>
                  <a:lnTo>
                    <a:pt x="101868" y="635515"/>
                  </a:lnTo>
                  <a:lnTo>
                    <a:pt x="100206" y="641053"/>
                  </a:lnTo>
                  <a:lnTo>
                    <a:pt x="97105" y="640278"/>
                  </a:lnTo>
                  <a:lnTo>
                    <a:pt x="95444" y="645815"/>
                  </a:lnTo>
                  <a:lnTo>
                    <a:pt x="68174" y="638998"/>
                  </a:lnTo>
                  <a:lnTo>
                    <a:pt x="68174" y="623091"/>
                  </a:lnTo>
                  <a:lnTo>
                    <a:pt x="63629" y="607183"/>
                  </a:lnTo>
                  <a:lnTo>
                    <a:pt x="59084" y="591276"/>
                  </a:lnTo>
                  <a:lnTo>
                    <a:pt x="63629" y="548099"/>
                  </a:lnTo>
                  <a:lnTo>
                    <a:pt x="52267" y="520830"/>
                  </a:lnTo>
                  <a:lnTo>
                    <a:pt x="36360" y="461746"/>
                  </a:lnTo>
                  <a:lnTo>
                    <a:pt x="74992" y="418569"/>
                  </a:lnTo>
                  <a:lnTo>
                    <a:pt x="86354" y="391299"/>
                  </a:lnTo>
                  <a:lnTo>
                    <a:pt x="90899" y="386754"/>
                  </a:lnTo>
                  <a:lnTo>
                    <a:pt x="95444" y="366302"/>
                  </a:lnTo>
                  <a:lnTo>
                    <a:pt x="90899" y="354940"/>
                  </a:lnTo>
                  <a:lnTo>
                    <a:pt x="90899" y="323125"/>
                  </a:lnTo>
                  <a:lnTo>
                    <a:pt x="102261" y="300401"/>
                  </a:lnTo>
                  <a:lnTo>
                    <a:pt x="102261" y="248134"/>
                  </a:lnTo>
                  <a:lnTo>
                    <a:pt x="79537" y="236772"/>
                  </a:lnTo>
                  <a:lnTo>
                    <a:pt x="63629" y="229954"/>
                  </a:lnTo>
                  <a:lnTo>
                    <a:pt x="52267" y="225409"/>
                  </a:lnTo>
                  <a:lnTo>
                    <a:pt x="36360" y="214047"/>
                  </a:lnTo>
                  <a:lnTo>
                    <a:pt x="4545" y="214047"/>
                  </a:lnTo>
                  <a:lnTo>
                    <a:pt x="4545" y="204957"/>
                  </a:lnTo>
                  <a:lnTo>
                    <a:pt x="0" y="177688"/>
                  </a:lnTo>
                  <a:lnTo>
                    <a:pt x="5303" y="176173"/>
                  </a:lnTo>
                  <a:lnTo>
                    <a:pt x="4762" y="172926"/>
                  </a:lnTo>
                  <a:lnTo>
                    <a:pt x="4762" y="172926"/>
                  </a:lnTo>
                  <a:lnTo>
                    <a:pt x="4762" y="172925"/>
                  </a:lnTo>
                  <a:lnTo>
                    <a:pt x="10065" y="171410"/>
                  </a:lnTo>
                  <a:lnTo>
                    <a:pt x="9524" y="168163"/>
                  </a:lnTo>
                  <a:lnTo>
                    <a:pt x="120875" y="136348"/>
                  </a:lnTo>
                  <a:lnTo>
                    <a:pt x="143600" y="152255"/>
                  </a:lnTo>
                  <a:lnTo>
                    <a:pt x="154962" y="152255"/>
                  </a:lnTo>
                  <a:lnTo>
                    <a:pt x="170869" y="156800"/>
                  </a:lnTo>
                  <a:lnTo>
                    <a:pt x="170869" y="172708"/>
                  </a:lnTo>
                  <a:lnTo>
                    <a:pt x="159507" y="195432"/>
                  </a:lnTo>
                  <a:lnTo>
                    <a:pt x="164052" y="215884"/>
                  </a:lnTo>
                  <a:lnTo>
                    <a:pt x="182242" y="237712"/>
                  </a:lnTo>
                  <a:lnTo>
                    <a:pt x="186342" y="225409"/>
                  </a:lnTo>
                  <a:lnTo>
                    <a:pt x="189743" y="224729"/>
                  </a:lnTo>
                  <a:lnTo>
                    <a:pt x="191104" y="220646"/>
                  </a:lnTo>
                  <a:lnTo>
                    <a:pt x="194506" y="219966"/>
                  </a:lnTo>
                  <a:lnTo>
                    <a:pt x="195866" y="215884"/>
                  </a:lnTo>
                  <a:lnTo>
                    <a:pt x="208443" y="213369"/>
                  </a:lnTo>
                  <a:lnTo>
                    <a:pt x="204522" y="166325"/>
                  </a:lnTo>
                  <a:lnTo>
                    <a:pt x="186342" y="139056"/>
                  </a:lnTo>
                  <a:lnTo>
                    <a:pt x="177253" y="127693"/>
                  </a:lnTo>
                  <a:lnTo>
                    <a:pt x="161345" y="127693"/>
                  </a:lnTo>
                  <a:lnTo>
                    <a:pt x="149983" y="79972"/>
                  </a:lnTo>
                  <a:lnTo>
                    <a:pt x="161345" y="52702"/>
                  </a:lnTo>
                  <a:lnTo>
                    <a:pt x="164123" y="52702"/>
                  </a:lnTo>
                  <a:lnTo>
                    <a:pt x="166107" y="47939"/>
                  </a:lnTo>
                  <a:lnTo>
                    <a:pt x="168885" y="47939"/>
                  </a:lnTo>
                  <a:lnTo>
                    <a:pt x="170869" y="43177"/>
                  </a:lnTo>
                  <a:lnTo>
                    <a:pt x="195866" y="43177"/>
                  </a:lnTo>
                  <a:lnTo>
                    <a:pt x="239043" y="49994"/>
                  </a:lnTo>
                  <a:lnTo>
                    <a:pt x="250406" y="43177"/>
                  </a:lnTo>
                  <a:lnTo>
                    <a:pt x="277675" y="43177"/>
                  </a:lnTo>
                  <a:lnTo>
                    <a:pt x="293582" y="34087"/>
                  </a:lnTo>
                  <a:lnTo>
                    <a:pt x="314035" y="34087"/>
                  </a:lnTo>
                  <a:lnTo>
                    <a:pt x="352666" y="2272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56" name="Freeform 43">
              <a:extLst>
                <a:ext uri="{FF2B5EF4-FFF2-40B4-BE49-F238E27FC236}">
                  <a16:creationId xmlns:a16="http://schemas.microsoft.com/office/drawing/2014/main" id="{2ED66CCE-B5C6-B5E3-460E-10DA9422D70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8210" y="3216785"/>
              <a:ext cx="31280" cy="49514"/>
            </a:xfrm>
            <a:custGeom>
              <a:avLst/>
              <a:gdLst>
                <a:gd name="connsiteX0" fmla="*/ 38741 w 66010"/>
                <a:gd name="connsiteY0" fmla="*/ 0 h 102964"/>
                <a:gd name="connsiteX1" fmla="*/ 54648 w 66010"/>
                <a:gd name="connsiteY1" fmla="*/ 6818 h 102964"/>
                <a:gd name="connsiteX2" fmla="*/ 61465 w 66010"/>
                <a:gd name="connsiteY2" fmla="*/ 15908 h 102964"/>
                <a:gd name="connsiteX3" fmla="*/ 66010 w 66010"/>
                <a:gd name="connsiteY3" fmla="*/ 27270 h 102964"/>
                <a:gd name="connsiteX4" fmla="*/ 66010 w 66010"/>
                <a:gd name="connsiteY4" fmla="*/ 38632 h 102964"/>
                <a:gd name="connsiteX5" fmla="*/ 63629 w 66010"/>
                <a:gd name="connsiteY5" fmla="*/ 39585 h 102964"/>
                <a:gd name="connsiteX6" fmla="*/ 63629 w 66010"/>
                <a:gd name="connsiteY6" fmla="*/ 49878 h 102964"/>
                <a:gd name="connsiteX7" fmla="*/ 52267 w 66010"/>
                <a:gd name="connsiteY7" fmla="*/ 55466 h 102964"/>
                <a:gd name="connsiteX8" fmla="*/ 43177 w 66010"/>
                <a:gd name="connsiteY8" fmla="*/ 83406 h 102964"/>
                <a:gd name="connsiteX9" fmla="*/ 27270 w 66010"/>
                <a:gd name="connsiteY9" fmla="*/ 94582 h 102964"/>
                <a:gd name="connsiteX10" fmla="*/ 9090 w 66010"/>
                <a:gd name="connsiteY10" fmla="*/ 102964 h 102964"/>
                <a:gd name="connsiteX11" fmla="*/ 9090 w 66010"/>
                <a:gd name="connsiteY11" fmla="*/ 49878 h 102964"/>
                <a:gd name="connsiteX12" fmla="*/ 0 w 66010"/>
                <a:gd name="connsiteY12" fmla="*/ 30320 h 102964"/>
                <a:gd name="connsiteX13" fmla="*/ 6722 w 66010"/>
                <a:gd name="connsiteY13" fmla="*/ 30320 h 102964"/>
                <a:gd name="connsiteX14" fmla="*/ 2381 w 66010"/>
                <a:gd name="connsiteY14" fmla="*/ 22725 h 102964"/>
                <a:gd name="connsiteX15" fmla="*/ 22833 w 66010"/>
                <a:gd name="connsiteY15" fmla="*/ 22725 h 102964"/>
                <a:gd name="connsiteX16" fmla="*/ 33245 w 66010"/>
                <a:gd name="connsiteY16" fmla="*/ 7852 h 102964"/>
                <a:gd name="connsiteX17" fmla="*/ 36360 w 66010"/>
                <a:gd name="connsiteY17" fmla="*/ 2380 h 102964"/>
                <a:gd name="connsiteX18" fmla="*/ 36882 w 66010"/>
                <a:gd name="connsiteY18" fmla="*/ 2655 h 102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6010" h="102964">
                  <a:moveTo>
                    <a:pt x="38741" y="0"/>
                  </a:moveTo>
                  <a:lnTo>
                    <a:pt x="54648" y="6818"/>
                  </a:lnTo>
                  <a:lnTo>
                    <a:pt x="61465" y="15908"/>
                  </a:lnTo>
                  <a:lnTo>
                    <a:pt x="66010" y="27270"/>
                  </a:lnTo>
                  <a:lnTo>
                    <a:pt x="66010" y="38632"/>
                  </a:lnTo>
                  <a:lnTo>
                    <a:pt x="63629" y="39585"/>
                  </a:lnTo>
                  <a:lnTo>
                    <a:pt x="63629" y="49878"/>
                  </a:lnTo>
                  <a:lnTo>
                    <a:pt x="52267" y="55466"/>
                  </a:lnTo>
                  <a:lnTo>
                    <a:pt x="43177" y="83406"/>
                  </a:lnTo>
                  <a:lnTo>
                    <a:pt x="27270" y="94582"/>
                  </a:lnTo>
                  <a:lnTo>
                    <a:pt x="9090" y="102964"/>
                  </a:lnTo>
                  <a:lnTo>
                    <a:pt x="9090" y="49878"/>
                  </a:lnTo>
                  <a:lnTo>
                    <a:pt x="0" y="30320"/>
                  </a:lnTo>
                  <a:lnTo>
                    <a:pt x="6722" y="30320"/>
                  </a:lnTo>
                  <a:lnTo>
                    <a:pt x="2381" y="22725"/>
                  </a:lnTo>
                  <a:lnTo>
                    <a:pt x="22833" y="22725"/>
                  </a:lnTo>
                  <a:lnTo>
                    <a:pt x="33245" y="7852"/>
                  </a:lnTo>
                  <a:lnTo>
                    <a:pt x="36360" y="2380"/>
                  </a:lnTo>
                  <a:lnTo>
                    <a:pt x="36882" y="265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57" name="Freeform 44">
              <a:extLst>
                <a:ext uri="{FF2B5EF4-FFF2-40B4-BE49-F238E27FC236}">
                  <a16:creationId xmlns:a16="http://schemas.microsoft.com/office/drawing/2014/main" id="{B1549C38-1F44-CA40-97B3-7959B09C0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9033295" y="3321642"/>
              <a:ext cx="205783" cy="177193"/>
            </a:xfrm>
            <a:custGeom>
              <a:avLst/>
              <a:gdLst>
                <a:gd name="connsiteX0" fmla="*/ 316090 w 434258"/>
                <a:gd name="connsiteY0" fmla="*/ 0 h 368465"/>
                <a:gd name="connsiteX1" fmla="*/ 331997 w 434258"/>
                <a:gd name="connsiteY1" fmla="*/ 0 h 368465"/>
                <a:gd name="connsiteX2" fmla="*/ 347905 w 434258"/>
                <a:gd name="connsiteY2" fmla="*/ 11363 h 368465"/>
                <a:gd name="connsiteX3" fmla="*/ 359267 w 434258"/>
                <a:gd name="connsiteY3" fmla="*/ 15908 h 368465"/>
                <a:gd name="connsiteX4" fmla="*/ 386536 w 434258"/>
                <a:gd name="connsiteY4" fmla="*/ 27270 h 368465"/>
                <a:gd name="connsiteX5" fmla="*/ 406989 w 434258"/>
                <a:gd name="connsiteY5" fmla="*/ 31815 h 368465"/>
                <a:gd name="connsiteX6" fmla="*/ 422896 w 434258"/>
                <a:gd name="connsiteY6" fmla="*/ 54539 h 368465"/>
                <a:gd name="connsiteX7" fmla="*/ 434258 w 434258"/>
                <a:gd name="connsiteY7" fmla="*/ 81809 h 368465"/>
                <a:gd name="connsiteX8" fmla="*/ 428454 w 434258"/>
                <a:gd name="connsiteY8" fmla="*/ 86452 h 368465"/>
                <a:gd name="connsiteX9" fmla="*/ 429496 w 434258"/>
                <a:gd name="connsiteY9" fmla="*/ 88952 h 368465"/>
                <a:gd name="connsiteX10" fmla="*/ 422398 w 434258"/>
                <a:gd name="connsiteY10" fmla="*/ 94630 h 368465"/>
                <a:gd name="connsiteX11" fmla="*/ 418351 w 434258"/>
                <a:gd name="connsiteY11" fmla="*/ 124986 h 368465"/>
                <a:gd name="connsiteX12" fmla="*/ 422896 w 434258"/>
                <a:gd name="connsiteY12" fmla="*/ 156800 h 368465"/>
                <a:gd name="connsiteX13" fmla="*/ 417989 w 434258"/>
                <a:gd name="connsiteY13" fmla="*/ 162933 h 368465"/>
                <a:gd name="connsiteX14" fmla="*/ 418134 w 434258"/>
                <a:gd name="connsiteY14" fmla="*/ 163943 h 368465"/>
                <a:gd name="connsiteX15" fmla="*/ 413038 w 434258"/>
                <a:gd name="connsiteY15" fmla="*/ 170313 h 368465"/>
                <a:gd name="connsiteX16" fmla="*/ 402444 w 434258"/>
                <a:gd name="connsiteY16" fmla="*/ 199977 h 368465"/>
                <a:gd name="connsiteX17" fmla="*/ 422896 w 434258"/>
                <a:gd name="connsiteY17" fmla="*/ 211340 h 368465"/>
                <a:gd name="connsiteX18" fmla="*/ 411260 w 434258"/>
                <a:gd name="connsiteY18" fmla="*/ 214664 h 368465"/>
                <a:gd name="connsiteX19" fmla="*/ 418134 w 434258"/>
                <a:gd name="connsiteY19" fmla="*/ 218483 h 368465"/>
                <a:gd name="connsiteX20" fmla="*/ 312465 w 434258"/>
                <a:gd name="connsiteY20" fmla="*/ 248674 h 368465"/>
                <a:gd name="connsiteX21" fmla="*/ 316090 w 434258"/>
                <a:gd name="connsiteY21" fmla="*/ 270424 h 368465"/>
                <a:gd name="connsiteX22" fmla="*/ 310276 w 434258"/>
                <a:gd name="connsiteY22" fmla="*/ 271254 h 368465"/>
                <a:gd name="connsiteX23" fmla="*/ 311328 w 434258"/>
                <a:gd name="connsiteY23" fmla="*/ 277567 h 368465"/>
                <a:gd name="connsiteX24" fmla="*/ 279514 w 434258"/>
                <a:gd name="connsiteY24" fmla="*/ 282112 h 368465"/>
                <a:gd name="connsiteX25" fmla="*/ 264797 w 434258"/>
                <a:gd name="connsiteY25" fmla="*/ 296828 h 368465"/>
                <a:gd name="connsiteX26" fmla="*/ 261551 w 434258"/>
                <a:gd name="connsiteY26" fmla="*/ 302238 h 368465"/>
                <a:gd name="connsiteX27" fmla="*/ 260976 w 434258"/>
                <a:gd name="connsiteY27" fmla="*/ 302402 h 368465"/>
                <a:gd name="connsiteX28" fmla="*/ 256789 w 434258"/>
                <a:gd name="connsiteY28" fmla="*/ 309381 h 368465"/>
                <a:gd name="connsiteX29" fmla="*/ 240882 w 434258"/>
                <a:gd name="connsiteY29" fmla="*/ 313926 h 368465"/>
                <a:gd name="connsiteX30" fmla="*/ 209067 w 434258"/>
                <a:gd name="connsiteY30" fmla="*/ 345741 h 368465"/>
                <a:gd name="connsiteX31" fmla="*/ 193160 w 434258"/>
                <a:gd name="connsiteY31" fmla="*/ 368465 h 368465"/>
                <a:gd name="connsiteX32" fmla="*/ 177253 w 434258"/>
                <a:gd name="connsiteY32" fmla="*/ 368465 h 368465"/>
                <a:gd name="connsiteX33" fmla="*/ 165890 w 434258"/>
                <a:gd name="connsiteY33" fmla="*/ 368465 h 368465"/>
                <a:gd name="connsiteX34" fmla="*/ 122713 w 434258"/>
                <a:gd name="connsiteY34" fmla="*/ 361648 h 368465"/>
                <a:gd name="connsiteX35" fmla="*/ 118168 w 434258"/>
                <a:gd name="connsiteY35" fmla="*/ 357103 h 368465"/>
                <a:gd name="connsiteX36" fmla="*/ 102261 w 434258"/>
                <a:gd name="connsiteY36" fmla="*/ 345741 h 368465"/>
                <a:gd name="connsiteX37" fmla="*/ 79537 w 434258"/>
                <a:gd name="connsiteY37" fmla="*/ 345741 h 368465"/>
                <a:gd name="connsiteX38" fmla="*/ 47722 w 434258"/>
                <a:gd name="connsiteY38" fmla="*/ 352558 h 368465"/>
                <a:gd name="connsiteX39" fmla="*/ 27270 w 434258"/>
                <a:gd name="connsiteY39" fmla="*/ 329833 h 368465"/>
                <a:gd name="connsiteX40" fmla="*/ 0 w 434258"/>
                <a:gd name="connsiteY40" fmla="*/ 298019 h 368465"/>
                <a:gd name="connsiteX41" fmla="*/ 4545 w 434258"/>
                <a:gd name="connsiteY41" fmla="*/ 179851 h 368465"/>
                <a:gd name="connsiteX42" fmla="*/ 9033 w 434258"/>
                <a:gd name="connsiteY42" fmla="*/ 179851 h 368465"/>
                <a:gd name="connsiteX43" fmla="*/ 9307 w 434258"/>
                <a:gd name="connsiteY43" fmla="*/ 172708 h 368465"/>
                <a:gd name="connsiteX44" fmla="*/ 79537 w 434258"/>
                <a:gd name="connsiteY44" fmla="*/ 172708 h 368465"/>
                <a:gd name="connsiteX45" fmla="*/ 79537 w 434258"/>
                <a:gd name="connsiteY45" fmla="*/ 168488 h 368465"/>
                <a:gd name="connsiteX46" fmla="*/ 86354 w 434258"/>
                <a:gd name="connsiteY46" fmla="*/ 152581 h 368465"/>
                <a:gd name="connsiteX47" fmla="*/ 74992 w 434258"/>
                <a:gd name="connsiteY47" fmla="*/ 132129 h 368465"/>
                <a:gd name="connsiteX48" fmla="*/ 79537 w 434258"/>
                <a:gd name="connsiteY48" fmla="*/ 116222 h 368465"/>
                <a:gd name="connsiteX49" fmla="*/ 74992 w 434258"/>
                <a:gd name="connsiteY49" fmla="*/ 104859 h 368465"/>
                <a:gd name="connsiteX50" fmla="*/ 82611 w 434258"/>
                <a:gd name="connsiteY50" fmla="*/ 104859 h 368465"/>
                <a:gd name="connsiteX51" fmla="*/ 79754 w 434258"/>
                <a:gd name="connsiteY51" fmla="*/ 97716 h 368465"/>
                <a:gd name="connsiteX52" fmla="*/ 95661 w 434258"/>
                <a:gd name="connsiteY52" fmla="*/ 97716 h 368465"/>
                <a:gd name="connsiteX53" fmla="*/ 95661 w 434258"/>
                <a:gd name="connsiteY53" fmla="*/ 113624 h 368465"/>
                <a:gd name="connsiteX54" fmla="*/ 111568 w 434258"/>
                <a:gd name="connsiteY54" fmla="*/ 109079 h 368465"/>
                <a:gd name="connsiteX55" fmla="*/ 138838 w 434258"/>
                <a:gd name="connsiteY55" fmla="*/ 113624 h 368465"/>
                <a:gd name="connsiteX56" fmla="*/ 150200 w 434258"/>
                <a:gd name="connsiteY56" fmla="*/ 129531 h 368465"/>
                <a:gd name="connsiteX57" fmla="*/ 177470 w 434258"/>
                <a:gd name="connsiteY57" fmla="*/ 134076 h 368465"/>
                <a:gd name="connsiteX58" fmla="*/ 202467 w 434258"/>
                <a:gd name="connsiteY58" fmla="*/ 124986 h 368465"/>
                <a:gd name="connsiteX59" fmla="*/ 209284 w 434258"/>
                <a:gd name="connsiteY59" fmla="*/ 140893 h 368465"/>
                <a:gd name="connsiteX60" fmla="*/ 236554 w 434258"/>
                <a:gd name="connsiteY60" fmla="*/ 145438 h 368465"/>
                <a:gd name="connsiteX61" fmla="*/ 252461 w 434258"/>
                <a:gd name="connsiteY61" fmla="*/ 161345 h 368465"/>
                <a:gd name="connsiteX62" fmla="*/ 268368 w 434258"/>
                <a:gd name="connsiteY62" fmla="*/ 184070 h 368465"/>
                <a:gd name="connsiteX63" fmla="*/ 289615 w 434258"/>
                <a:gd name="connsiteY63" fmla="*/ 184070 h 368465"/>
                <a:gd name="connsiteX64" fmla="*/ 284058 w 434258"/>
                <a:gd name="connsiteY64" fmla="*/ 152581 h 368465"/>
                <a:gd name="connsiteX65" fmla="*/ 272696 w 434258"/>
                <a:gd name="connsiteY65" fmla="*/ 159398 h 368465"/>
                <a:gd name="connsiteX66" fmla="*/ 252244 w 434258"/>
                <a:gd name="connsiteY66" fmla="*/ 141219 h 368465"/>
                <a:gd name="connsiteX67" fmla="*/ 240882 w 434258"/>
                <a:gd name="connsiteY67" fmla="*/ 136674 h 368465"/>
                <a:gd name="connsiteX68" fmla="*/ 247699 w 434258"/>
                <a:gd name="connsiteY68" fmla="*/ 98042 h 368465"/>
                <a:gd name="connsiteX69" fmla="*/ 252244 w 434258"/>
                <a:gd name="connsiteY69" fmla="*/ 57137 h 368465"/>
                <a:gd name="connsiteX70" fmla="*/ 240882 w 434258"/>
                <a:gd name="connsiteY70" fmla="*/ 38958 h 368465"/>
                <a:gd name="connsiteX71" fmla="*/ 252244 w 434258"/>
                <a:gd name="connsiteY71" fmla="*/ 18506 h 368465"/>
                <a:gd name="connsiteX72" fmla="*/ 253264 w 434258"/>
                <a:gd name="connsiteY72" fmla="*/ 18098 h 368465"/>
                <a:gd name="connsiteX73" fmla="*/ 257006 w 434258"/>
                <a:gd name="connsiteY73" fmla="*/ 11363 h 368465"/>
                <a:gd name="connsiteX74" fmla="*/ 268368 w 434258"/>
                <a:gd name="connsiteY74" fmla="*/ 6818 h 368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434258" h="368465">
                  <a:moveTo>
                    <a:pt x="316090" y="0"/>
                  </a:moveTo>
                  <a:lnTo>
                    <a:pt x="331997" y="0"/>
                  </a:lnTo>
                  <a:lnTo>
                    <a:pt x="347905" y="11363"/>
                  </a:lnTo>
                  <a:lnTo>
                    <a:pt x="359267" y="15908"/>
                  </a:lnTo>
                  <a:lnTo>
                    <a:pt x="386536" y="27270"/>
                  </a:lnTo>
                  <a:lnTo>
                    <a:pt x="406989" y="31815"/>
                  </a:lnTo>
                  <a:lnTo>
                    <a:pt x="422896" y="54539"/>
                  </a:lnTo>
                  <a:lnTo>
                    <a:pt x="434258" y="81809"/>
                  </a:lnTo>
                  <a:lnTo>
                    <a:pt x="428454" y="86452"/>
                  </a:lnTo>
                  <a:lnTo>
                    <a:pt x="429496" y="88952"/>
                  </a:lnTo>
                  <a:lnTo>
                    <a:pt x="422398" y="94630"/>
                  </a:lnTo>
                  <a:lnTo>
                    <a:pt x="418351" y="124986"/>
                  </a:lnTo>
                  <a:lnTo>
                    <a:pt x="422896" y="156800"/>
                  </a:lnTo>
                  <a:lnTo>
                    <a:pt x="417989" y="162933"/>
                  </a:lnTo>
                  <a:lnTo>
                    <a:pt x="418134" y="163943"/>
                  </a:lnTo>
                  <a:lnTo>
                    <a:pt x="413038" y="170313"/>
                  </a:lnTo>
                  <a:lnTo>
                    <a:pt x="402444" y="199977"/>
                  </a:lnTo>
                  <a:lnTo>
                    <a:pt x="422896" y="211340"/>
                  </a:lnTo>
                  <a:lnTo>
                    <a:pt x="411260" y="214664"/>
                  </a:lnTo>
                  <a:lnTo>
                    <a:pt x="418134" y="218483"/>
                  </a:lnTo>
                  <a:lnTo>
                    <a:pt x="312465" y="248674"/>
                  </a:lnTo>
                  <a:lnTo>
                    <a:pt x="316090" y="270424"/>
                  </a:lnTo>
                  <a:lnTo>
                    <a:pt x="310276" y="271254"/>
                  </a:lnTo>
                  <a:lnTo>
                    <a:pt x="311328" y="277567"/>
                  </a:lnTo>
                  <a:lnTo>
                    <a:pt x="279514" y="282112"/>
                  </a:lnTo>
                  <a:lnTo>
                    <a:pt x="264797" y="296828"/>
                  </a:lnTo>
                  <a:lnTo>
                    <a:pt x="261551" y="302238"/>
                  </a:lnTo>
                  <a:lnTo>
                    <a:pt x="260976" y="302402"/>
                  </a:lnTo>
                  <a:lnTo>
                    <a:pt x="256789" y="309381"/>
                  </a:lnTo>
                  <a:lnTo>
                    <a:pt x="240882" y="313926"/>
                  </a:lnTo>
                  <a:lnTo>
                    <a:pt x="209067" y="345741"/>
                  </a:lnTo>
                  <a:lnTo>
                    <a:pt x="193160" y="368465"/>
                  </a:lnTo>
                  <a:lnTo>
                    <a:pt x="177253" y="368465"/>
                  </a:lnTo>
                  <a:lnTo>
                    <a:pt x="165890" y="368465"/>
                  </a:lnTo>
                  <a:lnTo>
                    <a:pt x="122713" y="361648"/>
                  </a:lnTo>
                  <a:lnTo>
                    <a:pt x="118168" y="357103"/>
                  </a:lnTo>
                  <a:lnTo>
                    <a:pt x="102261" y="345741"/>
                  </a:lnTo>
                  <a:lnTo>
                    <a:pt x="79537" y="345741"/>
                  </a:lnTo>
                  <a:lnTo>
                    <a:pt x="47722" y="352558"/>
                  </a:lnTo>
                  <a:lnTo>
                    <a:pt x="27270" y="329833"/>
                  </a:lnTo>
                  <a:lnTo>
                    <a:pt x="0" y="298019"/>
                  </a:lnTo>
                  <a:lnTo>
                    <a:pt x="4545" y="179851"/>
                  </a:lnTo>
                  <a:lnTo>
                    <a:pt x="9033" y="179851"/>
                  </a:lnTo>
                  <a:lnTo>
                    <a:pt x="9307" y="172708"/>
                  </a:lnTo>
                  <a:lnTo>
                    <a:pt x="79537" y="172708"/>
                  </a:lnTo>
                  <a:lnTo>
                    <a:pt x="79537" y="168488"/>
                  </a:lnTo>
                  <a:lnTo>
                    <a:pt x="86354" y="152581"/>
                  </a:lnTo>
                  <a:lnTo>
                    <a:pt x="74992" y="132129"/>
                  </a:lnTo>
                  <a:lnTo>
                    <a:pt x="79537" y="116222"/>
                  </a:lnTo>
                  <a:lnTo>
                    <a:pt x="74992" y="104859"/>
                  </a:lnTo>
                  <a:lnTo>
                    <a:pt x="82611" y="104859"/>
                  </a:lnTo>
                  <a:lnTo>
                    <a:pt x="79754" y="97716"/>
                  </a:lnTo>
                  <a:lnTo>
                    <a:pt x="95661" y="97716"/>
                  </a:lnTo>
                  <a:lnTo>
                    <a:pt x="95661" y="113624"/>
                  </a:lnTo>
                  <a:lnTo>
                    <a:pt x="111568" y="109079"/>
                  </a:lnTo>
                  <a:lnTo>
                    <a:pt x="138838" y="113624"/>
                  </a:lnTo>
                  <a:lnTo>
                    <a:pt x="150200" y="129531"/>
                  </a:lnTo>
                  <a:lnTo>
                    <a:pt x="177470" y="134076"/>
                  </a:lnTo>
                  <a:lnTo>
                    <a:pt x="202467" y="124986"/>
                  </a:lnTo>
                  <a:lnTo>
                    <a:pt x="209284" y="140893"/>
                  </a:lnTo>
                  <a:lnTo>
                    <a:pt x="236554" y="145438"/>
                  </a:lnTo>
                  <a:lnTo>
                    <a:pt x="252461" y="161345"/>
                  </a:lnTo>
                  <a:lnTo>
                    <a:pt x="268368" y="184070"/>
                  </a:lnTo>
                  <a:lnTo>
                    <a:pt x="289615" y="184070"/>
                  </a:lnTo>
                  <a:lnTo>
                    <a:pt x="284058" y="152581"/>
                  </a:lnTo>
                  <a:lnTo>
                    <a:pt x="272696" y="159398"/>
                  </a:lnTo>
                  <a:lnTo>
                    <a:pt x="252244" y="141219"/>
                  </a:lnTo>
                  <a:lnTo>
                    <a:pt x="240882" y="136674"/>
                  </a:lnTo>
                  <a:lnTo>
                    <a:pt x="247699" y="98042"/>
                  </a:lnTo>
                  <a:lnTo>
                    <a:pt x="252244" y="57137"/>
                  </a:lnTo>
                  <a:lnTo>
                    <a:pt x="240882" y="38958"/>
                  </a:lnTo>
                  <a:lnTo>
                    <a:pt x="252244" y="18506"/>
                  </a:lnTo>
                  <a:lnTo>
                    <a:pt x="253264" y="18098"/>
                  </a:lnTo>
                  <a:lnTo>
                    <a:pt x="257006" y="11363"/>
                  </a:lnTo>
                  <a:lnTo>
                    <a:pt x="268368" y="6818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58" name="Freeform 45">
              <a:extLst>
                <a:ext uri="{FF2B5EF4-FFF2-40B4-BE49-F238E27FC236}">
                  <a16:creationId xmlns:a16="http://schemas.microsoft.com/office/drawing/2014/main" id="{F1410B9C-2336-15D0-0A15-60AEBF17B336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5500" y="3485356"/>
              <a:ext cx="178145" cy="187395"/>
            </a:xfrm>
            <a:custGeom>
              <a:avLst/>
              <a:gdLst>
                <a:gd name="connsiteX0" fmla="*/ 214591 w 375936"/>
                <a:gd name="connsiteY0" fmla="*/ 0 h 389677"/>
                <a:gd name="connsiteX1" fmla="*/ 219136 w 375936"/>
                <a:gd name="connsiteY1" fmla="*/ 4545 h 389677"/>
                <a:gd name="connsiteX2" fmla="*/ 235044 w 375936"/>
                <a:gd name="connsiteY2" fmla="*/ 31815 h 389677"/>
                <a:gd name="connsiteX3" fmla="*/ 241861 w 375936"/>
                <a:gd name="connsiteY3" fmla="*/ 43177 h 389677"/>
                <a:gd name="connsiteX4" fmla="*/ 250951 w 375936"/>
                <a:gd name="connsiteY4" fmla="*/ 65902 h 389677"/>
                <a:gd name="connsiteX5" fmla="*/ 294128 w 375936"/>
                <a:gd name="connsiteY5" fmla="*/ 106806 h 389677"/>
                <a:gd name="connsiteX6" fmla="*/ 310035 w 375936"/>
                <a:gd name="connsiteY6" fmla="*/ 113624 h 389677"/>
                <a:gd name="connsiteX7" fmla="*/ 310035 w 375936"/>
                <a:gd name="connsiteY7" fmla="*/ 124986 h 389677"/>
                <a:gd name="connsiteX8" fmla="*/ 321397 w 375936"/>
                <a:gd name="connsiteY8" fmla="*/ 149983 h 389677"/>
                <a:gd name="connsiteX9" fmla="*/ 353212 w 375936"/>
                <a:gd name="connsiteY9" fmla="*/ 156800 h 389677"/>
                <a:gd name="connsiteX10" fmla="*/ 375936 w 375936"/>
                <a:gd name="connsiteY10" fmla="*/ 172708 h 389677"/>
                <a:gd name="connsiteX11" fmla="*/ 368328 w 375936"/>
                <a:gd name="connsiteY11" fmla="*/ 177146 h 389677"/>
                <a:gd name="connsiteX12" fmla="*/ 368791 w 375936"/>
                <a:gd name="connsiteY12" fmla="*/ 177470 h 389677"/>
                <a:gd name="connsiteX13" fmla="*/ 365824 w 375936"/>
                <a:gd name="connsiteY13" fmla="*/ 179201 h 389677"/>
                <a:gd name="connsiteX14" fmla="*/ 373555 w 375936"/>
                <a:gd name="connsiteY14" fmla="*/ 184613 h 389677"/>
                <a:gd name="connsiteX15" fmla="*/ 365947 w 375936"/>
                <a:gd name="connsiteY15" fmla="*/ 189051 h 389677"/>
                <a:gd name="connsiteX16" fmla="*/ 366410 w 375936"/>
                <a:gd name="connsiteY16" fmla="*/ 189375 h 389677"/>
                <a:gd name="connsiteX17" fmla="*/ 354350 w 375936"/>
                <a:gd name="connsiteY17" fmla="*/ 196410 h 389677"/>
                <a:gd name="connsiteX18" fmla="*/ 354504 w 375936"/>
                <a:gd name="connsiteY18" fmla="*/ 196518 h 389677"/>
                <a:gd name="connsiteX19" fmla="*/ 316125 w 375936"/>
                <a:gd name="connsiteY19" fmla="*/ 218906 h 389677"/>
                <a:gd name="connsiteX20" fmla="*/ 287202 w 375936"/>
                <a:gd name="connsiteY20" fmla="*/ 243697 h 389677"/>
                <a:gd name="connsiteX21" fmla="*/ 275839 w 375936"/>
                <a:gd name="connsiteY21" fmla="*/ 270966 h 389677"/>
                <a:gd name="connsiteX22" fmla="*/ 266750 w 375936"/>
                <a:gd name="connsiteY22" fmla="*/ 286874 h 389677"/>
                <a:gd name="connsiteX23" fmla="*/ 261755 w 375936"/>
                <a:gd name="connsiteY23" fmla="*/ 287873 h 389677"/>
                <a:gd name="connsiteX24" fmla="*/ 259605 w 375936"/>
                <a:gd name="connsiteY24" fmla="*/ 291636 h 389677"/>
                <a:gd name="connsiteX25" fmla="*/ 255766 w 375936"/>
                <a:gd name="connsiteY25" fmla="*/ 292404 h 389677"/>
                <a:gd name="connsiteX26" fmla="*/ 254844 w 375936"/>
                <a:gd name="connsiteY26" fmla="*/ 294017 h 389677"/>
                <a:gd name="connsiteX27" fmla="*/ 249849 w 375936"/>
                <a:gd name="connsiteY27" fmla="*/ 295016 h 389677"/>
                <a:gd name="connsiteX28" fmla="*/ 247699 w 375936"/>
                <a:gd name="connsiteY28" fmla="*/ 298779 h 389677"/>
                <a:gd name="connsiteX29" fmla="*/ 241572 w 375936"/>
                <a:gd name="connsiteY29" fmla="*/ 300005 h 389677"/>
                <a:gd name="connsiteX30" fmla="*/ 239480 w 375936"/>
                <a:gd name="connsiteY30" fmla="*/ 307326 h 389677"/>
                <a:gd name="connsiteX31" fmla="*/ 232663 w 375936"/>
                <a:gd name="connsiteY31" fmla="*/ 318688 h 389677"/>
                <a:gd name="connsiteX32" fmla="*/ 226232 w 375936"/>
                <a:gd name="connsiteY32" fmla="*/ 322261 h 389677"/>
                <a:gd name="connsiteX33" fmla="*/ 225518 w 375936"/>
                <a:gd name="connsiteY33" fmla="*/ 323450 h 389677"/>
                <a:gd name="connsiteX34" fmla="*/ 214089 w 375936"/>
                <a:gd name="connsiteY34" fmla="*/ 329799 h 389677"/>
                <a:gd name="connsiteX35" fmla="*/ 213612 w 375936"/>
                <a:gd name="connsiteY35" fmla="*/ 330593 h 389677"/>
                <a:gd name="connsiteX36" fmla="*/ 193159 w 375936"/>
                <a:gd name="connsiteY36" fmla="*/ 341955 h 389677"/>
                <a:gd name="connsiteX37" fmla="*/ 161345 w 375936"/>
                <a:gd name="connsiteY37" fmla="*/ 341955 h 389677"/>
                <a:gd name="connsiteX38" fmla="*/ 145438 w 375936"/>
                <a:gd name="connsiteY38" fmla="*/ 330593 h 389677"/>
                <a:gd name="connsiteX39" fmla="*/ 129531 w 375936"/>
                <a:gd name="connsiteY39" fmla="*/ 326048 h 389677"/>
                <a:gd name="connsiteX40" fmla="*/ 128500 w 375936"/>
                <a:gd name="connsiteY40" fmla="*/ 326564 h 389677"/>
                <a:gd name="connsiteX41" fmla="*/ 121312 w 375936"/>
                <a:gd name="connsiteY41" fmla="*/ 339140 h 389677"/>
                <a:gd name="connsiteX42" fmla="*/ 105405 w 375936"/>
                <a:gd name="connsiteY42" fmla="*/ 350503 h 389677"/>
                <a:gd name="connsiteX43" fmla="*/ 82680 w 375936"/>
                <a:gd name="connsiteY43" fmla="*/ 373227 h 389677"/>
                <a:gd name="connsiteX44" fmla="*/ 79821 w 375936"/>
                <a:gd name="connsiteY44" fmla="*/ 373704 h 389677"/>
                <a:gd name="connsiteX45" fmla="*/ 75535 w 375936"/>
                <a:gd name="connsiteY45" fmla="*/ 377989 h 389677"/>
                <a:gd name="connsiteX46" fmla="*/ 72679 w 375936"/>
                <a:gd name="connsiteY46" fmla="*/ 378465 h 389677"/>
                <a:gd name="connsiteX47" fmla="*/ 70774 w 375936"/>
                <a:gd name="connsiteY47" fmla="*/ 380370 h 389677"/>
                <a:gd name="connsiteX48" fmla="*/ 67915 w 375936"/>
                <a:gd name="connsiteY48" fmla="*/ 380847 h 389677"/>
                <a:gd name="connsiteX49" fmla="*/ 63629 w 375936"/>
                <a:gd name="connsiteY49" fmla="*/ 385132 h 389677"/>
                <a:gd name="connsiteX50" fmla="*/ 36360 w 375936"/>
                <a:gd name="connsiteY50" fmla="*/ 389677 h 389677"/>
                <a:gd name="connsiteX51" fmla="*/ 31815 w 375936"/>
                <a:gd name="connsiteY51" fmla="*/ 373770 h 389677"/>
                <a:gd name="connsiteX52" fmla="*/ 36360 w 375936"/>
                <a:gd name="connsiteY52" fmla="*/ 346500 h 389677"/>
                <a:gd name="connsiteX53" fmla="*/ 9090 w 375936"/>
                <a:gd name="connsiteY53" fmla="*/ 310141 h 389677"/>
                <a:gd name="connsiteX54" fmla="*/ 0 w 375936"/>
                <a:gd name="connsiteY54" fmla="*/ 303324 h 389677"/>
                <a:gd name="connsiteX55" fmla="*/ 0 w 375936"/>
                <a:gd name="connsiteY55" fmla="*/ 185155 h 389677"/>
                <a:gd name="connsiteX56" fmla="*/ 2381 w 375936"/>
                <a:gd name="connsiteY56" fmla="*/ 185155 h 389677"/>
                <a:gd name="connsiteX57" fmla="*/ 2381 w 375936"/>
                <a:gd name="connsiteY57" fmla="*/ 173250 h 389677"/>
                <a:gd name="connsiteX58" fmla="*/ 9526 w 375936"/>
                <a:gd name="connsiteY58" fmla="*/ 173250 h 389677"/>
                <a:gd name="connsiteX59" fmla="*/ 9526 w 375936"/>
                <a:gd name="connsiteY59" fmla="*/ 168488 h 389677"/>
                <a:gd name="connsiteX60" fmla="*/ 14287 w 375936"/>
                <a:gd name="connsiteY60" fmla="*/ 168488 h 389677"/>
                <a:gd name="connsiteX61" fmla="*/ 14287 w 375936"/>
                <a:gd name="connsiteY61" fmla="*/ 166107 h 389677"/>
                <a:gd name="connsiteX62" fmla="*/ 21432 w 375936"/>
                <a:gd name="connsiteY62" fmla="*/ 166107 h 389677"/>
                <a:gd name="connsiteX63" fmla="*/ 21432 w 375936"/>
                <a:gd name="connsiteY63" fmla="*/ 161345 h 389677"/>
                <a:gd name="connsiteX64" fmla="*/ 37531 w 375936"/>
                <a:gd name="connsiteY64" fmla="*/ 161345 h 389677"/>
                <a:gd name="connsiteX65" fmla="*/ 43177 w 375936"/>
                <a:gd name="connsiteY65" fmla="*/ 46535 h 389677"/>
                <a:gd name="connsiteX66" fmla="*/ 44973 w 375936"/>
                <a:gd name="connsiteY66" fmla="*/ 46535 h 389677"/>
                <a:gd name="connsiteX67" fmla="*/ 45558 w 375936"/>
                <a:gd name="connsiteY67" fmla="*/ 34630 h 389677"/>
                <a:gd name="connsiteX68" fmla="*/ 52469 w 375936"/>
                <a:gd name="connsiteY68" fmla="*/ 34630 h 389677"/>
                <a:gd name="connsiteX69" fmla="*/ 52703 w 375936"/>
                <a:gd name="connsiteY69" fmla="*/ 29868 h 389677"/>
                <a:gd name="connsiteX70" fmla="*/ 57347 w 375936"/>
                <a:gd name="connsiteY70" fmla="*/ 29868 h 389677"/>
                <a:gd name="connsiteX71" fmla="*/ 57464 w 375936"/>
                <a:gd name="connsiteY71" fmla="*/ 27487 h 389677"/>
                <a:gd name="connsiteX72" fmla="*/ 64375 w 375936"/>
                <a:gd name="connsiteY72" fmla="*/ 27487 h 389677"/>
                <a:gd name="connsiteX73" fmla="*/ 64609 w 375936"/>
                <a:gd name="connsiteY73" fmla="*/ 22725 h 389677"/>
                <a:gd name="connsiteX74" fmla="*/ 89606 w 375936"/>
                <a:gd name="connsiteY74" fmla="*/ 22725 h 389677"/>
                <a:gd name="connsiteX75" fmla="*/ 144145 w 375936"/>
                <a:gd name="connsiteY75" fmla="*/ 11363 h 389677"/>
                <a:gd name="connsiteX76" fmla="*/ 160052 w 375936"/>
                <a:gd name="connsiteY76" fmla="*/ 22725 h 389677"/>
                <a:gd name="connsiteX77" fmla="*/ 182777 w 375936"/>
                <a:gd name="connsiteY77" fmla="*/ 11363 h 389677"/>
                <a:gd name="connsiteX78" fmla="*/ 191867 w 375936"/>
                <a:gd name="connsiteY78" fmla="*/ 11363 h 389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375936" h="389677">
                  <a:moveTo>
                    <a:pt x="214591" y="0"/>
                  </a:moveTo>
                  <a:lnTo>
                    <a:pt x="219136" y="4545"/>
                  </a:lnTo>
                  <a:lnTo>
                    <a:pt x="235044" y="31815"/>
                  </a:lnTo>
                  <a:lnTo>
                    <a:pt x="241861" y="43177"/>
                  </a:lnTo>
                  <a:lnTo>
                    <a:pt x="250951" y="65902"/>
                  </a:lnTo>
                  <a:lnTo>
                    <a:pt x="294128" y="106806"/>
                  </a:lnTo>
                  <a:lnTo>
                    <a:pt x="310035" y="113624"/>
                  </a:lnTo>
                  <a:lnTo>
                    <a:pt x="310035" y="124986"/>
                  </a:lnTo>
                  <a:lnTo>
                    <a:pt x="321397" y="149983"/>
                  </a:lnTo>
                  <a:lnTo>
                    <a:pt x="353212" y="156800"/>
                  </a:lnTo>
                  <a:lnTo>
                    <a:pt x="375936" y="172708"/>
                  </a:lnTo>
                  <a:lnTo>
                    <a:pt x="368328" y="177146"/>
                  </a:lnTo>
                  <a:lnTo>
                    <a:pt x="368791" y="177470"/>
                  </a:lnTo>
                  <a:lnTo>
                    <a:pt x="365824" y="179201"/>
                  </a:lnTo>
                  <a:lnTo>
                    <a:pt x="373555" y="184613"/>
                  </a:lnTo>
                  <a:lnTo>
                    <a:pt x="365947" y="189051"/>
                  </a:lnTo>
                  <a:lnTo>
                    <a:pt x="366410" y="189375"/>
                  </a:lnTo>
                  <a:lnTo>
                    <a:pt x="354350" y="196410"/>
                  </a:lnTo>
                  <a:lnTo>
                    <a:pt x="354504" y="196518"/>
                  </a:lnTo>
                  <a:lnTo>
                    <a:pt x="316125" y="218906"/>
                  </a:lnTo>
                  <a:lnTo>
                    <a:pt x="287202" y="243697"/>
                  </a:lnTo>
                  <a:lnTo>
                    <a:pt x="275839" y="270966"/>
                  </a:lnTo>
                  <a:lnTo>
                    <a:pt x="266750" y="286874"/>
                  </a:lnTo>
                  <a:lnTo>
                    <a:pt x="261755" y="287873"/>
                  </a:lnTo>
                  <a:lnTo>
                    <a:pt x="259605" y="291636"/>
                  </a:lnTo>
                  <a:lnTo>
                    <a:pt x="255766" y="292404"/>
                  </a:lnTo>
                  <a:lnTo>
                    <a:pt x="254844" y="294017"/>
                  </a:lnTo>
                  <a:lnTo>
                    <a:pt x="249849" y="295016"/>
                  </a:lnTo>
                  <a:lnTo>
                    <a:pt x="247699" y="298779"/>
                  </a:lnTo>
                  <a:lnTo>
                    <a:pt x="241572" y="300005"/>
                  </a:lnTo>
                  <a:lnTo>
                    <a:pt x="239480" y="307326"/>
                  </a:lnTo>
                  <a:lnTo>
                    <a:pt x="232663" y="318688"/>
                  </a:lnTo>
                  <a:lnTo>
                    <a:pt x="226232" y="322261"/>
                  </a:lnTo>
                  <a:lnTo>
                    <a:pt x="225518" y="323450"/>
                  </a:lnTo>
                  <a:lnTo>
                    <a:pt x="214089" y="329799"/>
                  </a:lnTo>
                  <a:lnTo>
                    <a:pt x="213612" y="330593"/>
                  </a:lnTo>
                  <a:lnTo>
                    <a:pt x="193159" y="341955"/>
                  </a:lnTo>
                  <a:lnTo>
                    <a:pt x="161345" y="341955"/>
                  </a:lnTo>
                  <a:lnTo>
                    <a:pt x="145438" y="330593"/>
                  </a:lnTo>
                  <a:lnTo>
                    <a:pt x="129531" y="326048"/>
                  </a:lnTo>
                  <a:lnTo>
                    <a:pt x="128500" y="326564"/>
                  </a:lnTo>
                  <a:lnTo>
                    <a:pt x="121312" y="339140"/>
                  </a:lnTo>
                  <a:lnTo>
                    <a:pt x="105405" y="350503"/>
                  </a:lnTo>
                  <a:lnTo>
                    <a:pt x="82680" y="373227"/>
                  </a:lnTo>
                  <a:lnTo>
                    <a:pt x="79821" y="373704"/>
                  </a:lnTo>
                  <a:lnTo>
                    <a:pt x="75535" y="377989"/>
                  </a:lnTo>
                  <a:lnTo>
                    <a:pt x="72679" y="378465"/>
                  </a:lnTo>
                  <a:lnTo>
                    <a:pt x="70774" y="380370"/>
                  </a:lnTo>
                  <a:lnTo>
                    <a:pt x="67915" y="380847"/>
                  </a:lnTo>
                  <a:lnTo>
                    <a:pt x="63629" y="385132"/>
                  </a:lnTo>
                  <a:lnTo>
                    <a:pt x="36360" y="389677"/>
                  </a:lnTo>
                  <a:lnTo>
                    <a:pt x="31815" y="373770"/>
                  </a:lnTo>
                  <a:lnTo>
                    <a:pt x="36360" y="346500"/>
                  </a:lnTo>
                  <a:lnTo>
                    <a:pt x="9090" y="310141"/>
                  </a:lnTo>
                  <a:lnTo>
                    <a:pt x="0" y="303324"/>
                  </a:lnTo>
                  <a:lnTo>
                    <a:pt x="0" y="185155"/>
                  </a:lnTo>
                  <a:lnTo>
                    <a:pt x="2381" y="185155"/>
                  </a:lnTo>
                  <a:lnTo>
                    <a:pt x="2381" y="173250"/>
                  </a:lnTo>
                  <a:lnTo>
                    <a:pt x="9526" y="173250"/>
                  </a:lnTo>
                  <a:lnTo>
                    <a:pt x="9526" y="168488"/>
                  </a:lnTo>
                  <a:lnTo>
                    <a:pt x="14287" y="168488"/>
                  </a:lnTo>
                  <a:lnTo>
                    <a:pt x="14287" y="166107"/>
                  </a:lnTo>
                  <a:lnTo>
                    <a:pt x="21432" y="166107"/>
                  </a:lnTo>
                  <a:lnTo>
                    <a:pt x="21432" y="161345"/>
                  </a:lnTo>
                  <a:lnTo>
                    <a:pt x="37531" y="161345"/>
                  </a:lnTo>
                  <a:lnTo>
                    <a:pt x="43177" y="46535"/>
                  </a:lnTo>
                  <a:lnTo>
                    <a:pt x="44973" y="46535"/>
                  </a:lnTo>
                  <a:lnTo>
                    <a:pt x="45558" y="34630"/>
                  </a:lnTo>
                  <a:lnTo>
                    <a:pt x="52469" y="34630"/>
                  </a:lnTo>
                  <a:lnTo>
                    <a:pt x="52703" y="29868"/>
                  </a:lnTo>
                  <a:lnTo>
                    <a:pt x="57347" y="29868"/>
                  </a:lnTo>
                  <a:lnTo>
                    <a:pt x="57464" y="27487"/>
                  </a:lnTo>
                  <a:lnTo>
                    <a:pt x="64375" y="27487"/>
                  </a:lnTo>
                  <a:lnTo>
                    <a:pt x="64609" y="22725"/>
                  </a:lnTo>
                  <a:lnTo>
                    <a:pt x="89606" y="22725"/>
                  </a:lnTo>
                  <a:lnTo>
                    <a:pt x="144145" y="11363"/>
                  </a:lnTo>
                  <a:lnTo>
                    <a:pt x="160052" y="22725"/>
                  </a:lnTo>
                  <a:lnTo>
                    <a:pt x="182777" y="11363"/>
                  </a:lnTo>
                  <a:lnTo>
                    <a:pt x="191867" y="11363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59" name="Freeform 46">
              <a:extLst>
                <a:ext uri="{FF2B5EF4-FFF2-40B4-BE49-F238E27FC236}">
                  <a16:creationId xmlns:a16="http://schemas.microsoft.com/office/drawing/2014/main" id="{22F5AC26-80B6-59B9-C207-9BBF7C46F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2573" y="3446724"/>
              <a:ext cx="135464" cy="137456"/>
            </a:xfrm>
            <a:custGeom>
              <a:avLst/>
              <a:gdLst>
                <a:gd name="connsiteX0" fmla="*/ 194965 w 285864"/>
                <a:gd name="connsiteY0" fmla="*/ 0 h 285831"/>
                <a:gd name="connsiteX1" fmla="*/ 194965 w 285864"/>
                <a:gd name="connsiteY1" fmla="*/ 15908 h 285831"/>
                <a:gd name="connsiteX2" fmla="*/ 226780 w 285864"/>
                <a:gd name="connsiteY2" fmla="*/ 15908 h 285831"/>
                <a:gd name="connsiteX3" fmla="*/ 242687 w 285864"/>
                <a:gd name="connsiteY3" fmla="*/ 20452 h 285831"/>
                <a:gd name="connsiteX4" fmla="*/ 249505 w 285864"/>
                <a:gd name="connsiteY4" fmla="*/ 31815 h 285831"/>
                <a:gd name="connsiteX5" fmla="*/ 269957 w 285864"/>
                <a:gd name="connsiteY5" fmla="*/ 31815 h 285831"/>
                <a:gd name="connsiteX6" fmla="*/ 285864 w 285864"/>
                <a:gd name="connsiteY6" fmla="*/ 43177 h 285831"/>
                <a:gd name="connsiteX7" fmla="*/ 285864 w 285864"/>
                <a:gd name="connsiteY7" fmla="*/ 95444 h 285831"/>
                <a:gd name="connsiteX8" fmla="*/ 281319 w 285864"/>
                <a:gd name="connsiteY8" fmla="*/ 122713 h 285831"/>
                <a:gd name="connsiteX9" fmla="*/ 281319 w 285864"/>
                <a:gd name="connsiteY9" fmla="*/ 149983 h 285831"/>
                <a:gd name="connsiteX10" fmla="*/ 285864 w 285864"/>
                <a:gd name="connsiteY10" fmla="*/ 161345 h 285831"/>
                <a:gd name="connsiteX11" fmla="*/ 281319 w 285864"/>
                <a:gd name="connsiteY11" fmla="*/ 181797 h 285831"/>
                <a:gd name="connsiteX12" fmla="*/ 279505 w 285864"/>
                <a:gd name="connsiteY12" fmla="*/ 183611 h 285831"/>
                <a:gd name="connsiteX13" fmla="*/ 274969 w 285864"/>
                <a:gd name="connsiteY13" fmla="*/ 204022 h 285831"/>
                <a:gd name="connsiteX14" fmla="*/ 270424 w 285864"/>
                <a:gd name="connsiteY14" fmla="*/ 208567 h 285831"/>
                <a:gd name="connsiteX15" fmla="*/ 259062 w 285864"/>
                <a:gd name="connsiteY15" fmla="*/ 235837 h 285831"/>
                <a:gd name="connsiteX16" fmla="*/ 220430 w 285864"/>
                <a:gd name="connsiteY16" fmla="*/ 285831 h 285831"/>
                <a:gd name="connsiteX17" fmla="*/ 199978 w 285864"/>
                <a:gd name="connsiteY17" fmla="*/ 279014 h 285831"/>
                <a:gd name="connsiteX18" fmla="*/ 188615 w 285864"/>
                <a:gd name="connsiteY18" fmla="*/ 285831 h 285831"/>
                <a:gd name="connsiteX19" fmla="*/ 172708 w 285864"/>
                <a:gd name="connsiteY19" fmla="*/ 274469 h 285831"/>
                <a:gd name="connsiteX20" fmla="*/ 156801 w 285864"/>
                <a:gd name="connsiteY20" fmla="*/ 274469 h 285831"/>
                <a:gd name="connsiteX21" fmla="*/ 134076 w 285864"/>
                <a:gd name="connsiteY21" fmla="*/ 258562 h 285831"/>
                <a:gd name="connsiteX22" fmla="*/ 102261 w 285864"/>
                <a:gd name="connsiteY22" fmla="*/ 251744 h 285831"/>
                <a:gd name="connsiteX23" fmla="*/ 90899 w 285864"/>
                <a:gd name="connsiteY23" fmla="*/ 226747 h 285831"/>
                <a:gd name="connsiteX24" fmla="*/ 90899 w 285864"/>
                <a:gd name="connsiteY24" fmla="*/ 215385 h 285831"/>
                <a:gd name="connsiteX25" fmla="*/ 74992 w 285864"/>
                <a:gd name="connsiteY25" fmla="*/ 208567 h 285831"/>
                <a:gd name="connsiteX26" fmla="*/ 31815 w 285864"/>
                <a:gd name="connsiteY26" fmla="*/ 167663 h 285831"/>
                <a:gd name="connsiteX27" fmla="*/ 27270 w 285864"/>
                <a:gd name="connsiteY27" fmla="*/ 144938 h 285831"/>
                <a:gd name="connsiteX28" fmla="*/ 15908 w 285864"/>
                <a:gd name="connsiteY28" fmla="*/ 140393 h 285831"/>
                <a:gd name="connsiteX29" fmla="*/ 0 w 285864"/>
                <a:gd name="connsiteY29" fmla="*/ 106306 h 285831"/>
                <a:gd name="connsiteX30" fmla="*/ 18052 w 285864"/>
                <a:gd name="connsiteY30" fmla="*/ 109157 h 285831"/>
                <a:gd name="connsiteX31" fmla="*/ 6350 w 285864"/>
                <a:gd name="connsiteY31" fmla="*/ 84081 h 285831"/>
                <a:gd name="connsiteX32" fmla="*/ 49527 w 285864"/>
                <a:gd name="connsiteY32" fmla="*/ 90899 h 285831"/>
                <a:gd name="connsiteX33" fmla="*/ 60890 w 285864"/>
                <a:gd name="connsiteY33" fmla="*/ 90899 h 285831"/>
                <a:gd name="connsiteX34" fmla="*/ 76797 w 285864"/>
                <a:gd name="connsiteY34" fmla="*/ 90899 h 285831"/>
                <a:gd name="connsiteX35" fmla="*/ 92704 w 285864"/>
                <a:gd name="connsiteY35" fmla="*/ 68174 h 285831"/>
                <a:gd name="connsiteX36" fmla="*/ 124519 w 285864"/>
                <a:gd name="connsiteY36" fmla="*/ 36360 h 285831"/>
                <a:gd name="connsiteX37" fmla="*/ 140426 w 285864"/>
                <a:gd name="connsiteY37" fmla="*/ 31815 h 285831"/>
                <a:gd name="connsiteX38" fmla="*/ 140426 w 285864"/>
                <a:gd name="connsiteY38" fmla="*/ 20452 h 285831"/>
                <a:gd name="connsiteX39" fmla="*/ 163151 w 285864"/>
                <a:gd name="connsiteY39" fmla="*/ 4545 h 285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85864" h="285831">
                  <a:moveTo>
                    <a:pt x="194965" y="0"/>
                  </a:moveTo>
                  <a:lnTo>
                    <a:pt x="194965" y="15908"/>
                  </a:lnTo>
                  <a:lnTo>
                    <a:pt x="226780" y="15908"/>
                  </a:lnTo>
                  <a:lnTo>
                    <a:pt x="242687" y="20452"/>
                  </a:lnTo>
                  <a:lnTo>
                    <a:pt x="249505" y="31815"/>
                  </a:lnTo>
                  <a:lnTo>
                    <a:pt x="269957" y="31815"/>
                  </a:lnTo>
                  <a:lnTo>
                    <a:pt x="285864" y="43177"/>
                  </a:lnTo>
                  <a:lnTo>
                    <a:pt x="285864" y="95444"/>
                  </a:lnTo>
                  <a:lnTo>
                    <a:pt x="281319" y="122713"/>
                  </a:lnTo>
                  <a:lnTo>
                    <a:pt x="281319" y="149983"/>
                  </a:lnTo>
                  <a:lnTo>
                    <a:pt x="285864" y="161345"/>
                  </a:lnTo>
                  <a:lnTo>
                    <a:pt x="281319" y="181797"/>
                  </a:lnTo>
                  <a:lnTo>
                    <a:pt x="279505" y="183611"/>
                  </a:lnTo>
                  <a:lnTo>
                    <a:pt x="274969" y="204022"/>
                  </a:lnTo>
                  <a:lnTo>
                    <a:pt x="270424" y="208567"/>
                  </a:lnTo>
                  <a:lnTo>
                    <a:pt x="259062" y="235837"/>
                  </a:lnTo>
                  <a:lnTo>
                    <a:pt x="220430" y="285831"/>
                  </a:lnTo>
                  <a:lnTo>
                    <a:pt x="199978" y="279014"/>
                  </a:lnTo>
                  <a:lnTo>
                    <a:pt x="188615" y="285831"/>
                  </a:lnTo>
                  <a:lnTo>
                    <a:pt x="172708" y="274469"/>
                  </a:lnTo>
                  <a:lnTo>
                    <a:pt x="156801" y="274469"/>
                  </a:lnTo>
                  <a:lnTo>
                    <a:pt x="134076" y="258562"/>
                  </a:lnTo>
                  <a:lnTo>
                    <a:pt x="102261" y="251744"/>
                  </a:lnTo>
                  <a:lnTo>
                    <a:pt x="90899" y="226747"/>
                  </a:lnTo>
                  <a:lnTo>
                    <a:pt x="90899" y="215385"/>
                  </a:lnTo>
                  <a:lnTo>
                    <a:pt x="74992" y="208567"/>
                  </a:lnTo>
                  <a:lnTo>
                    <a:pt x="31815" y="167663"/>
                  </a:lnTo>
                  <a:lnTo>
                    <a:pt x="27270" y="144938"/>
                  </a:lnTo>
                  <a:lnTo>
                    <a:pt x="15908" y="140393"/>
                  </a:lnTo>
                  <a:lnTo>
                    <a:pt x="0" y="106306"/>
                  </a:lnTo>
                  <a:lnTo>
                    <a:pt x="18052" y="109157"/>
                  </a:lnTo>
                  <a:lnTo>
                    <a:pt x="6350" y="84081"/>
                  </a:lnTo>
                  <a:lnTo>
                    <a:pt x="49527" y="90899"/>
                  </a:lnTo>
                  <a:lnTo>
                    <a:pt x="60890" y="90899"/>
                  </a:lnTo>
                  <a:lnTo>
                    <a:pt x="76797" y="90899"/>
                  </a:lnTo>
                  <a:lnTo>
                    <a:pt x="92704" y="68174"/>
                  </a:lnTo>
                  <a:lnTo>
                    <a:pt x="124519" y="36360"/>
                  </a:lnTo>
                  <a:lnTo>
                    <a:pt x="140426" y="31815"/>
                  </a:lnTo>
                  <a:lnTo>
                    <a:pt x="140426" y="20452"/>
                  </a:lnTo>
                  <a:lnTo>
                    <a:pt x="163151" y="454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60" name="Freeform 351">
              <a:extLst>
                <a:ext uri="{FF2B5EF4-FFF2-40B4-BE49-F238E27FC236}">
                  <a16:creationId xmlns:a16="http://schemas.microsoft.com/office/drawing/2014/main" id="{210F0540-D08B-AE3D-945D-2E31EF9EED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37505" y="3576428"/>
              <a:ext cx="287521" cy="255721"/>
            </a:xfrm>
            <a:custGeom>
              <a:avLst/>
              <a:gdLst>
                <a:gd name="T0" fmla="*/ 220 w 267"/>
                <a:gd name="T1" fmla="*/ 0 h 234"/>
                <a:gd name="T2" fmla="*/ 234 w 267"/>
                <a:gd name="T3" fmla="*/ 2 h 234"/>
                <a:gd name="T4" fmla="*/ 248 w 267"/>
                <a:gd name="T5" fmla="*/ 28 h 234"/>
                <a:gd name="T6" fmla="*/ 251 w 267"/>
                <a:gd name="T7" fmla="*/ 59 h 234"/>
                <a:gd name="T8" fmla="*/ 244 w 267"/>
                <a:gd name="T9" fmla="*/ 64 h 234"/>
                <a:gd name="T10" fmla="*/ 239 w 267"/>
                <a:gd name="T11" fmla="*/ 68 h 234"/>
                <a:gd name="T12" fmla="*/ 234 w 267"/>
                <a:gd name="T13" fmla="*/ 83 h 234"/>
                <a:gd name="T14" fmla="*/ 253 w 267"/>
                <a:gd name="T15" fmla="*/ 90 h 234"/>
                <a:gd name="T16" fmla="*/ 267 w 267"/>
                <a:gd name="T17" fmla="*/ 83 h 234"/>
                <a:gd name="T18" fmla="*/ 263 w 267"/>
                <a:gd name="T19" fmla="*/ 111 h 234"/>
                <a:gd name="T20" fmla="*/ 246 w 267"/>
                <a:gd name="T21" fmla="*/ 128 h 234"/>
                <a:gd name="T22" fmla="*/ 237 w 267"/>
                <a:gd name="T23" fmla="*/ 139 h 234"/>
                <a:gd name="T24" fmla="*/ 222 w 267"/>
                <a:gd name="T25" fmla="*/ 163 h 234"/>
                <a:gd name="T26" fmla="*/ 194 w 267"/>
                <a:gd name="T27" fmla="*/ 194 h 234"/>
                <a:gd name="T28" fmla="*/ 163 w 267"/>
                <a:gd name="T29" fmla="*/ 211 h 234"/>
                <a:gd name="T30" fmla="*/ 154 w 267"/>
                <a:gd name="T31" fmla="*/ 218 h 234"/>
                <a:gd name="T32" fmla="*/ 135 w 267"/>
                <a:gd name="T33" fmla="*/ 218 h 234"/>
                <a:gd name="T34" fmla="*/ 109 w 267"/>
                <a:gd name="T35" fmla="*/ 218 h 234"/>
                <a:gd name="T36" fmla="*/ 85 w 267"/>
                <a:gd name="T37" fmla="*/ 225 h 234"/>
                <a:gd name="T38" fmla="*/ 61 w 267"/>
                <a:gd name="T39" fmla="*/ 234 h 234"/>
                <a:gd name="T40" fmla="*/ 47 w 267"/>
                <a:gd name="T41" fmla="*/ 227 h 234"/>
                <a:gd name="T42" fmla="*/ 35 w 267"/>
                <a:gd name="T43" fmla="*/ 218 h 234"/>
                <a:gd name="T44" fmla="*/ 31 w 267"/>
                <a:gd name="T45" fmla="*/ 215 h 234"/>
                <a:gd name="T46" fmla="*/ 26 w 267"/>
                <a:gd name="T47" fmla="*/ 192 h 234"/>
                <a:gd name="T48" fmla="*/ 31 w 267"/>
                <a:gd name="T49" fmla="*/ 173 h 234"/>
                <a:gd name="T50" fmla="*/ 14 w 267"/>
                <a:gd name="T51" fmla="*/ 139 h 234"/>
                <a:gd name="T52" fmla="*/ 0 w 267"/>
                <a:gd name="T53" fmla="*/ 116 h 234"/>
                <a:gd name="T54" fmla="*/ 14 w 267"/>
                <a:gd name="T55" fmla="*/ 111 h 234"/>
                <a:gd name="T56" fmla="*/ 26 w 267"/>
                <a:gd name="T57" fmla="*/ 121 h 234"/>
                <a:gd name="T58" fmla="*/ 45 w 267"/>
                <a:gd name="T59" fmla="*/ 123 h 234"/>
                <a:gd name="T60" fmla="*/ 59 w 267"/>
                <a:gd name="T61" fmla="*/ 47 h 234"/>
                <a:gd name="T62" fmla="*/ 73 w 267"/>
                <a:gd name="T63" fmla="*/ 66 h 234"/>
                <a:gd name="T64" fmla="*/ 76 w 267"/>
                <a:gd name="T65" fmla="*/ 85 h 234"/>
                <a:gd name="T66" fmla="*/ 95 w 267"/>
                <a:gd name="T67" fmla="*/ 73 h 234"/>
                <a:gd name="T68" fmla="*/ 106 w 267"/>
                <a:gd name="T69" fmla="*/ 61 h 234"/>
                <a:gd name="T70" fmla="*/ 121 w 267"/>
                <a:gd name="T71" fmla="*/ 59 h 234"/>
                <a:gd name="T72" fmla="*/ 142 w 267"/>
                <a:gd name="T73" fmla="*/ 64 h 234"/>
                <a:gd name="T74" fmla="*/ 154 w 267"/>
                <a:gd name="T75" fmla="*/ 54 h 234"/>
                <a:gd name="T76" fmla="*/ 166 w 267"/>
                <a:gd name="T77" fmla="*/ 45 h 234"/>
                <a:gd name="T78" fmla="*/ 175 w 267"/>
                <a:gd name="T79" fmla="*/ 26 h 234"/>
                <a:gd name="T80" fmla="*/ 213 w 267"/>
                <a:gd name="T81" fmla="*/ 0 h 234"/>
                <a:gd name="T82" fmla="*/ 192 w 267"/>
                <a:gd name="T83" fmla="*/ 121 h 234"/>
                <a:gd name="T84" fmla="*/ 182 w 267"/>
                <a:gd name="T85" fmla="*/ 128 h 234"/>
                <a:gd name="T86" fmla="*/ 187 w 267"/>
                <a:gd name="T87" fmla="*/ 154 h 234"/>
                <a:gd name="T88" fmla="*/ 194 w 267"/>
                <a:gd name="T89" fmla="*/ 147 h 234"/>
                <a:gd name="T90" fmla="*/ 206 w 267"/>
                <a:gd name="T91" fmla="*/ 137 h 234"/>
                <a:gd name="T92" fmla="*/ 206 w 267"/>
                <a:gd name="T93" fmla="*/ 123 h 234"/>
                <a:gd name="T94" fmla="*/ 192 w 267"/>
                <a:gd name="T95" fmla="*/ 121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67" h="234">
                  <a:moveTo>
                    <a:pt x="220" y="0"/>
                  </a:moveTo>
                  <a:lnTo>
                    <a:pt x="220" y="0"/>
                  </a:lnTo>
                  <a:lnTo>
                    <a:pt x="227" y="2"/>
                  </a:lnTo>
                  <a:lnTo>
                    <a:pt x="234" y="2"/>
                  </a:lnTo>
                  <a:lnTo>
                    <a:pt x="241" y="2"/>
                  </a:lnTo>
                  <a:lnTo>
                    <a:pt x="248" y="28"/>
                  </a:lnTo>
                  <a:lnTo>
                    <a:pt x="253" y="40"/>
                  </a:lnTo>
                  <a:lnTo>
                    <a:pt x="251" y="59"/>
                  </a:lnTo>
                  <a:lnTo>
                    <a:pt x="253" y="66"/>
                  </a:lnTo>
                  <a:lnTo>
                    <a:pt x="244" y="64"/>
                  </a:lnTo>
                  <a:lnTo>
                    <a:pt x="239" y="64"/>
                  </a:lnTo>
                  <a:lnTo>
                    <a:pt x="239" y="68"/>
                  </a:lnTo>
                  <a:lnTo>
                    <a:pt x="234" y="76"/>
                  </a:lnTo>
                  <a:lnTo>
                    <a:pt x="234" y="83"/>
                  </a:lnTo>
                  <a:lnTo>
                    <a:pt x="244" y="92"/>
                  </a:lnTo>
                  <a:lnTo>
                    <a:pt x="253" y="90"/>
                  </a:lnTo>
                  <a:lnTo>
                    <a:pt x="255" y="83"/>
                  </a:lnTo>
                  <a:lnTo>
                    <a:pt x="267" y="83"/>
                  </a:lnTo>
                  <a:lnTo>
                    <a:pt x="265" y="95"/>
                  </a:lnTo>
                  <a:lnTo>
                    <a:pt x="263" y="111"/>
                  </a:lnTo>
                  <a:lnTo>
                    <a:pt x="258" y="118"/>
                  </a:lnTo>
                  <a:lnTo>
                    <a:pt x="246" y="128"/>
                  </a:lnTo>
                  <a:lnTo>
                    <a:pt x="244" y="132"/>
                  </a:lnTo>
                  <a:lnTo>
                    <a:pt x="237" y="139"/>
                  </a:lnTo>
                  <a:lnTo>
                    <a:pt x="232" y="149"/>
                  </a:lnTo>
                  <a:lnTo>
                    <a:pt x="222" y="163"/>
                  </a:lnTo>
                  <a:lnTo>
                    <a:pt x="206" y="182"/>
                  </a:lnTo>
                  <a:lnTo>
                    <a:pt x="194" y="194"/>
                  </a:lnTo>
                  <a:lnTo>
                    <a:pt x="182" y="203"/>
                  </a:lnTo>
                  <a:lnTo>
                    <a:pt x="163" y="211"/>
                  </a:lnTo>
                  <a:lnTo>
                    <a:pt x="156" y="211"/>
                  </a:lnTo>
                  <a:lnTo>
                    <a:pt x="154" y="218"/>
                  </a:lnTo>
                  <a:lnTo>
                    <a:pt x="144" y="215"/>
                  </a:lnTo>
                  <a:lnTo>
                    <a:pt x="135" y="218"/>
                  </a:lnTo>
                  <a:lnTo>
                    <a:pt x="118" y="215"/>
                  </a:lnTo>
                  <a:lnTo>
                    <a:pt x="109" y="218"/>
                  </a:lnTo>
                  <a:lnTo>
                    <a:pt x="102" y="215"/>
                  </a:lnTo>
                  <a:lnTo>
                    <a:pt x="85" y="225"/>
                  </a:lnTo>
                  <a:lnTo>
                    <a:pt x="71" y="225"/>
                  </a:lnTo>
                  <a:lnTo>
                    <a:pt x="61" y="234"/>
                  </a:lnTo>
                  <a:lnTo>
                    <a:pt x="54" y="234"/>
                  </a:lnTo>
                  <a:lnTo>
                    <a:pt x="47" y="227"/>
                  </a:lnTo>
                  <a:lnTo>
                    <a:pt x="43" y="227"/>
                  </a:lnTo>
                  <a:lnTo>
                    <a:pt x="35" y="218"/>
                  </a:lnTo>
                  <a:lnTo>
                    <a:pt x="33" y="222"/>
                  </a:lnTo>
                  <a:lnTo>
                    <a:pt x="31" y="215"/>
                  </a:lnTo>
                  <a:lnTo>
                    <a:pt x="31" y="203"/>
                  </a:lnTo>
                  <a:lnTo>
                    <a:pt x="26" y="192"/>
                  </a:lnTo>
                  <a:lnTo>
                    <a:pt x="31" y="187"/>
                  </a:lnTo>
                  <a:lnTo>
                    <a:pt x="31" y="173"/>
                  </a:lnTo>
                  <a:lnTo>
                    <a:pt x="21" y="156"/>
                  </a:lnTo>
                  <a:lnTo>
                    <a:pt x="14" y="139"/>
                  </a:lnTo>
                  <a:lnTo>
                    <a:pt x="12" y="139"/>
                  </a:lnTo>
                  <a:lnTo>
                    <a:pt x="0" y="116"/>
                  </a:lnTo>
                  <a:lnTo>
                    <a:pt x="9" y="106"/>
                  </a:lnTo>
                  <a:lnTo>
                    <a:pt x="14" y="111"/>
                  </a:lnTo>
                  <a:lnTo>
                    <a:pt x="19" y="121"/>
                  </a:lnTo>
                  <a:lnTo>
                    <a:pt x="26" y="121"/>
                  </a:lnTo>
                  <a:lnTo>
                    <a:pt x="35" y="125"/>
                  </a:lnTo>
                  <a:lnTo>
                    <a:pt x="45" y="123"/>
                  </a:lnTo>
                  <a:lnTo>
                    <a:pt x="59" y="113"/>
                  </a:lnTo>
                  <a:lnTo>
                    <a:pt x="59" y="47"/>
                  </a:lnTo>
                  <a:lnTo>
                    <a:pt x="61" y="50"/>
                  </a:lnTo>
                  <a:lnTo>
                    <a:pt x="73" y="66"/>
                  </a:lnTo>
                  <a:lnTo>
                    <a:pt x="71" y="78"/>
                  </a:lnTo>
                  <a:lnTo>
                    <a:pt x="76" y="85"/>
                  </a:lnTo>
                  <a:lnTo>
                    <a:pt x="85" y="83"/>
                  </a:lnTo>
                  <a:lnTo>
                    <a:pt x="95" y="73"/>
                  </a:lnTo>
                  <a:lnTo>
                    <a:pt x="102" y="68"/>
                  </a:lnTo>
                  <a:lnTo>
                    <a:pt x="106" y="61"/>
                  </a:lnTo>
                  <a:lnTo>
                    <a:pt x="114" y="57"/>
                  </a:lnTo>
                  <a:lnTo>
                    <a:pt x="121" y="59"/>
                  </a:lnTo>
                  <a:lnTo>
                    <a:pt x="130" y="64"/>
                  </a:lnTo>
                  <a:lnTo>
                    <a:pt x="142" y="64"/>
                  </a:lnTo>
                  <a:lnTo>
                    <a:pt x="151" y="59"/>
                  </a:lnTo>
                  <a:lnTo>
                    <a:pt x="154" y="54"/>
                  </a:lnTo>
                  <a:lnTo>
                    <a:pt x="156" y="45"/>
                  </a:lnTo>
                  <a:lnTo>
                    <a:pt x="166" y="45"/>
                  </a:lnTo>
                  <a:lnTo>
                    <a:pt x="170" y="38"/>
                  </a:lnTo>
                  <a:lnTo>
                    <a:pt x="175" y="26"/>
                  </a:lnTo>
                  <a:lnTo>
                    <a:pt x="189" y="14"/>
                  </a:lnTo>
                  <a:lnTo>
                    <a:pt x="213" y="0"/>
                  </a:lnTo>
                  <a:lnTo>
                    <a:pt x="220" y="0"/>
                  </a:lnTo>
                  <a:moveTo>
                    <a:pt x="192" y="121"/>
                  </a:moveTo>
                  <a:lnTo>
                    <a:pt x="192" y="121"/>
                  </a:lnTo>
                  <a:lnTo>
                    <a:pt x="182" y="128"/>
                  </a:lnTo>
                  <a:lnTo>
                    <a:pt x="173" y="139"/>
                  </a:lnTo>
                  <a:lnTo>
                    <a:pt x="187" y="154"/>
                  </a:lnTo>
                  <a:lnTo>
                    <a:pt x="192" y="151"/>
                  </a:lnTo>
                  <a:lnTo>
                    <a:pt x="194" y="147"/>
                  </a:lnTo>
                  <a:lnTo>
                    <a:pt x="203" y="144"/>
                  </a:lnTo>
                  <a:lnTo>
                    <a:pt x="206" y="137"/>
                  </a:lnTo>
                  <a:lnTo>
                    <a:pt x="210" y="128"/>
                  </a:lnTo>
                  <a:lnTo>
                    <a:pt x="206" y="123"/>
                  </a:lnTo>
                  <a:lnTo>
                    <a:pt x="199" y="116"/>
                  </a:lnTo>
                  <a:lnTo>
                    <a:pt x="192" y="121"/>
                  </a:lnTo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61" name="Freeform 48">
              <a:extLst>
                <a:ext uri="{FF2B5EF4-FFF2-40B4-BE49-F238E27FC236}">
                  <a16:creationId xmlns:a16="http://schemas.microsoft.com/office/drawing/2014/main" id="{79E50EC8-70AF-02E6-D17A-846AB5DCF38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8896" y="3474533"/>
              <a:ext cx="231524" cy="237457"/>
            </a:xfrm>
            <a:custGeom>
              <a:avLst/>
              <a:gdLst>
                <a:gd name="connsiteX0" fmla="*/ 379218 w 488580"/>
                <a:gd name="connsiteY0" fmla="*/ 46740 h 493777"/>
                <a:gd name="connsiteX1" fmla="*/ 363595 w 488580"/>
                <a:gd name="connsiteY1" fmla="*/ 49995 h 493777"/>
                <a:gd name="connsiteX2" fmla="*/ 338598 w 488580"/>
                <a:gd name="connsiteY2" fmla="*/ 49995 h 493777"/>
                <a:gd name="connsiteX3" fmla="*/ 338513 w 488580"/>
                <a:gd name="connsiteY3" fmla="*/ 51719 h 493777"/>
                <a:gd name="connsiteX4" fmla="*/ 354505 w 488580"/>
                <a:gd name="connsiteY4" fmla="*/ 52918 h 493777"/>
                <a:gd name="connsiteX5" fmla="*/ 36360 w 488580"/>
                <a:gd name="connsiteY5" fmla="*/ 0 h 493777"/>
                <a:gd name="connsiteX6" fmla="*/ 59084 w 488580"/>
                <a:gd name="connsiteY6" fmla="*/ 6817 h 493777"/>
                <a:gd name="connsiteX7" fmla="*/ 79537 w 488580"/>
                <a:gd name="connsiteY7" fmla="*/ 22725 h 493777"/>
                <a:gd name="connsiteX8" fmla="*/ 90899 w 488580"/>
                <a:gd name="connsiteY8" fmla="*/ 15908 h 493777"/>
                <a:gd name="connsiteX9" fmla="*/ 236337 w 488580"/>
                <a:gd name="connsiteY9" fmla="*/ 15908 h 493777"/>
                <a:gd name="connsiteX10" fmla="*/ 263606 w 488580"/>
                <a:gd name="connsiteY10" fmla="*/ 31815 h 493777"/>
                <a:gd name="connsiteX11" fmla="*/ 354505 w 488580"/>
                <a:gd name="connsiteY11" fmla="*/ 38632 h 493777"/>
                <a:gd name="connsiteX12" fmla="*/ 418134 w 488580"/>
                <a:gd name="connsiteY12" fmla="*/ 22725 h 493777"/>
                <a:gd name="connsiteX13" fmla="*/ 449948 w 488580"/>
                <a:gd name="connsiteY13" fmla="*/ 15908 h 493777"/>
                <a:gd name="connsiteX14" fmla="*/ 472673 w 488580"/>
                <a:gd name="connsiteY14" fmla="*/ 15908 h 493777"/>
                <a:gd name="connsiteX15" fmla="*/ 488580 w 488580"/>
                <a:gd name="connsiteY15" fmla="*/ 27270 h 493777"/>
                <a:gd name="connsiteX16" fmla="*/ 478580 w 488580"/>
                <a:gd name="connsiteY16" fmla="*/ 34413 h 493777"/>
                <a:gd name="connsiteX17" fmla="*/ 488580 w 488580"/>
                <a:gd name="connsiteY17" fmla="*/ 41556 h 493777"/>
                <a:gd name="connsiteX18" fmla="*/ 472673 w 488580"/>
                <a:gd name="connsiteY18" fmla="*/ 52918 h 493777"/>
                <a:gd name="connsiteX19" fmla="*/ 461311 w 488580"/>
                <a:gd name="connsiteY19" fmla="*/ 52918 h 493777"/>
                <a:gd name="connsiteX20" fmla="*/ 434041 w 488580"/>
                <a:gd name="connsiteY20" fmla="*/ 68826 h 493777"/>
                <a:gd name="connsiteX21" fmla="*/ 418134 w 488580"/>
                <a:gd name="connsiteY21" fmla="*/ 52918 h 493777"/>
                <a:gd name="connsiteX22" fmla="*/ 363595 w 488580"/>
                <a:gd name="connsiteY22" fmla="*/ 64281 h 493777"/>
                <a:gd name="connsiteX23" fmla="*/ 338598 w 488580"/>
                <a:gd name="connsiteY23" fmla="*/ 64281 h 493777"/>
                <a:gd name="connsiteX24" fmla="*/ 331780 w 488580"/>
                <a:gd name="connsiteY24" fmla="*/ 202901 h 493777"/>
                <a:gd name="connsiteX25" fmla="*/ 299966 w 488580"/>
                <a:gd name="connsiteY25" fmla="*/ 202901 h 493777"/>
                <a:gd name="connsiteX26" fmla="*/ 299966 w 488580"/>
                <a:gd name="connsiteY26" fmla="*/ 306784 h 493777"/>
                <a:gd name="connsiteX27" fmla="*/ 299966 w 488580"/>
                <a:gd name="connsiteY27" fmla="*/ 321070 h 493777"/>
                <a:gd name="connsiteX28" fmla="*/ 299966 w 488580"/>
                <a:gd name="connsiteY28" fmla="*/ 456767 h 493777"/>
                <a:gd name="connsiteX29" fmla="*/ 299966 w 488580"/>
                <a:gd name="connsiteY29" fmla="*/ 471053 h 493777"/>
                <a:gd name="connsiteX30" fmla="*/ 263606 w 488580"/>
                <a:gd name="connsiteY30" fmla="*/ 493777 h 493777"/>
                <a:gd name="connsiteX31" fmla="*/ 245426 w 488580"/>
                <a:gd name="connsiteY31" fmla="*/ 493777 h 493777"/>
                <a:gd name="connsiteX32" fmla="*/ 224974 w 488580"/>
                <a:gd name="connsiteY32" fmla="*/ 489232 h 493777"/>
                <a:gd name="connsiteX33" fmla="*/ 204522 w 488580"/>
                <a:gd name="connsiteY33" fmla="*/ 489232 h 493777"/>
                <a:gd name="connsiteX34" fmla="*/ 197705 w 488580"/>
                <a:gd name="connsiteY34" fmla="*/ 466508 h 493777"/>
                <a:gd name="connsiteX35" fmla="*/ 186342 w 488580"/>
                <a:gd name="connsiteY35" fmla="*/ 455145 h 493777"/>
                <a:gd name="connsiteX36" fmla="*/ 165890 w 488580"/>
                <a:gd name="connsiteY36" fmla="*/ 477870 h 493777"/>
                <a:gd name="connsiteX37" fmla="*/ 138621 w 488580"/>
                <a:gd name="connsiteY37" fmla="*/ 446055 h 493777"/>
                <a:gd name="connsiteX38" fmla="*/ 122713 w 488580"/>
                <a:gd name="connsiteY38" fmla="*/ 411968 h 493777"/>
                <a:gd name="connsiteX39" fmla="*/ 118168 w 488580"/>
                <a:gd name="connsiteY39" fmla="*/ 375609 h 493777"/>
                <a:gd name="connsiteX40" fmla="*/ 106806 w 488580"/>
                <a:gd name="connsiteY40" fmla="*/ 348339 h 493777"/>
                <a:gd name="connsiteX41" fmla="*/ 95444 w 488580"/>
                <a:gd name="connsiteY41" fmla="*/ 284710 h 493777"/>
                <a:gd name="connsiteX42" fmla="*/ 95444 w 488580"/>
                <a:gd name="connsiteY42" fmla="*/ 270424 h 493777"/>
                <a:gd name="connsiteX43" fmla="*/ 95444 w 488580"/>
                <a:gd name="connsiteY43" fmla="*/ 234716 h 493777"/>
                <a:gd name="connsiteX44" fmla="*/ 90899 w 488580"/>
                <a:gd name="connsiteY44" fmla="*/ 214264 h 493777"/>
                <a:gd name="connsiteX45" fmla="*/ 74992 w 488580"/>
                <a:gd name="connsiteY45" fmla="*/ 198356 h 493777"/>
                <a:gd name="connsiteX46" fmla="*/ 59084 w 488580"/>
                <a:gd name="connsiteY46" fmla="*/ 166542 h 493777"/>
                <a:gd name="connsiteX47" fmla="*/ 36360 w 488580"/>
                <a:gd name="connsiteY47" fmla="*/ 123365 h 493777"/>
                <a:gd name="connsiteX48" fmla="*/ 31815 w 488580"/>
                <a:gd name="connsiteY48" fmla="*/ 96095 h 493777"/>
                <a:gd name="connsiteX49" fmla="*/ 0 w 488580"/>
                <a:gd name="connsiteY49" fmla="*/ 64281 h 493777"/>
                <a:gd name="connsiteX50" fmla="*/ 0 w 488580"/>
                <a:gd name="connsiteY50" fmla="*/ 49995 h 493777"/>
                <a:gd name="connsiteX51" fmla="*/ 0 w 488580"/>
                <a:gd name="connsiteY51" fmla="*/ 30194 h 493777"/>
                <a:gd name="connsiteX52" fmla="*/ 0 w 488580"/>
                <a:gd name="connsiteY52" fmla="*/ 15908 h 493777"/>
                <a:gd name="connsiteX53" fmla="*/ 15908 w 488580"/>
                <a:gd name="connsiteY53" fmla="*/ 6817 h 493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88580" h="493777">
                  <a:moveTo>
                    <a:pt x="379218" y="46740"/>
                  </a:moveTo>
                  <a:lnTo>
                    <a:pt x="363595" y="49995"/>
                  </a:lnTo>
                  <a:lnTo>
                    <a:pt x="338598" y="49995"/>
                  </a:lnTo>
                  <a:lnTo>
                    <a:pt x="338513" y="51719"/>
                  </a:lnTo>
                  <a:lnTo>
                    <a:pt x="354505" y="52918"/>
                  </a:lnTo>
                  <a:close/>
                  <a:moveTo>
                    <a:pt x="36360" y="0"/>
                  </a:moveTo>
                  <a:lnTo>
                    <a:pt x="59084" y="6817"/>
                  </a:lnTo>
                  <a:lnTo>
                    <a:pt x="79537" y="22725"/>
                  </a:lnTo>
                  <a:lnTo>
                    <a:pt x="90899" y="15908"/>
                  </a:lnTo>
                  <a:lnTo>
                    <a:pt x="236337" y="15908"/>
                  </a:lnTo>
                  <a:lnTo>
                    <a:pt x="263606" y="31815"/>
                  </a:lnTo>
                  <a:lnTo>
                    <a:pt x="354505" y="38632"/>
                  </a:lnTo>
                  <a:lnTo>
                    <a:pt x="418134" y="22725"/>
                  </a:lnTo>
                  <a:lnTo>
                    <a:pt x="449948" y="15908"/>
                  </a:lnTo>
                  <a:lnTo>
                    <a:pt x="472673" y="15908"/>
                  </a:lnTo>
                  <a:lnTo>
                    <a:pt x="488580" y="27270"/>
                  </a:lnTo>
                  <a:lnTo>
                    <a:pt x="478580" y="34413"/>
                  </a:lnTo>
                  <a:lnTo>
                    <a:pt x="488580" y="41556"/>
                  </a:lnTo>
                  <a:lnTo>
                    <a:pt x="472673" y="52918"/>
                  </a:lnTo>
                  <a:lnTo>
                    <a:pt x="461311" y="52918"/>
                  </a:lnTo>
                  <a:lnTo>
                    <a:pt x="434041" y="68826"/>
                  </a:lnTo>
                  <a:lnTo>
                    <a:pt x="418134" y="52918"/>
                  </a:lnTo>
                  <a:lnTo>
                    <a:pt x="363595" y="64281"/>
                  </a:lnTo>
                  <a:lnTo>
                    <a:pt x="338598" y="64281"/>
                  </a:lnTo>
                  <a:lnTo>
                    <a:pt x="331780" y="202901"/>
                  </a:lnTo>
                  <a:lnTo>
                    <a:pt x="299966" y="202901"/>
                  </a:lnTo>
                  <a:lnTo>
                    <a:pt x="299966" y="306784"/>
                  </a:lnTo>
                  <a:lnTo>
                    <a:pt x="299966" y="321070"/>
                  </a:lnTo>
                  <a:lnTo>
                    <a:pt x="299966" y="456767"/>
                  </a:lnTo>
                  <a:lnTo>
                    <a:pt x="299966" y="471053"/>
                  </a:lnTo>
                  <a:lnTo>
                    <a:pt x="263606" y="493777"/>
                  </a:lnTo>
                  <a:lnTo>
                    <a:pt x="245426" y="493777"/>
                  </a:lnTo>
                  <a:lnTo>
                    <a:pt x="224974" y="489232"/>
                  </a:lnTo>
                  <a:lnTo>
                    <a:pt x="204522" y="489232"/>
                  </a:lnTo>
                  <a:lnTo>
                    <a:pt x="197705" y="466508"/>
                  </a:lnTo>
                  <a:lnTo>
                    <a:pt x="186342" y="455145"/>
                  </a:lnTo>
                  <a:lnTo>
                    <a:pt x="165890" y="477870"/>
                  </a:lnTo>
                  <a:lnTo>
                    <a:pt x="138621" y="446055"/>
                  </a:lnTo>
                  <a:lnTo>
                    <a:pt x="122713" y="411968"/>
                  </a:lnTo>
                  <a:lnTo>
                    <a:pt x="118168" y="375609"/>
                  </a:lnTo>
                  <a:lnTo>
                    <a:pt x="106806" y="348339"/>
                  </a:lnTo>
                  <a:lnTo>
                    <a:pt x="95444" y="284710"/>
                  </a:lnTo>
                  <a:lnTo>
                    <a:pt x="95444" y="270424"/>
                  </a:lnTo>
                  <a:lnTo>
                    <a:pt x="95444" y="234716"/>
                  </a:lnTo>
                  <a:lnTo>
                    <a:pt x="90899" y="214264"/>
                  </a:lnTo>
                  <a:lnTo>
                    <a:pt x="74992" y="198356"/>
                  </a:lnTo>
                  <a:lnTo>
                    <a:pt x="59084" y="166542"/>
                  </a:lnTo>
                  <a:lnTo>
                    <a:pt x="36360" y="123365"/>
                  </a:lnTo>
                  <a:lnTo>
                    <a:pt x="31815" y="96095"/>
                  </a:lnTo>
                  <a:lnTo>
                    <a:pt x="0" y="64281"/>
                  </a:lnTo>
                  <a:lnTo>
                    <a:pt x="0" y="49995"/>
                  </a:lnTo>
                  <a:lnTo>
                    <a:pt x="0" y="30194"/>
                  </a:lnTo>
                  <a:lnTo>
                    <a:pt x="0" y="15908"/>
                  </a:lnTo>
                  <a:lnTo>
                    <a:pt x="15908" y="681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62" name="Freeform 49">
              <a:extLst>
                <a:ext uri="{FF2B5EF4-FFF2-40B4-BE49-F238E27FC236}">
                  <a16:creationId xmlns:a16="http://schemas.microsoft.com/office/drawing/2014/main" id="{C41F5BA4-C5C7-3B3D-DCBB-F2BF9EAA26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6433" y="3084554"/>
              <a:ext cx="335109" cy="330189"/>
            </a:xfrm>
            <a:custGeom>
              <a:avLst/>
              <a:gdLst>
                <a:gd name="connsiteX0" fmla="*/ 493125 w 707172"/>
                <a:gd name="connsiteY0" fmla="*/ 0 h 686611"/>
                <a:gd name="connsiteX1" fmla="*/ 520395 w 707172"/>
                <a:gd name="connsiteY1" fmla="*/ 6817 h 686611"/>
                <a:gd name="connsiteX2" fmla="*/ 543120 w 707172"/>
                <a:gd name="connsiteY2" fmla="*/ 6817 h 686611"/>
                <a:gd name="connsiteX3" fmla="*/ 559027 w 707172"/>
                <a:gd name="connsiteY3" fmla="*/ 0 h 686611"/>
                <a:gd name="connsiteX4" fmla="*/ 564385 w 707172"/>
                <a:gd name="connsiteY4" fmla="*/ 8930 h 686611"/>
                <a:gd name="connsiteX5" fmla="*/ 568552 w 707172"/>
                <a:gd name="connsiteY5" fmla="*/ 7144 h 686611"/>
                <a:gd name="connsiteX6" fmla="*/ 585802 w 707172"/>
                <a:gd name="connsiteY6" fmla="*/ 35894 h 686611"/>
                <a:gd name="connsiteX7" fmla="*/ 595386 w 707172"/>
                <a:gd name="connsiteY7" fmla="*/ 38632 h 686611"/>
                <a:gd name="connsiteX8" fmla="*/ 606749 w 707172"/>
                <a:gd name="connsiteY8" fmla="*/ 27270 h 686611"/>
                <a:gd name="connsiteX9" fmla="*/ 622656 w 707172"/>
                <a:gd name="connsiteY9" fmla="*/ 34087 h 686611"/>
                <a:gd name="connsiteX10" fmla="*/ 645381 w 707172"/>
                <a:gd name="connsiteY10" fmla="*/ 22725 h 686611"/>
                <a:gd name="connsiteX11" fmla="*/ 650672 w 707172"/>
                <a:gd name="connsiteY11" fmla="*/ 31985 h 686611"/>
                <a:gd name="connsiteX12" fmla="*/ 654906 w 707172"/>
                <a:gd name="connsiteY12" fmla="*/ 29869 h 686611"/>
                <a:gd name="connsiteX13" fmla="*/ 663995 w 707172"/>
                <a:gd name="connsiteY13" fmla="*/ 45776 h 686611"/>
                <a:gd name="connsiteX14" fmla="*/ 698082 w 707172"/>
                <a:gd name="connsiteY14" fmla="*/ 73046 h 686611"/>
                <a:gd name="connsiteX15" fmla="*/ 691797 w 707172"/>
                <a:gd name="connsiteY15" fmla="*/ 106571 h 686611"/>
                <a:gd name="connsiteX16" fmla="*/ 697647 w 707172"/>
                <a:gd name="connsiteY16" fmla="*/ 109079 h 686611"/>
                <a:gd name="connsiteX17" fmla="*/ 696242 w 707172"/>
                <a:gd name="connsiteY17" fmla="*/ 111538 h 686611"/>
                <a:gd name="connsiteX18" fmla="*/ 707172 w 707172"/>
                <a:gd name="connsiteY18" fmla="*/ 116223 h 686611"/>
                <a:gd name="connsiteX19" fmla="*/ 698082 w 707172"/>
                <a:gd name="connsiteY19" fmla="*/ 132130 h 686611"/>
                <a:gd name="connsiteX20" fmla="*/ 679903 w 707172"/>
                <a:gd name="connsiteY20" fmla="*/ 143492 h 686611"/>
                <a:gd name="connsiteX21" fmla="*/ 670813 w 707172"/>
                <a:gd name="connsiteY21" fmla="*/ 159399 h 686611"/>
                <a:gd name="connsiteX22" fmla="*/ 659450 w 707172"/>
                <a:gd name="connsiteY22" fmla="*/ 179852 h 686611"/>
                <a:gd name="connsiteX23" fmla="*/ 659450 w 707172"/>
                <a:gd name="connsiteY23" fmla="*/ 207121 h 686611"/>
                <a:gd name="connsiteX24" fmla="*/ 648088 w 707172"/>
                <a:gd name="connsiteY24" fmla="*/ 218483 h 686611"/>
                <a:gd name="connsiteX25" fmla="*/ 648088 w 707172"/>
                <a:gd name="connsiteY25" fmla="*/ 245753 h 686611"/>
                <a:gd name="connsiteX26" fmla="*/ 636726 w 707172"/>
                <a:gd name="connsiteY26" fmla="*/ 254843 h 686611"/>
                <a:gd name="connsiteX27" fmla="*/ 636726 w 707172"/>
                <a:gd name="connsiteY27" fmla="*/ 282112 h 686611"/>
                <a:gd name="connsiteX28" fmla="*/ 632181 w 707172"/>
                <a:gd name="connsiteY28" fmla="*/ 282112 h 686611"/>
                <a:gd name="connsiteX29" fmla="*/ 627636 w 707172"/>
                <a:gd name="connsiteY29" fmla="*/ 304837 h 686611"/>
                <a:gd name="connsiteX30" fmla="*/ 636726 w 707172"/>
                <a:gd name="connsiteY30" fmla="*/ 320744 h 686611"/>
                <a:gd name="connsiteX31" fmla="*/ 636726 w 707172"/>
                <a:gd name="connsiteY31" fmla="*/ 363921 h 686611"/>
                <a:gd name="connsiteX32" fmla="*/ 643543 w 707172"/>
                <a:gd name="connsiteY32" fmla="*/ 395736 h 686611"/>
                <a:gd name="connsiteX33" fmla="*/ 643543 w 707172"/>
                <a:gd name="connsiteY33" fmla="*/ 416188 h 686611"/>
                <a:gd name="connsiteX34" fmla="*/ 648088 w 707172"/>
                <a:gd name="connsiteY34" fmla="*/ 438913 h 686611"/>
                <a:gd name="connsiteX35" fmla="*/ 670813 w 707172"/>
                <a:gd name="connsiteY35" fmla="*/ 459365 h 686611"/>
                <a:gd name="connsiteX36" fmla="*/ 691265 w 707172"/>
                <a:gd name="connsiteY36" fmla="*/ 502542 h 686611"/>
                <a:gd name="connsiteX37" fmla="*/ 675358 w 707172"/>
                <a:gd name="connsiteY37" fmla="*/ 502542 h 686611"/>
                <a:gd name="connsiteX38" fmla="*/ 627636 w 707172"/>
                <a:gd name="connsiteY38" fmla="*/ 509359 h 686611"/>
                <a:gd name="connsiteX39" fmla="*/ 616274 w 707172"/>
                <a:gd name="connsiteY39" fmla="*/ 513904 h 686611"/>
                <a:gd name="connsiteX40" fmla="*/ 604911 w 707172"/>
                <a:gd name="connsiteY40" fmla="*/ 534356 h 686611"/>
                <a:gd name="connsiteX41" fmla="*/ 616274 w 707172"/>
                <a:gd name="connsiteY41" fmla="*/ 552536 h 686611"/>
                <a:gd name="connsiteX42" fmla="*/ 611729 w 707172"/>
                <a:gd name="connsiteY42" fmla="*/ 593440 h 686611"/>
                <a:gd name="connsiteX43" fmla="*/ 605461 w 707172"/>
                <a:gd name="connsiteY43" fmla="*/ 628958 h 686611"/>
                <a:gd name="connsiteX44" fmla="*/ 606749 w 707172"/>
                <a:gd name="connsiteY44" fmla="*/ 629473 h 686611"/>
                <a:gd name="connsiteX45" fmla="*/ 613568 w 707172"/>
                <a:gd name="connsiteY45" fmla="*/ 635535 h 686611"/>
                <a:gd name="connsiteX46" fmla="*/ 616274 w 707172"/>
                <a:gd name="connsiteY46" fmla="*/ 636617 h 686611"/>
                <a:gd name="connsiteX47" fmla="*/ 628089 w 707172"/>
                <a:gd name="connsiteY47" fmla="*/ 647120 h 686611"/>
                <a:gd name="connsiteX48" fmla="*/ 638563 w 707172"/>
                <a:gd name="connsiteY48" fmla="*/ 640835 h 686611"/>
                <a:gd name="connsiteX49" fmla="*/ 640615 w 707172"/>
                <a:gd name="connsiteY49" fmla="*/ 652463 h 686611"/>
                <a:gd name="connsiteX50" fmla="*/ 648088 w 707172"/>
                <a:gd name="connsiteY50" fmla="*/ 647979 h 686611"/>
                <a:gd name="connsiteX51" fmla="*/ 654906 w 707172"/>
                <a:gd name="connsiteY51" fmla="*/ 686611 h 686611"/>
                <a:gd name="connsiteX52" fmla="*/ 620819 w 707172"/>
                <a:gd name="connsiteY52" fmla="*/ 686611 h 686611"/>
                <a:gd name="connsiteX53" fmla="*/ 617961 w 707172"/>
                <a:gd name="connsiteY53" fmla="*/ 679467 h 686611"/>
                <a:gd name="connsiteX54" fmla="*/ 611294 w 707172"/>
                <a:gd name="connsiteY54" fmla="*/ 679467 h 686611"/>
                <a:gd name="connsiteX55" fmla="*/ 602204 w 707172"/>
                <a:gd name="connsiteY55" fmla="*/ 656743 h 686611"/>
                <a:gd name="connsiteX56" fmla="*/ 592964 w 707172"/>
                <a:gd name="connsiteY56" fmla="*/ 647503 h 686611"/>
                <a:gd name="connsiteX57" fmla="*/ 568552 w 707172"/>
                <a:gd name="connsiteY57" fmla="*/ 643434 h 686611"/>
                <a:gd name="connsiteX58" fmla="*/ 564046 w 707172"/>
                <a:gd name="connsiteY58" fmla="*/ 637127 h 686611"/>
                <a:gd name="connsiteX59" fmla="*/ 559027 w 707172"/>
                <a:gd name="connsiteY59" fmla="*/ 636290 h 686611"/>
                <a:gd name="connsiteX60" fmla="*/ 553833 w 707172"/>
                <a:gd name="connsiteY60" fmla="*/ 629019 h 686611"/>
                <a:gd name="connsiteX61" fmla="*/ 536737 w 707172"/>
                <a:gd name="connsiteY61" fmla="*/ 636617 h 686611"/>
                <a:gd name="connsiteX62" fmla="*/ 509468 w 707172"/>
                <a:gd name="connsiteY62" fmla="*/ 632072 h 686611"/>
                <a:gd name="connsiteX63" fmla="*/ 502800 w 707172"/>
                <a:gd name="connsiteY63" fmla="*/ 625404 h 686611"/>
                <a:gd name="connsiteX64" fmla="*/ 499943 w 707172"/>
                <a:gd name="connsiteY64" fmla="*/ 624928 h 686611"/>
                <a:gd name="connsiteX65" fmla="*/ 490584 w 707172"/>
                <a:gd name="connsiteY65" fmla="*/ 615569 h 686611"/>
                <a:gd name="connsiteX66" fmla="*/ 470836 w 707172"/>
                <a:gd name="connsiteY66" fmla="*/ 611620 h 686611"/>
                <a:gd name="connsiteX67" fmla="*/ 454929 w 707172"/>
                <a:gd name="connsiteY67" fmla="*/ 611620 h 686611"/>
                <a:gd name="connsiteX68" fmla="*/ 452071 w 707172"/>
                <a:gd name="connsiteY68" fmla="*/ 604476 h 686611"/>
                <a:gd name="connsiteX69" fmla="*/ 445404 w 707172"/>
                <a:gd name="connsiteY69" fmla="*/ 604476 h 686611"/>
                <a:gd name="connsiteX70" fmla="*/ 443716 w 707172"/>
                <a:gd name="connsiteY70" fmla="*/ 600258 h 686611"/>
                <a:gd name="connsiteX71" fmla="*/ 439021 w 707172"/>
                <a:gd name="connsiteY71" fmla="*/ 600258 h 686611"/>
                <a:gd name="connsiteX72" fmla="*/ 423114 w 707172"/>
                <a:gd name="connsiteY72" fmla="*/ 600258 h 686611"/>
                <a:gd name="connsiteX73" fmla="*/ 400389 w 707172"/>
                <a:gd name="connsiteY73" fmla="*/ 604802 h 686611"/>
                <a:gd name="connsiteX74" fmla="*/ 384482 w 707172"/>
                <a:gd name="connsiteY74" fmla="*/ 604802 h 686611"/>
                <a:gd name="connsiteX75" fmla="*/ 375392 w 707172"/>
                <a:gd name="connsiteY75" fmla="*/ 604802 h 686611"/>
                <a:gd name="connsiteX76" fmla="*/ 375392 w 707172"/>
                <a:gd name="connsiteY76" fmla="*/ 597658 h 686611"/>
                <a:gd name="connsiteX77" fmla="*/ 374957 w 707172"/>
                <a:gd name="connsiteY77" fmla="*/ 597658 h 686611"/>
                <a:gd name="connsiteX78" fmla="*/ 365867 w 707172"/>
                <a:gd name="connsiteY78" fmla="*/ 597658 h 686611"/>
                <a:gd name="connsiteX79" fmla="*/ 365867 w 707172"/>
                <a:gd name="connsiteY79" fmla="*/ 554482 h 686611"/>
                <a:gd name="connsiteX80" fmla="*/ 354505 w 707172"/>
                <a:gd name="connsiteY80" fmla="*/ 538574 h 686611"/>
                <a:gd name="connsiteX81" fmla="*/ 347688 w 707172"/>
                <a:gd name="connsiteY81" fmla="*/ 518122 h 686611"/>
                <a:gd name="connsiteX82" fmla="*/ 354505 w 707172"/>
                <a:gd name="connsiteY82" fmla="*/ 495398 h 686611"/>
                <a:gd name="connsiteX83" fmla="*/ 347688 w 707172"/>
                <a:gd name="connsiteY83" fmla="*/ 479490 h 686611"/>
                <a:gd name="connsiteX84" fmla="*/ 347688 w 707172"/>
                <a:gd name="connsiteY84" fmla="*/ 466182 h 686611"/>
                <a:gd name="connsiteX85" fmla="*/ 316308 w 707172"/>
                <a:gd name="connsiteY85" fmla="*/ 466182 h 686611"/>
                <a:gd name="connsiteX86" fmla="*/ 316308 w 707172"/>
                <a:gd name="connsiteY86" fmla="*/ 459038 h 686611"/>
                <a:gd name="connsiteX87" fmla="*/ 306783 w 707172"/>
                <a:gd name="connsiteY87" fmla="*/ 459038 h 686611"/>
                <a:gd name="connsiteX88" fmla="*/ 306783 w 707172"/>
                <a:gd name="connsiteY88" fmla="*/ 454820 h 686611"/>
                <a:gd name="connsiteX89" fmla="*/ 298128 w 707172"/>
                <a:gd name="connsiteY89" fmla="*/ 454820 h 686611"/>
                <a:gd name="connsiteX90" fmla="*/ 293583 w 707172"/>
                <a:gd name="connsiteY90" fmla="*/ 459365 h 686611"/>
                <a:gd name="connsiteX91" fmla="*/ 273131 w 707172"/>
                <a:gd name="connsiteY91" fmla="*/ 459365 h 686611"/>
                <a:gd name="connsiteX92" fmla="*/ 261769 w 707172"/>
                <a:gd name="connsiteY92" fmla="*/ 482089 h 686611"/>
                <a:gd name="connsiteX93" fmla="*/ 257224 w 707172"/>
                <a:gd name="connsiteY93" fmla="*/ 493452 h 686611"/>
                <a:gd name="connsiteX94" fmla="*/ 239044 w 707172"/>
                <a:gd name="connsiteY94" fmla="*/ 486634 h 686611"/>
                <a:gd name="connsiteX95" fmla="*/ 223137 w 707172"/>
                <a:gd name="connsiteY95" fmla="*/ 493452 h 686611"/>
                <a:gd name="connsiteX96" fmla="*/ 202685 w 707172"/>
                <a:gd name="connsiteY96" fmla="*/ 493452 h 686611"/>
                <a:gd name="connsiteX97" fmla="*/ 196434 w 707172"/>
                <a:gd name="connsiteY97" fmla="*/ 486308 h 686611"/>
                <a:gd name="connsiteX98" fmla="*/ 193160 w 707172"/>
                <a:gd name="connsiteY98" fmla="*/ 486308 h 686611"/>
                <a:gd name="connsiteX99" fmla="*/ 177253 w 707172"/>
                <a:gd name="connsiteY99" fmla="*/ 468128 h 686611"/>
                <a:gd name="connsiteX100" fmla="*/ 170435 w 707172"/>
                <a:gd name="connsiteY100" fmla="*/ 459038 h 686611"/>
                <a:gd name="connsiteX101" fmla="*/ 161345 w 707172"/>
                <a:gd name="connsiteY101" fmla="*/ 431769 h 686611"/>
                <a:gd name="connsiteX102" fmla="*/ 153426 w 707172"/>
                <a:gd name="connsiteY102" fmla="*/ 415929 h 686611"/>
                <a:gd name="connsiteX103" fmla="*/ 52702 w 707172"/>
                <a:gd name="connsiteY103" fmla="*/ 411643 h 686611"/>
                <a:gd name="connsiteX104" fmla="*/ 36795 w 707172"/>
                <a:gd name="connsiteY104" fmla="*/ 416188 h 686611"/>
                <a:gd name="connsiteX105" fmla="*/ 29977 w 707172"/>
                <a:gd name="connsiteY105" fmla="*/ 416188 h 686611"/>
                <a:gd name="connsiteX106" fmla="*/ 14070 w 707172"/>
                <a:gd name="connsiteY106" fmla="*/ 423005 h 686611"/>
                <a:gd name="connsiteX107" fmla="*/ 10237 w 707172"/>
                <a:gd name="connsiteY107" fmla="*/ 413422 h 686611"/>
                <a:gd name="connsiteX108" fmla="*/ 4545 w 707172"/>
                <a:gd name="connsiteY108" fmla="*/ 415861 h 686611"/>
                <a:gd name="connsiteX109" fmla="*/ 0 w 707172"/>
                <a:gd name="connsiteY109" fmla="*/ 404499 h 686611"/>
                <a:gd name="connsiteX110" fmla="*/ 4545 w 707172"/>
                <a:gd name="connsiteY110" fmla="*/ 399954 h 686611"/>
                <a:gd name="connsiteX111" fmla="*/ 9090 w 707172"/>
                <a:gd name="connsiteY111" fmla="*/ 384047 h 686611"/>
                <a:gd name="connsiteX112" fmla="*/ 15908 w 707172"/>
                <a:gd name="connsiteY112" fmla="*/ 372684 h 686611"/>
                <a:gd name="connsiteX113" fmla="*/ 27270 w 707172"/>
                <a:gd name="connsiteY113" fmla="*/ 365867 h 686611"/>
                <a:gd name="connsiteX114" fmla="*/ 36360 w 707172"/>
                <a:gd name="connsiteY114" fmla="*/ 372684 h 686611"/>
                <a:gd name="connsiteX115" fmla="*/ 47722 w 707172"/>
                <a:gd name="connsiteY115" fmla="*/ 356777 h 686611"/>
                <a:gd name="connsiteX116" fmla="*/ 68174 w 707172"/>
                <a:gd name="connsiteY116" fmla="*/ 356777 h 686611"/>
                <a:gd name="connsiteX117" fmla="*/ 73532 w 707172"/>
                <a:gd name="connsiteY117" fmla="*/ 363921 h 686611"/>
                <a:gd name="connsiteX118" fmla="*/ 77699 w 707172"/>
                <a:gd name="connsiteY118" fmla="*/ 363921 h 686611"/>
                <a:gd name="connsiteX119" fmla="*/ 82568 w 707172"/>
                <a:gd name="connsiteY119" fmla="*/ 370413 h 686611"/>
                <a:gd name="connsiteX120" fmla="*/ 86354 w 707172"/>
                <a:gd name="connsiteY120" fmla="*/ 372684 h 686611"/>
                <a:gd name="connsiteX121" fmla="*/ 106806 w 707172"/>
                <a:gd name="connsiteY121" fmla="*/ 349960 h 686611"/>
                <a:gd name="connsiteX122" fmla="*/ 129531 w 707172"/>
                <a:gd name="connsiteY122" fmla="*/ 334053 h 686611"/>
                <a:gd name="connsiteX123" fmla="*/ 138621 w 707172"/>
                <a:gd name="connsiteY123" fmla="*/ 324963 h 686611"/>
                <a:gd name="connsiteX124" fmla="*/ 138621 w 707172"/>
                <a:gd name="connsiteY124" fmla="*/ 290876 h 686611"/>
                <a:gd name="connsiteX125" fmla="*/ 149983 w 707172"/>
                <a:gd name="connsiteY125" fmla="*/ 254516 h 686611"/>
                <a:gd name="connsiteX126" fmla="*/ 170435 w 707172"/>
                <a:gd name="connsiteY126" fmla="*/ 238609 h 686611"/>
                <a:gd name="connsiteX127" fmla="*/ 193160 w 707172"/>
                <a:gd name="connsiteY127" fmla="*/ 222702 h 686611"/>
                <a:gd name="connsiteX128" fmla="*/ 197705 w 707172"/>
                <a:gd name="connsiteY128" fmla="*/ 204522 h 686611"/>
                <a:gd name="connsiteX129" fmla="*/ 197705 w 707172"/>
                <a:gd name="connsiteY129" fmla="*/ 195432 h 686611"/>
                <a:gd name="connsiteX130" fmla="*/ 209067 w 707172"/>
                <a:gd name="connsiteY130" fmla="*/ 184070 h 686611"/>
                <a:gd name="connsiteX131" fmla="*/ 204522 w 707172"/>
                <a:gd name="connsiteY131" fmla="*/ 161345 h 686611"/>
                <a:gd name="connsiteX132" fmla="*/ 209067 w 707172"/>
                <a:gd name="connsiteY132" fmla="*/ 129531 h 686611"/>
                <a:gd name="connsiteX133" fmla="*/ 213612 w 707172"/>
                <a:gd name="connsiteY133" fmla="*/ 102261 h 686611"/>
                <a:gd name="connsiteX134" fmla="*/ 224974 w 707172"/>
                <a:gd name="connsiteY134" fmla="*/ 86354 h 686611"/>
                <a:gd name="connsiteX135" fmla="*/ 229519 w 707172"/>
                <a:gd name="connsiteY135" fmla="*/ 65902 h 686611"/>
                <a:gd name="connsiteX136" fmla="*/ 229519 w 707172"/>
                <a:gd name="connsiteY136" fmla="*/ 38632 h 686611"/>
                <a:gd name="connsiteX137" fmla="*/ 247699 w 707172"/>
                <a:gd name="connsiteY137" fmla="*/ 18180 h 686611"/>
                <a:gd name="connsiteX138" fmla="*/ 268151 w 707172"/>
                <a:gd name="connsiteY138" fmla="*/ 6817 h 686611"/>
                <a:gd name="connsiteX139" fmla="*/ 295421 w 707172"/>
                <a:gd name="connsiteY139" fmla="*/ 22725 h 686611"/>
                <a:gd name="connsiteX140" fmla="*/ 322690 w 707172"/>
                <a:gd name="connsiteY140" fmla="*/ 34087 h 686611"/>
                <a:gd name="connsiteX141" fmla="*/ 347688 w 707172"/>
                <a:gd name="connsiteY141" fmla="*/ 38632 h 686611"/>
                <a:gd name="connsiteX142" fmla="*/ 374957 w 707172"/>
                <a:gd name="connsiteY142" fmla="*/ 43177 h 686611"/>
                <a:gd name="connsiteX143" fmla="*/ 386319 w 707172"/>
                <a:gd name="connsiteY143" fmla="*/ 22725 h 686611"/>
                <a:gd name="connsiteX144" fmla="*/ 390864 w 707172"/>
                <a:gd name="connsiteY144" fmla="*/ 18180 h 686611"/>
                <a:gd name="connsiteX145" fmla="*/ 409044 w 707172"/>
                <a:gd name="connsiteY145" fmla="*/ 22725 h 686611"/>
                <a:gd name="connsiteX146" fmla="*/ 445404 w 707172"/>
                <a:gd name="connsiteY146" fmla="*/ 6817 h 686611"/>
                <a:gd name="connsiteX147" fmla="*/ 461311 w 707172"/>
                <a:gd name="connsiteY147" fmla="*/ 11363 h 686611"/>
                <a:gd name="connsiteX148" fmla="*/ 472673 w 707172"/>
                <a:gd name="connsiteY148" fmla="*/ 11363 h 686611"/>
                <a:gd name="connsiteX149" fmla="*/ 477218 w 707172"/>
                <a:gd name="connsiteY149" fmla="*/ 6817 h 686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</a:cxnLst>
              <a:rect l="l" t="t" r="r" b="b"/>
              <a:pathLst>
                <a:path w="707172" h="686611">
                  <a:moveTo>
                    <a:pt x="493125" y="0"/>
                  </a:moveTo>
                  <a:lnTo>
                    <a:pt x="520395" y="6817"/>
                  </a:lnTo>
                  <a:lnTo>
                    <a:pt x="543120" y="6817"/>
                  </a:lnTo>
                  <a:lnTo>
                    <a:pt x="559027" y="0"/>
                  </a:lnTo>
                  <a:lnTo>
                    <a:pt x="564385" y="8930"/>
                  </a:lnTo>
                  <a:lnTo>
                    <a:pt x="568552" y="7144"/>
                  </a:lnTo>
                  <a:lnTo>
                    <a:pt x="585802" y="35894"/>
                  </a:lnTo>
                  <a:lnTo>
                    <a:pt x="595386" y="38632"/>
                  </a:lnTo>
                  <a:lnTo>
                    <a:pt x="606749" y="27270"/>
                  </a:lnTo>
                  <a:lnTo>
                    <a:pt x="622656" y="34087"/>
                  </a:lnTo>
                  <a:lnTo>
                    <a:pt x="645381" y="22725"/>
                  </a:lnTo>
                  <a:lnTo>
                    <a:pt x="650672" y="31985"/>
                  </a:lnTo>
                  <a:lnTo>
                    <a:pt x="654906" y="29869"/>
                  </a:lnTo>
                  <a:lnTo>
                    <a:pt x="663995" y="45776"/>
                  </a:lnTo>
                  <a:lnTo>
                    <a:pt x="698082" y="73046"/>
                  </a:lnTo>
                  <a:lnTo>
                    <a:pt x="691797" y="106571"/>
                  </a:lnTo>
                  <a:lnTo>
                    <a:pt x="697647" y="109079"/>
                  </a:lnTo>
                  <a:lnTo>
                    <a:pt x="696242" y="111538"/>
                  </a:lnTo>
                  <a:lnTo>
                    <a:pt x="707172" y="116223"/>
                  </a:lnTo>
                  <a:lnTo>
                    <a:pt x="698082" y="132130"/>
                  </a:lnTo>
                  <a:lnTo>
                    <a:pt x="679903" y="143492"/>
                  </a:lnTo>
                  <a:lnTo>
                    <a:pt x="670813" y="159399"/>
                  </a:lnTo>
                  <a:lnTo>
                    <a:pt x="659450" y="179852"/>
                  </a:lnTo>
                  <a:lnTo>
                    <a:pt x="659450" y="207121"/>
                  </a:lnTo>
                  <a:lnTo>
                    <a:pt x="648088" y="218483"/>
                  </a:lnTo>
                  <a:lnTo>
                    <a:pt x="648088" y="245753"/>
                  </a:lnTo>
                  <a:lnTo>
                    <a:pt x="636726" y="254843"/>
                  </a:lnTo>
                  <a:lnTo>
                    <a:pt x="636726" y="282112"/>
                  </a:lnTo>
                  <a:lnTo>
                    <a:pt x="632181" y="282112"/>
                  </a:lnTo>
                  <a:lnTo>
                    <a:pt x="627636" y="304837"/>
                  </a:lnTo>
                  <a:lnTo>
                    <a:pt x="636726" y="320744"/>
                  </a:lnTo>
                  <a:lnTo>
                    <a:pt x="636726" y="363921"/>
                  </a:lnTo>
                  <a:lnTo>
                    <a:pt x="643543" y="395736"/>
                  </a:lnTo>
                  <a:lnTo>
                    <a:pt x="643543" y="416188"/>
                  </a:lnTo>
                  <a:lnTo>
                    <a:pt x="648088" y="438913"/>
                  </a:lnTo>
                  <a:lnTo>
                    <a:pt x="670813" y="459365"/>
                  </a:lnTo>
                  <a:lnTo>
                    <a:pt x="691265" y="502542"/>
                  </a:lnTo>
                  <a:lnTo>
                    <a:pt x="675358" y="502542"/>
                  </a:lnTo>
                  <a:lnTo>
                    <a:pt x="627636" y="509359"/>
                  </a:lnTo>
                  <a:lnTo>
                    <a:pt x="616274" y="513904"/>
                  </a:lnTo>
                  <a:lnTo>
                    <a:pt x="604911" y="534356"/>
                  </a:lnTo>
                  <a:lnTo>
                    <a:pt x="616274" y="552536"/>
                  </a:lnTo>
                  <a:lnTo>
                    <a:pt x="611729" y="593440"/>
                  </a:lnTo>
                  <a:lnTo>
                    <a:pt x="605461" y="628958"/>
                  </a:lnTo>
                  <a:lnTo>
                    <a:pt x="606749" y="629473"/>
                  </a:lnTo>
                  <a:lnTo>
                    <a:pt x="613568" y="635535"/>
                  </a:lnTo>
                  <a:lnTo>
                    <a:pt x="616274" y="636617"/>
                  </a:lnTo>
                  <a:lnTo>
                    <a:pt x="628089" y="647120"/>
                  </a:lnTo>
                  <a:lnTo>
                    <a:pt x="638563" y="640835"/>
                  </a:lnTo>
                  <a:lnTo>
                    <a:pt x="640615" y="652463"/>
                  </a:lnTo>
                  <a:lnTo>
                    <a:pt x="648088" y="647979"/>
                  </a:lnTo>
                  <a:lnTo>
                    <a:pt x="654906" y="686611"/>
                  </a:lnTo>
                  <a:lnTo>
                    <a:pt x="620819" y="686611"/>
                  </a:lnTo>
                  <a:lnTo>
                    <a:pt x="617961" y="679467"/>
                  </a:lnTo>
                  <a:lnTo>
                    <a:pt x="611294" y="679467"/>
                  </a:lnTo>
                  <a:lnTo>
                    <a:pt x="602204" y="656743"/>
                  </a:lnTo>
                  <a:lnTo>
                    <a:pt x="592964" y="647503"/>
                  </a:lnTo>
                  <a:lnTo>
                    <a:pt x="568552" y="643434"/>
                  </a:lnTo>
                  <a:lnTo>
                    <a:pt x="564046" y="637127"/>
                  </a:lnTo>
                  <a:lnTo>
                    <a:pt x="559027" y="636290"/>
                  </a:lnTo>
                  <a:lnTo>
                    <a:pt x="553833" y="629019"/>
                  </a:lnTo>
                  <a:lnTo>
                    <a:pt x="536737" y="636617"/>
                  </a:lnTo>
                  <a:lnTo>
                    <a:pt x="509468" y="632072"/>
                  </a:lnTo>
                  <a:lnTo>
                    <a:pt x="502800" y="625404"/>
                  </a:lnTo>
                  <a:lnTo>
                    <a:pt x="499943" y="624928"/>
                  </a:lnTo>
                  <a:lnTo>
                    <a:pt x="490584" y="615569"/>
                  </a:lnTo>
                  <a:lnTo>
                    <a:pt x="470836" y="611620"/>
                  </a:lnTo>
                  <a:lnTo>
                    <a:pt x="454929" y="611620"/>
                  </a:lnTo>
                  <a:lnTo>
                    <a:pt x="452071" y="604476"/>
                  </a:lnTo>
                  <a:lnTo>
                    <a:pt x="445404" y="604476"/>
                  </a:lnTo>
                  <a:lnTo>
                    <a:pt x="443716" y="600258"/>
                  </a:lnTo>
                  <a:lnTo>
                    <a:pt x="439021" y="600258"/>
                  </a:lnTo>
                  <a:lnTo>
                    <a:pt x="423114" y="600258"/>
                  </a:lnTo>
                  <a:lnTo>
                    <a:pt x="400389" y="604802"/>
                  </a:lnTo>
                  <a:lnTo>
                    <a:pt x="384482" y="604802"/>
                  </a:lnTo>
                  <a:lnTo>
                    <a:pt x="375392" y="604802"/>
                  </a:lnTo>
                  <a:lnTo>
                    <a:pt x="375392" y="597658"/>
                  </a:lnTo>
                  <a:lnTo>
                    <a:pt x="374957" y="597658"/>
                  </a:lnTo>
                  <a:lnTo>
                    <a:pt x="365867" y="597658"/>
                  </a:lnTo>
                  <a:lnTo>
                    <a:pt x="365867" y="554482"/>
                  </a:lnTo>
                  <a:lnTo>
                    <a:pt x="354505" y="538574"/>
                  </a:lnTo>
                  <a:lnTo>
                    <a:pt x="347688" y="518122"/>
                  </a:lnTo>
                  <a:lnTo>
                    <a:pt x="354505" y="495398"/>
                  </a:lnTo>
                  <a:lnTo>
                    <a:pt x="347688" y="479490"/>
                  </a:lnTo>
                  <a:lnTo>
                    <a:pt x="347688" y="466182"/>
                  </a:lnTo>
                  <a:lnTo>
                    <a:pt x="316308" y="466182"/>
                  </a:lnTo>
                  <a:lnTo>
                    <a:pt x="316308" y="459038"/>
                  </a:lnTo>
                  <a:lnTo>
                    <a:pt x="306783" y="459038"/>
                  </a:lnTo>
                  <a:lnTo>
                    <a:pt x="306783" y="454820"/>
                  </a:lnTo>
                  <a:lnTo>
                    <a:pt x="298128" y="454820"/>
                  </a:lnTo>
                  <a:lnTo>
                    <a:pt x="293583" y="459365"/>
                  </a:lnTo>
                  <a:lnTo>
                    <a:pt x="273131" y="459365"/>
                  </a:lnTo>
                  <a:lnTo>
                    <a:pt x="261769" y="482089"/>
                  </a:lnTo>
                  <a:lnTo>
                    <a:pt x="257224" y="493452"/>
                  </a:lnTo>
                  <a:lnTo>
                    <a:pt x="239044" y="486634"/>
                  </a:lnTo>
                  <a:lnTo>
                    <a:pt x="223137" y="493452"/>
                  </a:lnTo>
                  <a:lnTo>
                    <a:pt x="202685" y="493452"/>
                  </a:lnTo>
                  <a:lnTo>
                    <a:pt x="196434" y="486308"/>
                  </a:lnTo>
                  <a:lnTo>
                    <a:pt x="193160" y="486308"/>
                  </a:lnTo>
                  <a:lnTo>
                    <a:pt x="177253" y="468128"/>
                  </a:lnTo>
                  <a:lnTo>
                    <a:pt x="170435" y="459038"/>
                  </a:lnTo>
                  <a:lnTo>
                    <a:pt x="161345" y="431769"/>
                  </a:lnTo>
                  <a:lnTo>
                    <a:pt x="153426" y="415929"/>
                  </a:lnTo>
                  <a:lnTo>
                    <a:pt x="52702" y="411643"/>
                  </a:lnTo>
                  <a:lnTo>
                    <a:pt x="36795" y="416188"/>
                  </a:lnTo>
                  <a:lnTo>
                    <a:pt x="29977" y="416188"/>
                  </a:lnTo>
                  <a:lnTo>
                    <a:pt x="14070" y="423005"/>
                  </a:lnTo>
                  <a:lnTo>
                    <a:pt x="10237" y="413422"/>
                  </a:lnTo>
                  <a:lnTo>
                    <a:pt x="4545" y="415861"/>
                  </a:lnTo>
                  <a:lnTo>
                    <a:pt x="0" y="404499"/>
                  </a:lnTo>
                  <a:lnTo>
                    <a:pt x="4545" y="399954"/>
                  </a:lnTo>
                  <a:lnTo>
                    <a:pt x="9090" y="384047"/>
                  </a:lnTo>
                  <a:lnTo>
                    <a:pt x="15908" y="372684"/>
                  </a:lnTo>
                  <a:lnTo>
                    <a:pt x="27270" y="365867"/>
                  </a:lnTo>
                  <a:lnTo>
                    <a:pt x="36360" y="372684"/>
                  </a:lnTo>
                  <a:lnTo>
                    <a:pt x="47722" y="356777"/>
                  </a:lnTo>
                  <a:lnTo>
                    <a:pt x="68174" y="356777"/>
                  </a:lnTo>
                  <a:lnTo>
                    <a:pt x="73532" y="363921"/>
                  </a:lnTo>
                  <a:lnTo>
                    <a:pt x="77699" y="363921"/>
                  </a:lnTo>
                  <a:lnTo>
                    <a:pt x="82568" y="370413"/>
                  </a:lnTo>
                  <a:lnTo>
                    <a:pt x="86354" y="372684"/>
                  </a:lnTo>
                  <a:lnTo>
                    <a:pt x="106806" y="349960"/>
                  </a:lnTo>
                  <a:lnTo>
                    <a:pt x="129531" y="334053"/>
                  </a:lnTo>
                  <a:lnTo>
                    <a:pt x="138621" y="324963"/>
                  </a:lnTo>
                  <a:lnTo>
                    <a:pt x="138621" y="290876"/>
                  </a:lnTo>
                  <a:lnTo>
                    <a:pt x="149983" y="254516"/>
                  </a:lnTo>
                  <a:lnTo>
                    <a:pt x="170435" y="238609"/>
                  </a:lnTo>
                  <a:lnTo>
                    <a:pt x="193160" y="222702"/>
                  </a:lnTo>
                  <a:lnTo>
                    <a:pt x="197705" y="204522"/>
                  </a:lnTo>
                  <a:lnTo>
                    <a:pt x="197705" y="195432"/>
                  </a:lnTo>
                  <a:lnTo>
                    <a:pt x="209067" y="184070"/>
                  </a:lnTo>
                  <a:lnTo>
                    <a:pt x="204522" y="161345"/>
                  </a:lnTo>
                  <a:lnTo>
                    <a:pt x="209067" y="129531"/>
                  </a:lnTo>
                  <a:lnTo>
                    <a:pt x="213612" y="102261"/>
                  </a:lnTo>
                  <a:lnTo>
                    <a:pt x="224974" y="86354"/>
                  </a:lnTo>
                  <a:lnTo>
                    <a:pt x="229519" y="65902"/>
                  </a:lnTo>
                  <a:lnTo>
                    <a:pt x="229519" y="38632"/>
                  </a:lnTo>
                  <a:lnTo>
                    <a:pt x="247699" y="18180"/>
                  </a:lnTo>
                  <a:lnTo>
                    <a:pt x="268151" y="6817"/>
                  </a:lnTo>
                  <a:lnTo>
                    <a:pt x="295421" y="22725"/>
                  </a:lnTo>
                  <a:lnTo>
                    <a:pt x="322690" y="34087"/>
                  </a:lnTo>
                  <a:lnTo>
                    <a:pt x="347688" y="38632"/>
                  </a:lnTo>
                  <a:lnTo>
                    <a:pt x="374957" y="43177"/>
                  </a:lnTo>
                  <a:lnTo>
                    <a:pt x="386319" y="22725"/>
                  </a:lnTo>
                  <a:lnTo>
                    <a:pt x="390864" y="18180"/>
                  </a:lnTo>
                  <a:lnTo>
                    <a:pt x="409044" y="22725"/>
                  </a:lnTo>
                  <a:lnTo>
                    <a:pt x="445404" y="6817"/>
                  </a:lnTo>
                  <a:lnTo>
                    <a:pt x="461311" y="11363"/>
                  </a:lnTo>
                  <a:lnTo>
                    <a:pt x="472673" y="11363"/>
                  </a:lnTo>
                  <a:lnTo>
                    <a:pt x="477218" y="681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63" name="Freeform 8">
              <a:extLst>
                <a:ext uri="{FF2B5EF4-FFF2-40B4-BE49-F238E27FC236}">
                  <a16:creationId xmlns:a16="http://schemas.microsoft.com/office/drawing/2014/main" id="{D44BA531-1C9D-30C4-C82A-5384A53269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5666" y="3252847"/>
              <a:ext cx="219679" cy="243699"/>
            </a:xfrm>
            <a:custGeom>
              <a:avLst/>
              <a:gdLst>
                <a:gd name="T0" fmla="*/ 76 w 204"/>
                <a:gd name="T1" fmla="*/ 24 h 223"/>
                <a:gd name="T2" fmla="*/ 85 w 204"/>
                <a:gd name="T3" fmla="*/ 45 h 223"/>
                <a:gd name="T4" fmla="*/ 95 w 204"/>
                <a:gd name="T5" fmla="*/ 60 h 223"/>
                <a:gd name="T6" fmla="*/ 111 w 204"/>
                <a:gd name="T7" fmla="*/ 55 h 223"/>
                <a:gd name="T8" fmla="*/ 123 w 204"/>
                <a:gd name="T9" fmla="*/ 55 h 223"/>
                <a:gd name="T10" fmla="*/ 137 w 204"/>
                <a:gd name="T11" fmla="*/ 45 h 223"/>
                <a:gd name="T12" fmla="*/ 147 w 204"/>
                <a:gd name="T13" fmla="*/ 41 h 223"/>
                <a:gd name="T14" fmla="*/ 163 w 204"/>
                <a:gd name="T15" fmla="*/ 48 h 223"/>
                <a:gd name="T16" fmla="*/ 168 w 204"/>
                <a:gd name="T17" fmla="*/ 64 h 223"/>
                <a:gd name="T18" fmla="*/ 166 w 204"/>
                <a:gd name="T19" fmla="*/ 83 h 223"/>
                <a:gd name="T20" fmla="*/ 171 w 204"/>
                <a:gd name="T21" fmla="*/ 109 h 223"/>
                <a:gd name="T22" fmla="*/ 182 w 204"/>
                <a:gd name="T23" fmla="*/ 107 h 223"/>
                <a:gd name="T24" fmla="*/ 199 w 204"/>
                <a:gd name="T25" fmla="*/ 107 h 223"/>
                <a:gd name="T26" fmla="*/ 199 w 204"/>
                <a:gd name="T27" fmla="*/ 119 h 223"/>
                <a:gd name="T28" fmla="*/ 201 w 204"/>
                <a:gd name="T29" fmla="*/ 133 h 223"/>
                <a:gd name="T30" fmla="*/ 168 w 204"/>
                <a:gd name="T31" fmla="*/ 140 h 223"/>
                <a:gd name="T32" fmla="*/ 178 w 204"/>
                <a:gd name="T33" fmla="*/ 206 h 223"/>
                <a:gd name="T34" fmla="*/ 159 w 204"/>
                <a:gd name="T35" fmla="*/ 223 h 223"/>
                <a:gd name="T36" fmla="*/ 107 w 204"/>
                <a:gd name="T37" fmla="*/ 211 h 223"/>
                <a:gd name="T38" fmla="*/ 38 w 204"/>
                <a:gd name="T39" fmla="*/ 213 h 223"/>
                <a:gd name="T40" fmla="*/ 19 w 204"/>
                <a:gd name="T41" fmla="*/ 206 h 223"/>
                <a:gd name="T42" fmla="*/ 3 w 204"/>
                <a:gd name="T43" fmla="*/ 211 h 223"/>
                <a:gd name="T44" fmla="*/ 3 w 204"/>
                <a:gd name="T45" fmla="*/ 187 h 223"/>
                <a:gd name="T46" fmla="*/ 10 w 204"/>
                <a:gd name="T47" fmla="*/ 164 h 223"/>
                <a:gd name="T48" fmla="*/ 19 w 204"/>
                <a:gd name="T49" fmla="*/ 142 h 223"/>
                <a:gd name="T50" fmla="*/ 33 w 204"/>
                <a:gd name="T51" fmla="*/ 123 h 223"/>
                <a:gd name="T52" fmla="*/ 33 w 204"/>
                <a:gd name="T53" fmla="*/ 102 h 223"/>
                <a:gd name="T54" fmla="*/ 24 w 204"/>
                <a:gd name="T55" fmla="*/ 88 h 223"/>
                <a:gd name="T56" fmla="*/ 22 w 204"/>
                <a:gd name="T57" fmla="*/ 74 h 223"/>
                <a:gd name="T58" fmla="*/ 22 w 204"/>
                <a:gd name="T59" fmla="*/ 52 h 223"/>
                <a:gd name="T60" fmla="*/ 10 w 204"/>
                <a:gd name="T61" fmla="*/ 31 h 223"/>
                <a:gd name="T62" fmla="*/ 19 w 204"/>
                <a:gd name="T63" fmla="*/ 26 h 223"/>
                <a:gd name="T64" fmla="*/ 29 w 204"/>
                <a:gd name="T65" fmla="*/ 24 h 223"/>
                <a:gd name="T66" fmla="*/ 12 w 204"/>
                <a:gd name="T67" fmla="*/ 22 h 223"/>
                <a:gd name="T68" fmla="*/ 10 w 204"/>
                <a:gd name="T69" fmla="*/ 22 h 223"/>
                <a:gd name="T70" fmla="*/ 12 w 204"/>
                <a:gd name="T71" fmla="*/ 5 h 223"/>
                <a:gd name="T72" fmla="*/ 24 w 204"/>
                <a:gd name="T73" fmla="*/ 7 h 223"/>
                <a:gd name="T74" fmla="*/ 14 w 204"/>
                <a:gd name="T75" fmla="*/ 15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4" h="223">
                  <a:moveTo>
                    <a:pt x="76" y="24"/>
                  </a:moveTo>
                  <a:lnTo>
                    <a:pt x="76" y="24"/>
                  </a:lnTo>
                  <a:lnTo>
                    <a:pt x="81" y="36"/>
                  </a:lnTo>
                  <a:lnTo>
                    <a:pt x="85" y="45"/>
                  </a:lnTo>
                  <a:lnTo>
                    <a:pt x="90" y="52"/>
                  </a:lnTo>
                  <a:lnTo>
                    <a:pt x="95" y="60"/>
                  </a:lnTo>
                  <a:lnTo>
                    <a:pt x="107" y="57"/>
                  </a:lnTo>
                  <a:lnTo>
                    <a:pt x="111" y="55"/>
                  </a:lnTo>
                  <a:lnTo>
                    <a:pt x="121" y="57"/>
                  </a:lnTo>
                  <a:lnTo>
                    <a:pt x="123" y="55"/>
                  </a:lnTo>
                  <a:lnTo>
                    <a:pt x="126" y="45"/>
                  </a:lnTo>
                  <a:lnTo>
                    <a:pt x="137" y="45"/>
                  </a:lnTo>
                  <a:lnTo>
                    <a:pt x="137" y="41"/>
                  </a:lnTo>
                  <a:lnTo>
                    <a:pt x="147" y="41"/>
                  </a:lnTo>
                  <a:lnTo>
                    <a:pt x="145" y="48"/>
                  </a:lnTo>
                  <a:lnTo>
                    <a:pt x="163" y="48"/>
                  </a:lnTo>
                  <a:lnTo>
                    <a:pt x="163" y="57"/>
                  </a:lnTo>
                  <a:lnTo>
                    <a:pt x="168" y="64"/>
                  </a:lnTo>
                  <a:lnTo>
                    <a:pt x="166" y="74"/>
                  </a:lnTo>
                  <a:lnTo>
                    <a:pt x="166" y="83"/>
                  </a:lnTo>
                  <a:lnTo>
                    <a:pt x="173" y="90"/>
                  </a:lnTo>
                  <a:lnTo>
                    <a:pt x="171" y="109"/>
                  </a:lnTo>
                  <a:lnTo>
                    <a:pt x="175" y="107"/>
                  </a:lnTo>
                  <a:lnTo>
                    <a:pt x="182" y="107"/>
                  </a:lnTo>
                  <a:lnTo>
                    <a:pt x="192" y="104"/>
                  </a:lnTo>
                  <a:lnTo>
                    <a:pt x="199" y="107"/>
                  </a:lnTo>
                  <a:lnTo>
                    <a:pt x="201" y="112"/>
                  </a:lnTo>
                  <a:lnTo>
                    <a:pt x="199" y="119"/>
                  </a:lnTo>
                  <a:lnTo>
                    <a:pt x="204" y="128"/>
                  </a:lnTo>
                  <a:lnTo>
                    <a:pt x="201" y="133"/>
                  </a:lnTo>
                  <a:lnTo>
                    <a:pt x="201" y="140"/>
                  </a:lnTo>
                  <a:lnTo>
                    <a:pt x="168" y="140"/>
                  </a:lnTo>
                  <a:lnTo>
                    <a:pt x="166" y="192"/>
                  </a:lnTo>
                  <a:lnTo>
                    <a:pt x="178" y="206"/>
                  </a:lnTo>
                  <a:lnTo>
                    <a:pt x="190" y="216"/>
                  </a:lnTo>
                  <a:lnTo>
                    <a:pt x="159" y="223"/>
                  </a:lnTo>
                  <a:lnTo>
                    <a:pt x="119" y="220"/>
                  </a:lnTo>
                  <a:lnTo>
                    <a:pt x="107" y="211"/>
                  </a:lnTo>
                  <a:lnTo>
                    <a:pt x="43" y="213"/>
                  </a:lnTo>
                  <a:lnTo>
                    <a:pt x="38" y="213"/>
                  </a:lnTo>
                  <a:lnTo>
                    <a:pt x="29" y="206"/>
                  </a:lnTo>
                  <a:lnTo>
                    <a:pt x="19" y="206"/>
                  </a:lnTo>
                  <a:lnTo>
                    <a:pt x="10" y="209"/>
                  </a:lnTo>
                  <a:lnTo>
                    <a:pt x="3" y="211"/>
                  </a:lnTo>
                  <a:lnTo>
                    <a:pt x="0" y="202"/>
                  </a:lnTo>
                  <a:lnTo>
                    <a:pt x="3" y="187"/>
                  </a:lnTo>
                  <a:lnTo>
                    <a:pt x="7" y="171"/>
                  </a:lnTo>
                  <a:lnTo>
                    <a:pt x="10" y="164"/>
                  </a:lnTo>
                  <a:lnTo>
                    <a:pt x="14" y="149"/>
                  </a:lnTo>
                  <a:lnTo>
                    <a:pt x="19" y="142"/>
                  </a:lnTo>
                  <a:lnTo>
                    <a:pt x="26" y="133"/>
                  </a:lnTo>
                  <a:lnTo>
                    <a:pt x="33" y="123"/>
                  </a:lnTo>
                  <a:lnTo>
                    <a:pt x="33" y="114"/>
                  </a:lnTo>
                  <a:lnTo>
                    <a:pt x="33" y="102"/>
                  </a:lnTo>
                  <a:lnTo>
                    <a:pt x="29" y="97"/>
                  </a:lnTo>
                  <a:lnTo>
                    <a:pt x="24" y="88"/>
                  </a:lnTo>
                  <a:lnTo>
                    <a:pt x="22" y="78"/>
                  </a:lnTo>
                  <a:lnTo>
                    <a:pt x="22" y="74"/>
                  </a:lnTo>
                  <a:lnTo>
                    <a:pt x="26" y="69"/>
                  </a:lnTo>
                  <a:lnTo>
                    <a:pt x="22" y="52"/>
                  </a:lnTo>
                  <a:lnTo>
                    <a:pt x="19" y="41"/>
                  </a:lnTo>
                  <a:lnTo>
                    <a:pt x="10" y="31"/>
                  </a:lnTo>
                  <a:lnTo>
                    <a:pt x="12" y="29"/>
                  </a:lnTo>
                  <a:lnTo>
                    <a:pt x="19" y="26"/>
                  </a:lnTo>
                  <a:lnTo>
                    <a:pt x="24" y="26"/>
                  </a:lnTo>
                  <a:lnTo>
                    <a:pt x="29" y="24"/>
                  </a:lnTo>
                  <a:lnTo>
                    <a:pt x="76" y="24"/>
                  </a:lnTo>
                  <a:close/>
                  <a:moveTo>
                    <a:pt x="12" y="22"/>
                  </a:moveTo>
                  <a:lnTo>
                    <a:pt x="12" y="22"/>
                  </a:lnTo>
                  <a:lnTo>
                    <a:pt x="10" y="22"/>
                  </a:lnTo>
                  <a:lnTo>
                    <a:pt x="5" y="10"/>
                  </a:lnTo>
                  <a:lnTo>
                    <a:pt x="12" y="5"/>
                  </a:lnTo>
                  <a:lnTo>
                    <a:pt x="17" y="0"/>
                  </a:lnTo>
                  <a:lnTo>
                    <a:pt x="24" y="7"/>
                  </a:lnTo>
                  <a:lnTo>
                    <a:pt x="17" y="10"/>
                  </a:lnTo>
                  <a:lnTo>
                    <a:pt x="14" y="15"/>
                  </a:lnTo>
                  <a:lnTo>
                    <a:pt x="12" y="2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64" name="Freeform 51">
              <a:extLst>
                <a:ext uri="{FF2B5EF4-FFF2-40B4-BE49-F238E27FC236}">
                  <a16:creationId xmlns:a16="http://schemas.microsoft.com/office/drawing/2014/main" id="{AF8464F6-62D2-20A3-9CAA-37D3D6F41E9C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5972" y="3110779"/>
              <a:ext cx="131480" cy="157471"/>
            </a:xfrm>
            <a:custGeom>
              <a:avLst/>
              <a:gdLst>
                <a:gd name="connsiteX0" fmla="*/ 224974 w 277458"/>
                <a:gd name="connsiteY0" fmla="*/ 0 h 327452"/>
                <a:gd name="connsiteX1" fmla="*/ 247699 w 277458"/>
                <a:gd name="connsiteY1" fmla="*/ 6818 h 327452"/>
                <a:gd name="connsiteX2" fmla="*/ 272696 w 277458"/>
                <a:gd name="connsiteY2" fmla="*/ 11363 h 327452"/>
                <a:gd name="connsiteX3" fmla="*/ 271864 w 277458"/>
                <a:gd name="connsiteY3" fmla="*/ 15108 h 327452"/>
                <a:gd name="connsiteX4" fmla="*/ 277458 w 277458"/>
                <a:gd name="connsiteY4" fmla="*/ 16125 h 327452"/>
                <a:gd name="connsiteX5" fmla="*/ 272913 w 277458"/>
                <a:gd name="connsiteY5" fmla="*/ 36577 h 327452"/>
                <a:gd name="connsiteX6" fmla="*/ 261551 w 277458"/>
                <a:gd name="connsiteY6" fmla="*/ 52484 h 327452"/>
                <a:gd name="connsiteX7" fmla="*/ 257006 w 277458"/>
                <a:gd name="connsiteY7" fmla="*/ 79754 h 327452"/>
                <a:gd name="connsiteX8" fmla="*/ 252461 w 277458"/>
                <a:gd name="connsiteY8" fmla="*/ 111568 h 327452"/>
                <a:gd name="connsiteX9" fmla="*/ 257006 w 277458"/>
                <a:gd name="connsiteY9" fmla="*/ 134293 h 327452"/>
                <a:gd name="connsiteX10" fmla="*/ 245644 w 277458"/>
                <a:gd name="connsiteY10" fmla="*/ 145655 h 327452"/>
                <a:gd name="connsiteX11" fmla="*/ 245644 w 277458"/>
                <a:gd name="connsiteY11" fmla="*/ 154745 h 327452"/>
                <a:gd name="connsiteX12" fmla="*/ 241099 w 277458"/>
                <a:gd name="connsiteY12" fmla="*/ 172925 h 327452"/>
                <a:gd name="connsiteX13" fmla="*/ 218374 w 277458"/>
                <a:gd name="connsiteY13" fmla="*/ 188832 h 327452"/>
                <a:gd name="connsiteX14" fmla="*/ 202467 w 277458"/>
                <a:gd name="connsiteY14" fmla="*/ 204739 h 327452"/>
                <a:gd name="connsiteX15" fmla="*/ 186560 w 277458"/>
                <a:gd name="connsiteY15" fmla="*/ 241099 h 327452"/>
                <a:gd name="connsiteX16" fmla="*/ 186560 w 277458"/>
                <a:gd name="connsiteY16" fmla="*/ 275186 h 327452"/>
                <a:gd name="connsiteX17" fmla="*/ 177470 w 277458"/>
                <a:gd name="connsiteY17" fmla="*/ 284275 h 327452"/>
                <a:gd name="connsiteX18" fmla="*/ 154745 w 277458"/>
                <a:gd name="connsiteY18" fmla="*/ 300183 h 327452"/>
                <a:gd name="connsiteX19" fmla="*/ 134293 w 277458"/>
                <a:gd name="connsiteY19" fmla="*/ 322907 h 327452"/>
                <a:gd name="connsiteX20" fmla="*/ 122931 w 277458"/>
                <a:gd name="connsiteY20" fmla="*/ 316090 h 327452"/>
                <a:gd name="connsiteX21" fmla="*/ 120333 w 277458"/>
                <a:gd name="connsiteY21" fmla="*/ 312626 h 327452"/>
                <a:gd name="connsiteX22" fmla="*/ 118169 w 277458"/>
                <a:gd name="connsiteY22" fmla="*/ 311328 h 327452"/>
                <a:gd name="connsiteX23" fmla="*/ 114923 w 277458"/>
                <a:gd name="connsiteY23" fmla="*/ 307000 h 327452"/>
                <a:gd name="connsiteX24" fmla="*/ 100206 w 277458"/>
                <a:gd name="connsiteY24" fmla="*/ 307000 h 327452"/>
                <a:gd name="connsiteX25" fmla="*/ 84299 w 277458"/>
                <a:gd name="connsiteY25" fmla="*/ 322907 h 327452"/>
                <a:gd name="connsiteX26" fmla="*/ 80489 w 277458"/>
                <a:gd name="connsiteY26" fmla="*/ 317193 h 327452"/>
                <a:gd name="connsiteX27" fmla="*/ 79537 w 277458"/>
                <a:gd name="connsiteY27" fmla="*/ 318145 h 327452"/>
                <a:gd name="connsiteX28" fmla="*/ 77190 w 277458"/>
                <a:gd name="connsiteY28" fmla="*/ 314625 h 327452"/>
                <a:gd name="connsiteX29" fmla="*/ 63846 w 277458"/>
                <a:gd name="connsiteY29" fmla="*/ 307000 h 327452"/>
                <a:gd name="connsiteX30" fmla="*/ 52484 w 277458"/>
                <a:gd name="connsiteY30" fmla="*/ 311545 h 327452"/>
                <a:gd name="connsiteX31" fmla="*/ 36577 w 277458"/>
                <a:gd name="connsiteY31" fmla="*/ 327452 h 327452"/>
                <a:gd name="connsiteX32" fmla="*/ 32132 w 277458"/>
                <a:gd name="connsiteY32" fmla="*/ 322373 h 327452"/>
                <a:gd name="connsiteX33" fmla="*/ 31815 w 277458"/>
                <a:gd name="connsiteY33" fmla="*/ 322690 h 327452"/>
                <a:gd name="connsiteX34" fmla="*/ 0 w 277458"/>
                <a:gd name="connsiteY34" fmla="*/ 286331 h 327452"/>
                <a:gd name="connsiteX35" fmla="*/ 31815 w 277458"/>
                <a:gd name="connsiteY35" fmla="*/ 263606 h 327452"/>
                <a:gd name="connsiteX36" fmla="*/ 15908 w 277458"/>
                <a:gd name="connsiteY36" fmla="*/ 236337 h 327452"/>
                <a:gd name="connsiteX37" fmla="*/ 31815 w 277458"/>
                <a:gd name="connsiteY37" fmla="*/ 231792 h 327452"/>
                <a:gd name="connsiteX38" fmla="*/ 52267 w 277458"/>
                <a:gd name="connsiteY38" fmla="*/ 227247 h 327452"/>
                <a:gd name="connsiteX39" fmla="*/ 52267 w 277458"/>
                <a:gd name="connsiteY39" fmla="*/ 209067 h 327452"/>
                <a:gd name="connsiteX40" fmla="*/ 74992 w 277458"/>
                <a:gd name="connsiteY40" fmla="*/ 227247 h 327452"/>
                <a:gd name="connsiteX41" fmla="*/ 106806 w 277458"/>
                <a:gd name="connsiteY41" fmla="*/ 227247 h 327452"/>
                <a:gd name="connsiteX42" fmla="*/ 118169 w 277458"/>
                <a:gd name="connsiteY42" fmla="*/ 209067 h 327452"/>
                <a:gd name="connsiteX43" fmla="*/ 122713 w 277458"/>
                <a:gd name="connsiteY43" fmla="*/ 188615 h 327452"/>
                <a:gd name="connsiteX44" fmla="*/ 118169 w 277458"/>
                <a:gd name="connsiteY44" fmla="*/ 156800 h 327452"/>
                <a:gd name="connsiteX45" fmla="*/ 102261 w 277458"/>
                <a:gd name="connsiteY45" fmla="*/ 134076 h 327452"/>
                <a:gd name="connsiteX46" fmla="*/ 117251 w 277458"/>
                <a:gd name="connsiteY46" fmla="*/ 93389 h 327452"/>
                <a:gd name="connsiteX47" fmla="*/ 111568 w 277458"/>
                <a:gd name="connsiteY47" fmla="*/ 91116 h 327452"/>
                <a:gd name="connsiteX48" fmla="*/ 84299 w 277458"/>
                <a:gd name="connsiteY48" fmla="*/ 95661 h 327452"/>
                <a:gd name="connsiteX49" fmla="*/ 83108 w 277458"/>
                <a:gd name="connsiteY49" fmla="*/ 90303 h 327452"/>
                <a:gd name="connsiteX50" fmla="*/ 79537 w 277458"/>
                <a:gd name="connsiteY50" fmla="*/ 90899 h 327452"/>
                <a:gd name="connsiteX51" fmla="*/ 74992 w 277458"/>
                <a:gd name="connsiteY51" fmla="*/ 70447 h 327452"/>
                <a:gd name="connsiteX52" fmla="*/ 74992 w 277458"/>
                <a:gd name="connsiteY52" fmla="*/ 54539 h 327452"/>
                <a:gd name="connsiteX53" fmla="*/ 122713 w 277458"/>
                <a:gd name="connsiteY53" fmla="*/ 54539 h 327452"/>
                <a:gd name="connsiteX54" fmla="*/ 149983 w 277458"/>
                <a:gd name="connsiteY54" fmla="*/ 65902 h 327452"/>
                <a:gd name="connsiteX55" fmla="*/ 177253 w 277458"/>
                <a:gd name="connsiteY55" fmla="*/ 74992 h 327452"/>
                <a:gd name="connsiteX56" fmla="*/ 181798 w 277458"/>
                <a:gd name="connsiteY56" fmla="*/ 54539 h 327452"/>
                <a:gd name="connsiteX57" fmla="*/ 204522 w 277458"/>
                <a:gd name="connsiteY57" fmla="*/ 22725 h 327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77458" h="327452">
                  <a:moveTo>
                    <a:pt x="224974" y="0"/>
                  </a:moveTo>
                  <a:lnTo>
                    <a:pt x="247699" y="6818"/>
                  </a:lnTo>
                  <a:lnTo>
                    <a:pt x="272696" y="11363"/>
                  </a:lnTo>
                  <a:lnTo>
                    <a:pt x="271864" y="15108"/>
                  </a:lnTo>
                  <a:lnTo>
                    <a:pt x="277458" y="16125"/>
                  </a:lnTo>
                  <a:lnTo>
                    <a:pt x="272913" y="36577"/>
                  </a:lnTo>
                  <a:lnTo>
                    <a:pt x="261551" y="52484"/>
                  </a:lnTo>
                  <a:lnTo>
                    <a:pt x="257006" y="79754"/>
                  </a:lnTo>
                  <a:lnTo>
                    <a:pt x="252461" y="111568"/>
                  </a:lnTo>
                  <a:lnTo>
                    <a:pt x="257006" y="134293"/>
                  </a:lnTo>
                  <a:lnTo>
                    <a:pt x="245644" y="145655"/>
                  </a:lnTo>
                  <a:lnTo>
                    <a:pt x="245644" y="154745"/>
                  </a:lnTo>
                  <a:lnTo>
                    <a:pt x="241099" y="172925"/>
                  </a:lnTo>
                  <a:lnTo>
                    <a:pt x="218374" y="188832"/>
                  </a:lnTo>
                  <a:lnTo>
                    <a:pt x="202467" y="204739"/>
                  </a:lnTo>
                  <a:lnTo>
                    <a:pt x="186560" y="241099"/>
                  </a:lnTo>
                  <a:lnTo>
                    <a:pt x="186560" y="275186"/>
                  </a:lnTo>
                  <a:lnTo>
                    <a:pt x="177470" y="284275"/>
                  </a:lnTo>
                  <a:lnTo>
                    <a:pt x="154745" y="300183"/>
                  </a:lnTo>
                  <a:lnTo>
                    <a:pt x="134293" y="322907"/>
                  </a:lnTo>
                  <a:lnTo>
                    <a:pt x="122931" y="316090"/>
                  </a:lnTo>
                  <a:lnTo>
                    <a:pt x="120333" y="312626"/>
                  </a:lnTo>
                  <a:lnTo>
                    <a:pt x="118169" y="311328"/>
                  </a:lnTo>
                  <a:lnTo>
                    <a:pt x="114923" y="307000"/>
                  </a:lnTo>
                  <a:lnTo>
                    <a:pt x="100206" y="307000"/>
                  </a:lnTo>
                  <a:lnTo>
                    <a:pt x="84299" y="322907"/>
                  </a:lnTo>
                  <a:lnTo>
                    <a:pt x="80489" y="317193"/>
                  </a:lnTo>
                  <a:lnTo>
                    <a:pt x="79537" y="318145"/>
                  </a:lnTo>
                  <a:lnTo>
                    <a:pt x="77190" y="314625"/>
                  </a:lnTo>
                  <a:lnTo>
                    <a:pt x="63846" y="307000"/>
                  </a:lnTo>
                  <a:lnTo>
                    <a:pt x="52484" y="311545"/>
                  </a:lnTo>
                  <a:lnTo>
                    <a:pt x="36577" y="327452"/>
                  </a:lnTo>
                  <a:lnTo>
                    <a:pt x="32132" y="322373"/>
                  </a:lnTo>
                  <a:lnTo>
                    <a:pt x="31815" y="322690"/>
                  </a:lnTo>
                  <a:lnTo>
                    <a:pt x="0" y="286331"/>
                  </a:lnTo>
                  <a:lnTo>
                    <a:pt x="31815" y="263606"/>
                  </a:lnTo>
                  <a:lnTo>
                    <a:pt x="15908" y="236337"/>
                  </a:lnTo>
                  <a:lnTo>
                    <a:pt x="31815" y="231792"/>
                  </a:lnTo>
                  <a:lnTo>
                    <a:pt x="52267" y="227247"/>
                  </a:lnTo>
                  <a:lnTo>
                    <a:pt x="52267" y="209067"/>
                  </a:lnTo>
                  <a:lnTo>
                    <a:pt x="74992" y="227247"/>
                  </a:lnTo>
                  <a:lnTo>
                    <a:pt x="106806" y="227247"/>
                  </a:lnTo>
                  <a:lnTo>
                    <a:pt x="118169" y="209067"/>
                  </a:lnTo>
                  <a:lnTo>
                    <a:pt x="122713" y="188615"/>
                  </a:lnTo>
                  <a:lnTo>
                    <a:pt x="118169" y="156800"/>
                  </a:lnTo>
                  <a:lnTo>
                    <a:pt x="102261" y="134076"/>
                  </a:lnTo>
                  <a:lnTo>
                    <a:pt x="117251" y="93389"/>
                  </a:lnTo>
                  <a:lnTo>
                    <a:pt x="111568" y="91116"/>
                  </a:lnTo>
                  <a:lnTo>
                    <a:pt x="84299" y="95661"/>
                  </a:lnTo>
                  <a:lnTo>
                    <a:pt x="83108" y="90303"/>
                  </a:lnTo>
                  <a:lnTo>
                    <a:pt x="79537" y="90899"/>
                  </a:lnTo>
                  <a:lnTo>
                    <a:pt x="74992" y="70447"/>
                  </a:lnTo>
                  <a:lnTo>
                    <a:pt x="74992" y="54539"/>
                  </a:lnTo>
                  <a:lnTo>
                    <a:pt x="122713" y="54539"/>
                  </a:lnTo>
                  <a:lnTo>
                    <a:pt x="149983" y="65902"/>
                  </a:lnTo>
                  <a:lnTo>
                    <a:pt x="177253" y="74992"/>
                  </a:lnTo>
                  <a:lnTo>
                    <a:pt x="181798" y="54539"/>
                  </a:lnTo>
                  <a:lnTo>
                    <a:pt x="204522" y="2272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65" name="Freeform 52">
              <a:extLst>
                <a:ext uri="{FF2B5EF4-FFF2-40B4-BE49-F238E27FC236}">
                  <a16:creationId xmlns:a16="http://schemas.microsoft.com/office/drawing/2014/main" id="{4A061D9F-BB55-7A9A-8AD2-8BE1DB109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4744" y="3137008"/>
              <a:ext cx="36613" cy="25239"/>
            </a:xfrm>
            <a:custGeom>
              <a:avLst/>
              <a:gdLst>
                <a:gd name="connsiteX0" fmla="*/ 18180 w 77264"/>
                <a:gd name="connsiteY0" fmla="*/ 0 h 52484"/>
                <a:gd name="connsiteX1" fmla="*/ 77264 w 77264"/>
                <a:gd name="connsiteY1" fmla="*/ 0 h 52484"/>
                <a:gd name="connsiteX2" fmla="*/ 77264 w 77264"/>
                <a:gd name="connsiteY2" fmla="*/ 4762 h 52484"/>
                <a:gd name="connsiteX3" fmla="*/ 77264 w 77264"/>
                <a:gd name="connsiteY3" fmla="*/ 43177 h 52484"/>
                <a:gd name="connsiteX4" fmla="*/ 77264 w 77264"/>
                <a:gd name="connsiteY4" fmla="*/ 47939 h 52484"/>
                <a:gd name="connsiteX5" fmla="*/ 22725 w 77264"/>
                <a:gd name="connsiteY5" fmla="*/ 47939 h 52484"/>
                <a:gd name="connsiteX6" fmla="*/ 6818 w 77264"/>
                <a:gd name="connsiteY6" fmla="*/ 52484 h 52484"/>
                <a:gd name="connsiteX7" fmla="*/ 0 w 77264"/>
                <a:gd name="connsiteY7" fmla="*/ 41122 h 52484"/>
                <a:gd name="connsiteX8" fmla="*/ 1299 w 77264"/>
                <a:gd name="connsiteY8" fmla="*/ 38524 h 52484"/>
                <a:gd name="connsiteX9" fmla="*/ 0 w 77264"/>
                <a:gd name="connsiteY9" fmla="*/ 36360 h 5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7264" h="52484">
                  <a:moveTo>
                    <a:pt x="18180" y="0"/>
                  </a:moveTo>
                  <a:lnTo>
                    <a:pt x="77264" y="0"/>
                  </a:lnTo>
                  <a:lnTo>
                    <a:pt x="77264" y="4762"/>
                  </a:lnTo>
                  <a:lnTo>
                    <a:pt x="77264" y="43177"/>
                  </a:lnTo>
                  <a:lnTo>
                    <a:pt x="77264" y="47939"/>
                  </a:lnTo>
                  <a:lnTo>
                    <a:pt x="22725" y="47939"/>
                  </a:lnTo>
                  <a:lnTo>
                    <a:pt x="6818" y="52484"/>
                  </a:lnTo>
                  <a:lnTo>
                    <a:pt x="0" y="41122"/>
                  </a:lnTo>
                  <a:lnTo>
                    <a:pt x="1299" y="38524"/>
                  </a:lnTo>
                  <a:lnTo>
                    <a:pt x="0" y="3636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66" name="Freeform 53">
              <a:extLst>
                <a:ext uri="{FF2B5EF4-FFF2-40B4-BE49-F238E27FC236}">
                  <a16:creationId xmlns:a16="http://schemas.microsoft.com/office/drawing/2014/main" id="{62578588-2A6C-6D75-FE37-EA660870E63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7206" y="3137008"/>
              <a:ext cx="96918" cy="111624"/>
            </a:xfrm>
            <a:custGeom>
              <a:avLst/>
              <a:gdLst>
                <a:gd name="connsiteX0" fmla="*/ 93171 w 204522"/>
                <a:gd name="connsiteY0" fmla="*/ 0 h 232118"/>
                <a:gd name="connsiteX1" fmla="*/ 109079 w 204522"/>
                <a:gd name="connsiteY1" fmla="*/ 0 h 232118"/>
                <a:gd name="connsiteX2" fmla="*/ 129531 w 204522"/>
                <a:gd name="connsiteY2" fmla="*/ 0 h 232118"/>
                <a:gd name="connsiteX3" fmla="*/ 152256 w 204522"/>
                <a:gd name="connsiteY3" fmla="*/ 0 h 232118"/>
                <a:gd name="connsiteX4" fmla="*/ 156800 w 204522"/>
                <a:gd name="connsiteY4" fmla="*/ 0 h 232118"/>
                <a:gd name="connsiteX5" fmla="*/ 156800 w 204522"/>
                <a:gd name="connsiteY5" fmla="*/ 7143 h 232118"/>
                <a:gd name="connsiteX6" fmla="*/ 156800 w 204522"/>
                <a:gd name="connsiteY6" fmla="*/ 15908 h 232118"/>
                <a:gd name="connsiteX7" fmla="*/ 161345 w 204522"/>
                <a:gd name="connsiteY7" fmla="*/ 31815 h 232118"/>
                <a:gd name="connsiteX8" fmla="*/ 188615 w 204522"/>
                <a:gd name="connsiteY8" fmla="*/ 31815 h 232118"/>
                <a:gd name="connsiteX9" fmla="*/ 199977 w 204522"/>
                <a:gd name="connsiteY9" fmla="*/ 36360 h 232118"/>
                <a:gd name="connsiteX10" fmla="*/ 197684 w 204522"/>
                <a:gd name="connsiteY10" fmla="*/ 42585 h 232118"/>
                <a:gd name="connsiteX11" fmla="*/ 199977 w 204522"/>
                <a:gd name="connsiteY11" fmla="*/ 43503 h 232118"/>
                <a:gd name="connsiteX12" fmla="*/ 185794 w 204522"/>
                <a:gd name="connsiteY12" fmla="*/ 82000 h 232118"/>
                <a:gd name="connsiteX13" fmla="*/ 199977 w 204522"/>
                <a:gd name="connsiteY13" fmla="*/ 102262 h 232118"/>
                <a:gd name="connsiteX14" fmla="*/ 204522 w 204522"/>
                <a:gd name="connsiteY14" fmla="*/ 129531 h 232118"/>
                <a:gd name="connsiteX15" fmla="*/ 203901 w 204522"/>
                <a:gd name="connsiteY15" fmla="*/ 132947 h 232118"/>
                <a:gd name="connsiteX16" fmla="*/ 204522 w 204522"/>
                <a:gd name="connsiteY16" fmla="*/ 136674 h 232118"/>
                <a:gd name="connsiteX17" fmla="*/ 199977 w 204522"/>
                <a:gd name="connsiteY17" fmla="*/ 161672 h 232118"/>
                <a:gd name="connsiteX18" fmla="*/ 188615 w 204522"/>
                <a:gd name="connsiteY18" fmla="*/ 179851 h 232118"/>
                <a:gd name="connsiteX19" fmla="*/ 156800 w 204522"/>
                <a:gd name="connsiteY19" fmla="*/ 179851 h 232118"/>
                <a:gd name="connsiteX20" fmla="*/ 134076 w 204522"/>
                <a:gd name="connsiteY20" fmla="*/ 161672 h 232118"/>
                <a:gd name="connsiteX21" fmla="*/ 134076 w 204522"/>
                <a:gd name="connsiteY21" fmla="*/ 172708 h 232118"/>
                <a:gd name="connsiteX22" fmla="*/ 134076 w 204522"/>
                <a:gd name="connsiteY22" fmla="*/ 179851 h 232118"/>
                <a:gd name="connsiteX23" fmla="*/ 113624 w 204522"/>
                <a:gd name="connsiteY23" fmla="*/ 179851 h 232118"/>
                <a:gd name="connsiteX24" fmla="*/ 100841 w 204522"/>
                <a:gd name="connsiteY24" fmla="*/ 187155 h 232118"/>
                <a:gd name="connsiteX25" fmla="*/ 113624 w 204522"/>
                <a:gd name="connsiteY25" fmla="*/ 209068 h 232118"/>
                <a:gd name="connsiteX26" fmla="*/ 110398 w 204522"/>
                <a:gd name="connsiteY26" fmla="*/ 210681 h 232118"/>
                <a:gd name="connsiteX27" fmla="*/ 113624 w 204522"/>
                <a:gd name="connsiteY27" fmla="*/ 216211 h 232118"/>
                <a:gd name="connsiteX28" fmla="*/ 81809 w 204522"/>
                <a:gd name="connsiteY28" fmla="*/ 232118 h 232118"/>
                <a:gd name="connsiteX29" fmla="*/ 49995 w 204522"/>
                <a:gd name="connsiteY29" fmla="*/ 200304 h 232118"/>
                <a:gd name="connsiteX30" fmla="*/ 22725 w 204522"/>
                <a:gd name="connsiteY30" fmla="*/ 168489 h 232118"/>
                <a:gd name="connsiteX31" fmla="*/ 0 w 204522"/>
                <a:gd name="connsiteY31" fmla="*/ 129857 h 232118"/>
                <a:gd name="connsiteX32" fmla="*/ 0 w 204522"/>
                <a:gd name="connsiteY32" fmla="*/ 122714 h 232118"/>
                <a:gd name="connsiteX33" fmla="*/ 0 w 204522"/>
                <a:gd name="connsiteY33" fmla="*/ 120767 h 232118"/>
                <a:gd name="connsiteX34" fmla="*/ 0 w 204522"/>
                <a:gd name="connsiteY34" fmla="*/ 113624 h 232118"/>
                <a:gd name="connsiteX35" fmla="*/ 11363 w 204522"/>
                <a:gd name="connsiteY35" fmla="*/ 95444 h 232118"/>
                <a:gd name="connsiteX36" fmla="*/ 15908 w 204522"/>
                <a:gd name="connsiteY36" fmla="*/ 74992 h 232118"/>
                <a:gd name="connsiteX37" fmla="*/ 27270 w 204522"/>
                <a:gd name="connsiteY37" fmla="*/ 47722 h 232118"/>
                <a:gd name="connsiteX38" fmla="*/ 38632 w 204522"/>
                <a:gd name="connsiteY38" fmla="*/ 43177 h 232118"/>
                <a:gd name="connsiteX39" fmla="*/ 93171 w 204522"/>
                <a:gd name="connsiteY39" fmla="*/ 43177 h 232118"/>
                <a:gd name="connsiteX40" fmla="*/ 93171 w 204522"/>
                <a:gd name="connsiteY40" fmla="*/ 7143 h 232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04522" h="232118">
                  <a:moveTo>
                    <a:pt x="93171" y="0"/>
                  </a:moveTo>
                  <a:lnTo>
                    <a:pt x="109079" y="0"/>
                  </a:lnTo>
                  <a:lnTo>
                    <a:pt x="129531" y="0"/>
                  </a:lnTo>
                  <a:lnTo>
                    <a:pt x="152256" y="0"/>
                  </a:lnTo>
                  <a:lnTo>
                    <a:pt x="156800" y="0"/>
                  </a:lnTo>
                  <a:lnTo>
                    <a:pt x="156800" y="7143"/>
                  </a:lnTo>
                  <a:lnTo>
                    <a:pt x="156800" y="15908"/>
                  </a:lnTo>
                  <a:lnTo>
                    <a:pt x="161345" y="31815"/>
                  </a:lnTo>
                  <a:lnTo>
                    <a:pt x="188615" y="31815"/>
                  </a:lnTo>
                  <a:lnTo>
                    <a:pt x="199977" y="36360"/>
                  </a:lnTo>
                  <a:lnTo>
                    <a:pt x="197684" y="42585"/>
                  </a:lnTo>
                  <a:lnTo>
                    <a:pt x="199977" y="43503"/>
                  </a:lnTo>
                  <a:lnTo>
                    <a:pt x="185794" y="82000"/>
                  </a:lnTo>
                  <a:lnTo>
                    <a:pt x="199977" y="102262"/>
                  </a:lnTo>
                  <a:lnTo>
                    <a:pt x="204522" y="129531"/>
                  </a:lnTo>
                  <a:lnTo>
                    <a:pt x="203901" y="132947"/>
                  </a:lnTo>
                  <a:lnTo>
                    <a:pt x="204522" y="136674"/>
                  </a:lnTo>
                  <a:lnTo>
                    <a:pt x="199977" y="161672"/>
                  </a:lnTo>
                  <a:lnTo>
                    <a:pt x="188615" y="179851"/>
                  </a:lnTo>
                  <a:lnTo>
                    <a:pt x="156800" y="179851"/>
                  </a:lnTo>
                  <a:lnTo>
                    <a:pt x="134076" y="161672"/>
                  </a:lnTo>
                  <a:lnTo>
                    <a:pt x="134076" y="172708"/>
                  </a:lnTo>
                  <a:lnTo>
                    <a:pt x="134076" y="179851"/>
                  </a:lnTo>
                  <a:lnTo>
                    <a:pt x="113624" y="179851"/>
                  </a:lnTo>
                  <a:lnTo>
                    <a:pt x="100841" y="187155"/>
                  </a:lnTo>
                  <a:lnTo>
                    <a:pt x="113624" y="209068"/>
                  </a:lnTo>
                  <a:lnTo>
                    <a:pt x="110398" y="210681"/>
                  </a:lnTo>
                  <a:lnTo>
                    <a:pt x="113624" y="216211"/>
                  </a:lnTo>
                  <a:lnTo>
                    <a:pt x="81809" y="232118"/>
                  </a:lnTo>
                  <a:lnTo>
                    <a:pt x="49995" y="200304"/>
                  </a:lnTo>
                  <a:lnTo>
                    <a:pt x="22725" y="168489"/>
                  </a:lnTo>
                  <a:lnTo>
                    <a:pt x="0" y="129857"/>
                  </a:lnTo>
                  <a:lnTo>
                    <a:pt x="0" y="122714"/>
                  </a:lnTo>
                  <a:lnTo>
                    <a:pt x="0" y="120767"/>
                  </a:lnTo>
                  <a:lnTo>
                    <a:pt x="0" y="113624"/>
                  </a:lnTo>
                  <a:lnTo>
                    <a:pt x="11363" y="95444"/>
                  </a:lnTo>
                  <a:lnTo>
                    <a:pt x="15908" y="74992"/>
                  </a:lnTo>
                  <a:lnTo>
                    <a:pt x="27270" y="47722"/>
                  </a:lnTo>
                  <a:lnTo>
                    <a:pt x="38632" y="43177"/>
                  </a:lnTo>
                  <a:lnTo>
                    <a:pt x="93171" y="43177"/>
                  </a:lnTo>
                  <a:lnTo>
                    <a:pt x="93171" y="714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67" name="Freeform 54">
              <a:extLst>
                <a:ext uri="{FF2B5EF4-FFF2-40B4-BE49-F238E27FC236}">
                  <a16:creationId xmlns:a16="http://schemas.microsoft.com/office/drawing/2014/main" id="{1707ABF2-09C7-997F-6D4C-B1156D257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4123" y="2978551"/>
              <a:ext cx="229473" cy="164185"/>
            </a:xfrm>
            <a:custGeom>
              <a:avLst/>
              <a:gdLst>
                <a:gd name="connsiteX0" fmla="*/ 311328 w 484252"/>
                <a:gd name="connsiteY0" fmla="*/ 0 h 341413"/>
                <a:gd name="connsiteX1" fmla="*/ 315843 w 484252"/>
                <a:gd name="connsiteY1" fmla="*/ 12042 h 341413"/>
                <a:gd name="connsiteX2" fmla="*/ 316090 w 484252"/>
                <a:gd name="connsiteY2" fmla="*/ 11905 h 341413"/>
                <a:gd name="connsiteX3" fmla="*/ 318695 w 484252"/>
                <a:gd name="connsiteY3" fmla="*/ 18852 h 341413"/>
                <a:gd name="connsiteX4" fmla="*/ 338597 w 484252"/>
                <a:gd name="connsiteY4" fmla="*/ 43177 h 341413"/>
                <a:gd name="connsiteX5" fmla="*/ 338597 w 484252"/>
                <a:gd name="connsiteY5" fmla="*/ 49262 h 341413"/>
                <a:gd name="connsiteX6" fmla="*/ 343359 w 484252"/>
                <a:gd name="connsiteY6" fmla="*/ 55082 h 341413"/>
                <a:gd name="connsiteX7" fmla="*/ 343359 w 484252"/>
                <a:gd name="connsiteY7" fmla="*/ 66445 h 341413"/>
                <a:gd name="connsiteX8" fmla="*/ 338815 w 484252"/>
                <a:gd name="connsiteY8" fmla="*/ 82352 h 341413"/>
                <a:gd name="connsiteX9" fmla="*/ 338815 w 484252"/>
                <a:gd name="connsiteY9" fmla="*/ 85211 h 341413"/>
                <a:gd name="connsiteX10" fmla="*/ 349960 w 484252"/>
                <a:gd name="connsiteY10" fmla="*/ 93171 h 341413"/>
                <a:gd name="connsiteX11" fmla="*/ 377229 w 484252"/>
                <a:gd name="connsiteY11" fmla="*/ 109079 h 341413"/>
                <a:gd name="connsiteX12" fmla="*/ 393137 w 484252"/>
                <a:gd name="connsiteY12" fmla="*/ 124986 h 341413"/>
                <a:gd name="connsiteX13" fmla="*/ 393137 w 484252"/>
                <a:gd name="connsiteY13" fmla="*/ 132129 h 341413"/>
                <a:gd name="connsiteX14" fmla="*/ 397899 w 484252"/>
                <a:gd name="connsiteY14" fmla="*/ 136891 h 341413"/>
                <a:gd name="connsiteX15" fmla="*/ 397899 w 484252"/>
                <a:gd name="connsiteY15" fmla="*/ 139920 h 341413"/>
                <a:gd name="connsiteX16" fmla="*/ 420406 w 484252"/>
                <a:gd name="connsiteY16" fmla="*/ 156801 h 341413"/>
                <a:gd name="connsiteX17" fmla="*/ 436313 w 484252"/>
                <a:gd name="connsiteY17" fmla="*/ 172708 h 341413"/>
                <a:gd name="connsiteX18" fmla="*/ 447676 w 484252"/>
                <a:gd name="connsiteY18" fmla="*/ 195433 h 341413"/>
                <a:gd name="connsiteX19" fmla="*/ 472673 w 484252"/>
                <a:gd name="connsiteY19" fmla="*/ 211340 h 341413"/>
                <a:gd name="connsiteX20" fmla="*/ 479490 w 484252"/>
                <a:gd name="connsiteY20" fmla="*/ 220430 h 341413"/>
                <a:gd name="connsiteX21" fmla="*/ 473011 w 484252"/>
                <a:gd name="connsiteY21" fmla="*/ 220430 h 341413"/>
                <a:gd name="connsiteX22" fmla="*/ 477435 w 484252"/>
                <a:gd name="connsiteY22" fmla="*/ 223245 h 341413"/>
                <a:gd name="connsiteX23" fmla="*/ 484252 w 484252"/>
                <a:gd name="connsiteY23" fmla="*/ 232335 h 341413"/>
                <a:gd name="connsiteX24" fmla="*/ 472890 w 484252"/>
                <a:gd name="connsiteY24" fmla="*/ 232335 h 341413"/>
                <a:gd name="connsiteX25" fmla="*/ 445620 w 484252"/>
                <a:gd name="connsiteY25" fmla="*/ 232335 h 341413"/>
                <a:gd name="connsiteX26" fmla="*/ 418351 w 484252"/>
                <a:gd name="connsiteY26" fmla="*/ 227790 h 341413"/>
                <a:gd name="connsiteX27" fmla="*/ 409261 w 484252"/>
                <a:gd name="connsiteY27" fmla="*/ 232335 h 341413"/>
                <a:gd name="connsiteX28" fmla="*/ 397899 w 484252"/>
                <a:gd name="connsiteY28" fmla="*/ 243697 h 341413"/>
                <a:gd name="connsiteX29" fmla="*/ 386536 w 484252"/>
                <a:gd name="connsiteY29" fmla="*/ 243697 h 341413"/>
                <a:gd name="connsiteX30" fmla="*/ 370629 w 484252"/>
                <a:gd name="connsiteY30" fmla="*/ 239152 h 341413"/>
                <a:gd name="connsiteX31" fmla="*/ 334270 w 484252"/>
                <a:gd name="connsiteY31" fmla="*/ 255059 h 341413"/>
                <a:gd name="connsiteX32" fmla="*/ 316090 w 484252"/>
                <a:gd name="connsiteY32" fmla="*/ 250514 h 341413"/>
                <a:gd name="connsiteX33" fmla="*/ 311545 w 484252"/>
                <a:gd name="connsiteY33" fmla="*/ 255059 h 341413"/>
                <a:gd name="connsiteX34" fmla="*/ 300183 w 484252"/>
                <a:gd name="connsiteY34" fmla="*/ 275512 h 341413"/>
                <a:gd name="connsiteX35" fmla="*/ 272913 w 484252"/>
                <a:gd name="connsiteY35" fmla="*/ 266422 h 341413"/>
                <a:gd name="connsiteX36" fmla="*/ 247916 w 484252"/>
                <a:gd name="connsiteY36" fmla="*/ 266422 h 341413"/>
                <a:gd name="connsiteX37" fmla="*/ 220646 w 484252"/>
                <a:gd name="connsiteY37" fmla="*/ 250514 h 341413"/>
                <a:gd name="connsiteX38" fmla="*/ 193377 w 484252"/>
                <a:gd name="connsiteY38" fmla="*/ 239152 h 341413"/>
                <a:gd name="connsiteX39" fmla="*/ 172925 w 484252"/>
                <a:gd name="connsiteY39" fmla="*/ 250514 h 341413"/>
                <a:gd name="connsiteX40" fmla="*/ 154745 w 484252"/>
                <a:gd name="connsiteY40" fmla="*/ 270967 h 341413"/>
                <a:gd name="connsiteX41" fmla="*/ 154745 w 484252"/>
                <a:gd name="connsiteY41" fmla="*/ 293691 h 341413"/>
                <a:gd name="connsiteX42" fmla="*/ 129748 w 484252"/>
                <a:gd name="connsiteY42" fmla="*/ 293691 h 341413"/>
                <a:gd name="connsiteX43" fmla="*/ 107023 w 484252"/>
                <a:gd name="connsiteY43" fmla="*/ 286874 h 341413"/>
                <a:gd name="connsiteX44" fmla="*/ 86571 w 484252"/>
                <a:gd name="connsiteY44" fmla="*/ 302781 h 341413"/>
                <a:gd name="connsiteX45" fmla="*/ 63846 w 484252"/>
                <a:gd name="connsiteY45" fmla="*/ 341413 h 341413"/>
                <a:gd name="connsiteX46" fmla="*/ 59301 w 484252"/>
                <a:gd name="connsiteY46" fmla="*/ 330051 h 341413"/>
                <a:gd name="connsiteX47" fmla="*/ 59301 w 484252"/>
                <a:gd name="connsiteY47" fmla="*/ 329139 h 341413"/>
                <a:gd name="connsiteX48" fmla="*/ 59084 w 484252"/>
                <a:gd name="connsiteY48" fmla="*/ 329508 h 341413"/>
                <a:gd name="connsiteX49" fmla="*/ 54539 w 484252"/>
                <a:gd name="connsiteY49" fmla="*/ 318146 h 341413"/>
                <a:gd name="connsiteX50" fmla="*/ 54539 w 484252"/>
                <a:gd name="connsiteY50" fmla="*/ 309382 h 341413"/>
                <a:gd name="connsiteX51" fmla="*/ 43394 w 484252"/>
                <a:gd name="connsiteY51" fmla="*/ 298236 h 341413"/>
                <a:gd name="connsiteX52" fmla="*/ 32032 w 484252"/>
                <a:gd name="connsiteY52" fmla="*/ 282329 h 341413"/>
                <a:gd name="connsiteX53" fmla="*/ 27487 w 484252"/>
                <a:gd name="connsiteY53" fmla="*/ 270967 h 341413"/>
                <a:gd name="connsiteX54" fmla="*/ 11580 w 484252"/>
                <a:gd name="connsiteY54" fmla="*/ 250514 h 341413"/>
                <a:gd name="connsiteX55" fmla="*/ 11580 w 484252"/>
                <a:gd name="connsiteY55" fmla="*/ 244732 h 341413"/>
                <a:gd name="connsiteX56" fmla="*/ 6818 w 484252"/>
                <a:gd name="connsiteY56" fmla="*/ 238609 h 341413"/>
                <a:gd name="connsiteX57" fmla="*/ 6818 w 484252"/>
                <a:gd name="connsiteY57" fmla="*/ 228041 h 341413"/>
                <a:gd name="connsiteX58" fmla="*/ 4762 w 484252"/>
                <a:gd name="connsiteY58" fmla="*/ 223245 h 341413"/>
                <a:gd name="connsiteX59" fmla="*/ 4888 w 484252"/>
                <a:gd name="connsiteY59" fmla="*/ 222743 h 341413"/>
                <a:gd name="connsiteX60" fmla="*/ 0 w 484252"/>
                <a:gd name="connsiteY60" fmla="*/ 211340 h 341413"/>
                <a:gd name="connsiteX61" fmla="*/ 6818 w 484252"/>
                <a:gd name="connsiteY61" fmla="*/ 184070 h 341413"/>
                <a:gd name="connsiteX62" fmla="*/ 15908 w 484252"/>
                <a:gd name="connsiteY62" fmla="*/ 179525 h 341413"/>
                <a:gd name="connsiteX63" fmla="*/ 31815 w 484252"/>
                <a:gd name="connsiteY63" fmla="*/ 140893 h 341413"/>
                <a:gd name="connsiteX64" fmla="*/ 65902 w 484252"/>
                <a:gd name="connsiteY64" fmla="*/ 136348 h 341413"/>
                <a:gd name="connsiteX65" fmla="*/ 70447 w 484252"/>
                <a:gd name="connsiteY65" fmla="*/ 129531 h 341413"/>
                <a:gd name="connsiteX66" fmla="*/ 74992 w 484252"/>
                <a:gd name="connsiteY66" fmla="*/ 129531 h 341413"/>
                <a:gd name="connsiteX67" fmla="*/ 86354 w 484252"/>
                <a:gd name="connsiteY67" fmla="*/ 136348 h 341413"/>
                <a:gd name="connsiteX68" fmla="*/ 134076 w 484252"/>
                <a:gd name="connsiteY68" fmla="*/ 124986 h 341413"/>
                <a:gd name="connsiteX69" fmla="*/ 145438 w 484252"/>
                <a:gd name="connsiteY69" fmla="*/ 109079 h 341413"/>
                <a:gd name="connsiteX70" fmla="*/ 167883 w 484252"/>
                <a:gd name="connsiteY70" fmla="*/ 97856 h 341413"/>
                <a:gd name="connsiteX71" fmla="*/ 166107 w 484252"/>
                <a:gd name="connsiteY71" fmla="*/ 93714 h 341413"/>
                <a:gd name="connsiteX72" fmla="*/ 166398 w 484252"/>
                <a:gd name="connsiteY72" fmla="*/ 93598 h 341413"/>
                <a:gd name="connsiteX73" fmla="*/ 161345 w 484252"/>
                <a:gd name="connsiteY73" fmla="*/ 81809 h 341413"/>
                <a:gd name="connsiteX74" fmla="*/ 172708 w 484252"/>
                <a:gd name="connsiteY74" fmla="*/ 77264 h 341413"/>
                <a:gd name="connsiteX75" fmla="*/ 209067 w 484252"/>
                <a:gd name="connsiteY75" fmla="*/ 81809 h 341413"/>
                <a:gd name="connsiteX76" fmla="*/ 243154 w 484252"/>
                <a:gd name="connsiteY76" fmla="*/ 65902 h 341413"/>
                <a:gd name="connsiteX77" fmla="*/ 268151 w 484252"/>
                <a:gd name="connsiteY77" fmla="*/ 22725 h 341413"/>
                <a:gd name="connsiteX78" fmla="*/ 290876 w 484252"/>
                <a:gd name="connsiteY78" fmla="*/ 11362 h 341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484252" h="341413">
                  <a:moveTo>
                    <a:pt x="311328" y="0"/>
                  </a:moveTo>
                  <a:lnTo>
                    <a:pt x="315843" y="12042"/>
                  </a:lnTo>
                  <a:lnTo>
                    <a:pt x="316090" y="11905"/>
                  </a:lnTo>
                  <a:lnTo>
                    <a:pt x="318695" y="18852"/>
                  </a:lnTo>
                  <a:lnTo>
                    <a:pt x="338597" y="43177"/>
                  </a:lnTo>
                  <a:lnTo>
                    <a:pt x="338597" y="49262"/>
                  </a:lnTo>
                  <a:lnTo>
                    <a:pt x="343359" y="55082"/>
                  </a:lnTo>
                  <a:lnTo>
                    <a:pt x="343359" y="66445"/>
                  </a:lnTo>
                  <a:lnTo>
                    <a:pt x="338815" y="82352"/>
                  </a:lnTo>
                  <a:lnTo>
                    <a:pt x="338815" y="85211"/>
                  </a:lnTo>
                  <a:lnTo>
                    <a:pt x="349960" y="93171"/>
                  </a:lnTo>
                  <a:lnTo>
                    <a:pt x="377229" y="109079"/>
                  </a:lnTo>
                  <a:lnTo>
                    <a:pt x="393137" y="124986"/>
                  </a:lnTo>
                  <a:lnTo>
                    <a:pt x="393137" y="132129"/>
                  </a:lnTo>
                  <a:lnTo>
                    <a:pt x="397899" y="136891"/>
                  </a:lnTo>
                  <a:lnTo>
                    <a:pt x="397899" y="139920"/>
                  </a:lnTo>
                  <a:lnTo>
                    <a:pt x="420406" y="156801"/>
                  </a:lnTo>
                  <a:lnTo>
                    <a:pt x="436313" y="172708"/>
                  </a:lnTo>
                  <a:lnTo>
                    <a:pt x="447676" y="195433"/>
                  </a:lnTo>
                  <a:lnTo>
                    <a:pt x="472673" y="211340"/>
                  </a:lnTo>
                  <a:lnTo>
                    <a:pt x="479490" y="220430"/>
                  </a:lnTo>
                  <a:lnTo>
                    <a:pt x="473011" y="220430"/>
                  </a:lnTo>
                  <a:lnTo>
                    <a:pt x="477435" y="223245"/>
                  </a:lnTo>
                  <a:lnTo>
                    <a:pt x="484252" y="232335"/>
                  </a:lnTo>
                  <a:lnTo>
                    <a:pt x="472890" y="232335"/>
                  </a:lnTo>
                  <a:lnTo>
                    <a:pt x="445620" y="232335"/>
                  </a:lnTo>
                  <a:lnTo>
                    <a:pt x="418351" y="227790"/>
                  </a:lnTo>
                  <a:lnTo>
                    <a:pt x="409261" y="232335"/>
                  </a:lnTo>
                  <a:lnTo>
                    <a:pt x="397899" y="243697"/>
                  </a:lnTo>
                  <a:lnTo>
                    <a:pt x="386536" y="243697"/>
                  </a:lnTo>
                  <a:lnTo>
                    <a:pt x="370629" y="239152"/>
                  </a:lnTo>
                  <a:lnTo>
                    <a:pt x="334270" y="255059"/>
                  </a:lnTo>
                  <a:lnTo>
                    <a:pt x="316090" y="250514"/>
                  </a:lnTo>
                  <a:lnTo>
                    <a:pt x="311545" y="255059"/>
                  </a:lnTo>
                  <a:lnTo>
                    <a:pt x="300183" y="275512"/>
                  </a:lnTo>
                  <a:lnTo>
                    <a:pt x="272913" y="266422"/>
                  </a:lnTo>
                  <a:lnTo>
                    <a:pt x="247916" y="266422"/>
                  </a:lnTo>
                  <a:lnTo>
                    <a:pt x="220646" y="250514"/>
                  </a:lnTo>
                  <a:lnTo>
                    <a:pt x="193377" y="239152"/>
                  </a:lnTo>
                  <a:lnTo>
                    <a:pt x="172925" y="250514"/>
                  </a:lnTo>
                  <a:lnTo>
                    <a:pt x="154745" y="270967"/>
                  </a:lnTo>
                  <a:lnTo>
                    <a:pt x="154745" y="293691"/>
                  </a:lnTo>
                  <a:lnTo>
                    <a:pt x="129748" y="293691"/>
                  </a:lnTo>
                  <a:lnTo>
                    <a:pt x="107023" y="286874"/>
                  </a:lnTo>
                  <a:lnTo>
                    <a:pt x="86571" y="302781"/>
                  </a:lnTo>
                  <a:lnTo>
                    <a:pt x="63846" y="341413"/>
                  </a:lnTo>
                  <a:lnTo>
                    <a:pt x="59301" y="330051"/>
                  </a:lnTo>
                  <a:lnTo>
                    <a:pt x="59301" y="329139"/>
                  </a:lnTo>
                  <a:lnTo>
                    <a:pt x="59084" y="329508"/>
                  </a:lnTo>
                  <a:lnTo>
                    <a:pt x="54539" y="318146"/>
                  </a:lnTo>
                  <a:lnTo>
                    <a:pt x="54539" y="309382"/>
                  </a:lnTo>
                  <a:lnTo>
                    <a:pt x="43394" y="298236"/>
                  </a:lnTo>
                  <a:lnTo>
                    <a:pt x="32032" y="282329"/>
                  </a:lnTo>
                  <a:lnTo>
                    <a:pt x="27487" y="270967"/>
                  </a:lnTo>
                  <a:lnTo>
                    <a:pt x="11580" y="250514"/>
                  </a:lnTo>
                  <a:lnTo>
                    <a:pt x="11580" y="244732"/>
                  </a:lnTo>
                  <a:lnTo>
                    <a:pt x="6818" y="238609"/>
                  </a:lnTo>
                  <a:lnTo>
                    <a:pt x="6818" y="228041"/>
                  </a:lnTo>
                  <a:lnTo>
                    <a:pt x="4762" y="223245"/>
                  </a:lnTo>
                  <a:lnTo>
                    <a:pt x="4888" y="222743"/>
                  </a:lnTo>
                  <a:lnTo>
                    <a:pt x="0" y="211340"/>
                  </a:lnTo>
                  <a:lnTo>
                    <a:pt x="6818" y="184070"/>
                  </a:lnTo>
                  <a:lnTo>
                    <a:pt x="15908" y="179525"/>
                  </a:lnTo>
                  <a:lnTo>
                    <a:pt x="31815" y="140893"/>
                  </a:lnTo>
                  <a:lnTo>
                    <a:pt x="65902" y="136348"/>
                  </a:lnTo>
                  <a:lnTo>
                    <a:pt x="70447" y="129531"/>
                  </a:lnTo>
                  <a:lnTo>
                    <a:pt x="74992" y="129531"/>
                  </a:lnTo>
                  <a:lnTo>
                    <a:pt x="86354" y="136348"/>
                  </a:lnTo>
                  <a:lnTo>
                    <a:pt x="134076" y="124986"/>
                  </a:lnTo>
                  <a:lnTo>
                    <a:pt x="145438" y="109079"/>
                  </a:lnTo>
                  <a:lnTo>
                    <a:pt x="167883" y="97856"/>
                  </a:lnTo>
                  <a:lnTo>
                    <a:pt x="166107" y="93714"/>
                  </a:lnTo>
                  <a:lnTo>
                    <a:pt x="166398" y="93598"/>
                  </a:lnTo>
                  <a:lnTo>
                    <a:pt x="161345" y="81809"/>
                  </a:lnTo>
                  <a:lnTo>
                    <a:pt x="172708" y="77264"/>
                  </a:lnTo>
                  <a:lnTo>
                    <a:pt x="209067" y="81809"/>
                  </a:lnTo>
                  <a:lnTo>
                    <a:pt x="243154" y="65902"/>
                  </a:lnTo>
                  <a:lnTo>
                    <a:pt x="268151" y="22725"/>
                  </a:lnTo>
                  <a:lnTo>
                    <a:pt x="290876" y="1136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68" name="Freeform 55">
              <a:extLst>
                <a:ext uri="{FF2B5EF4-FFF2-40B4-BE49-F238E27FC236}">
                  <a16:creationId xmlns:a16="http://schemas.microsoft.com/office/drawing/2014/main" id="{C255C916-CF70-0C9A-A0EE-4500104FA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2898" y="2947949"/>
              <a:ext cx="131480" cy="201183"/>
            </a:xfrm>
            <a:custGeom>
              <a:avLst/>
              <a:gdLst>
                <a:gd name="connsiteX0" fmla="*/ 220430 w 277458"/>
                <a:gd name="connsiteY0" fmla="*/ 0 h 418350"/>
                <a:gd name="connsiteX1" fmla="*/ 223583 w 277458"/>
                <a:gd name="connsiteY1" fmla="*/ 5406 h 418350"/>
                <a:gd name="connsiteX2" fmla="*/ 225192 w 277458"/>
                <a:gd name="connsiteY2" fmla="*/ 4762 h 418350"/>
                <a:gd name="connsiteX3" fmla="*/ 241099 w 277458"/>
                <a:gd name="connsiteY3" fmla="*/ 32032 h 418350"/>
                <a:gd name="connsiteX4" fmla="*/ 241099 w 277458"/>
                <a:gd name="connsiteY4" fmla="*/ 52484 h 418350"/>
                <a:gd name="connsiteX5" fmla="*/ 241099 w 277458"/>
                <a:gd name="connsiteY5" fmla="*/ 79753 h 418350"/>
                <a:gd name="connsiteX6" fmla="*/ 257006 w 277458"/>
                <a:gd name="connsiteY6" fmla="*/ 111568 h 418350"/>
                <a:gd name="connsiteX7" fmla="*/ 241099 w 277458"/>
                <a:gd name="connsiteY7" fmla="*/ 111568 h 418350"/>
                <a:gd name="connsiteX8" fmla="*/ 229736 w 277458"/>
                <a:gd name="connsiteY8" fmla="*/ 118385 h 418350"/>
                <a:gd name="connsiteX9" fmla="*/ 207012 w 277458"/>
                <a:gd name="connsiteY9" fmla="*/ 111568 h 418350"/>
                <a:gd name="connsiteX10" fmla="*/ 202467 w 277458"/>
                <a:gd name="connsiteY10" fmla="*/ 127475 h 418350"/>
                <a:gd name="connsiteX11" fmla="*/ 220430 w 277458"/>
                <a:gd name="connsiteY11" fmla="*/ 145438 h 418350"/>
                <a:gd name="connsiteX12" fmla="*/ 236337 w 277458"/>
                <a:gd name="connsiteY12" fmla="*/ 149983 h 418350"/>
                <a:gd name="connsiteX13" fmla="*/ 237395 w 277458"/>
                <a:gd name="connsiteY13" fmla="*/ 153687 h 418350"/>
                <a:gd name="connsiteX14" fmla="*/ 241099 w 277458"/>
                <a:gd name="connsiteY14" fmla="*/ 154745 h 418350"/>
                <a:gd name="connsiteX15" fmla="*/ 245644 w 277458"/>
                <a:gd name="connsiteY15" fmla="*/ 170652 h 418350"/>
                <a:gd name="connsiteX16" fmla="*/ 257006 w 277458"/>
                <a:gd name="connsiteY16" fmla="*/ 197921 h 418350"/>
                <a:gd name="connsiteX17" fmla="*/ 250189 w 277458"/>
                <a:gd name="connsiteY17" fmla="*/ 209284 h 418350"/>
                <a:gd name="connsiteX18" fmla="*/ 234281 w 277458"/>
                <a:gd name="connsiteY18" fmla="*/ 247916 h 418350"/>
                <a:gd name="connsiteX19" fmla="*/ 225192 w 277458"/>
                <a:gd name="connsiteY19" fmla="*/ 252461 h 418350"/>
                <a:gd name="connsiteX20" fmla="*/ 218374 w 277458"/>
                <a:gd name="connsiteY20" fmla="*/ 279730 h 418350"/>
                <a:gd name="connsiteX21" fmla="*/ 225192 w 277458"/>
                <a:gd name="connsiteY21" fmla="*/ 295637 h 418350"/>
                <a:gd name="connsiteX22" fmla="*/ 225192 w 277458"/>
                <a:gd name="connsiteY22" fmla="*/ 307000 h 418350"/>
                <a:gd name="connsiteX23" fmla="*/ 241099 w 277458"/>
                <a:gd name="connsiteY23" fmla="*/ 327452 h 418350"/>
                <a:gd name="connsiteX24" fmla="*/ 245644 w 277458"/>
                <a:gd name="connsiteY24" fmla="*/ 338814 h 418350"/>
                <a:gd name="connsiteX25" fmla="*/ 255753 w 277458"/>
                <a:gd name="connsiteY25" fmla="*/ 357011 h 418350"/>
                <a:gd name="connsiteX26" fmla="*/ 268151 w 277458"/>
                <a:gd name="connsiteY26" fmla="*/ 365867 h 418350"/>
                <a:gd name="connsiteX27" fmla="*/ 268151 w 277458"/>
                <a:gd name="connsiteY27" fmla="*/ 367227 h 418350"/>
                <a:gd name="connsiteX28" fmla="*/ 272913 w 277458"/>
                <a:gd name="connsiteY28" fmla="*/ 370629 h 418350"/>
                <a:gd name="connsiteX29" fmla="*/ 272913 w 277458"/>
                <a:gd name="connsiteY29" fmla="*/ 386536 h 418350"/>
                <a:gd name="connsiteX30" fmla="*/ 277458 w 277458"/>
                <a:gd name="connsiteY30" fmla="*/ 397898 h 418350"/>
                <a:gd name="connsiteX31" fmla="*/ 272913 w 277458"/>
                <a:gd name="connsiteY31" fmla="*/ 418350 h 418350"/>
                <a:gd name="connsiteX32" fmla="*/ 245644 w 277458"/>
                <a:gd name="connsiteY32" fmla="*/ 409260 h 418350"/>
                <a:gd name="connsiteX33" fmla="*/ 218374 w 277458"/>
                <a:gd name="connsiteY33" fmla="*/ 397898 h 418350"/>
                <a:gd name="connsiteX34" fmla="*/ 170652 w 277458"/>
                <a:gd name="connsiteY34" fmla="*/ 397898 h 418350"/>
                <a:gd name="connsiteX35" fmla="*/ 166107 w 277458"/>
                <a:gd name="connsiteY35" fmla="*/ 397898 h 418350"/>
                <a:gd name="connsiteX36" fmla="*/ 143383 w 277458"/>
                <a:gd name="connsiteY36" fmla="*/ 397898 h 418350"/>
                <a:gd name="connsiteX37" fmla="*/ 122931 w 277458"/>
                <a:gd name="connsiteY37" fmla="*/ 397898 h 418350"/>
                <a:gd name="connsiteX38" fmla="*/ 107023 w 277458"/>
                <a:gd name="connsiteY38" fmla="*/ 397898 h 418350"/>
                <a:gd name="connsiteX39" fmla="*/ 47939 w 277458"/>
                <a:gd name="connsiteY39" fmla="*/ 397898 h 418350"/>
                <a:gd name="connsiteX40" fmla="*/ 48733 w 277458"/>
                <a:gd name="connsiteY40" fmla="*/ 393136 h 418350"/>
                <a:gd name="connsiteX41" fmla="*/ 43177 w 277458"/>
                <a:gd name="connsiteY41" fmla="*/ 393136 h 418350"/>
                <a:gd name="connsiteX42" fmla="*/ 47722 w 277458"/>
                <a:gd name="connsiteY42" fmla="*/ 365867 h 418350"/>
                <a:gd name="connsiteX43" fmla="*/ 34196 w 277458"/>
                <a:gd name="connsiteY43" fmla="*/ 342679 h 418350"/>
                <a:gd name="connsiteX44" fmla="*/ 20670 w 277458"/>
                <a:gd name="connsiteY44" fmla="*/ 338814 h 418350"/>
                <a:gd name="connsiteX45" fmla="*/ 17617 w 277458"/>
                <a:gd name="connsiteY45" fmla="*/ 334541 h 418350"/>
                <a:gd name="connsiteX46" fmla="*/ 15908 w 277458"/>
                <a:gd name="connsiteY46" fmla="*/ 334052 h 418350"/>
                <a:gd name="connsiteX47" fmla="*/ 4545 w 277458"/>
                <a:gd name="connsiteY47" fmla="*/ 318145 h 418350"/>
                <a:gd name="connsiteX48" fmla="*/ 0 w 277458"/>
                <a:gd name="connsiteY48" fmla="*/ 311327 h 418350"/>
                <a:gd name="connsiteX49" fmla="*/ 0 w 277458"/>
                <a:gd name="connsiteY49" fmla="*/ 302238 h 418350"/>
                <a:gd name="connsiteX50" fmla="*/ 9090 w 277458"/>
                <a:gd name="connsiteY50" fmla="*/ 274968 h 418350"/>
                <a:gd name="connsiteX51" fmla="*/ 24997 w 277458"/>
                <a:gd name="connsiteY51" fmla="*/ 243154 h 418350"/>
                <a:gd name="connsiteX52" fmla="*/ 36360 w 277458"/>
                <a:gd name="connsiteY52" fmla="*/ 243154 h 418350"/>
                <a:gd name="connsiteX53" fmla="*/ 59084 w 277458"/>
                <a:gd name="connsiteY53" fmla="*/ 215884 h 418350"/>
                <a:gd name="connsiteX54" fmla="*/ 68174 w 277458"/>
                <a:gd name="connsiteY54" fmla="*/ 215884 h 418350"/>
                <a:gd name="connsiteX55" fmla="*/ 90899 w 277458"/>
                <a:gd name="connsiteY55" fmla="*/ 231791 h 418350"/>
                <a:gd name="connsiteX56" fmla="*/ 118169 w 277458"/>
                <a:gd name="connsiteY56" fmla="*/ 220429 h 418350"/>
                <a:gd name="connsiteX57" fmla="*/ 122713 w 277458"/>
                <a:gd name="connsiteY57" fmla="*/ 204522 h 418350"/>
                <a:gd name="connsiteX58" fmla="*/ 127258 w 277458"/>
                <a:gd name="connsiteY58" fmla="*/ 188615 h 418350"/>
                <a:gd name="connsiteX59" fmla="*/ 134076 w 277458"/>
                <a:gd name="connsiteY59" fmla="*/ 165890 h 418350"/>
                <a:gd name="connsiteX60" fmla="*/ 154528 w 277458"/>
                <a:gd name="connsiteY60" fmla="*/ 156800 h 418350"/>
                <a:gd name="connsiteX61" fmla="*/ 161345 w 277458"/>
                <a:gd name="connsiteY61" fmla="*/ 129531 h 418350"/>
                <a:gd name="connsiteX62" fmla="*/ 170435 w 277458"/>
                <a:gd name="connsiteY62" fmla="*/ 118168 h 418350"/>
                <a:gd name="connsiteX63" fmla="*/ 177253 w 277458"/>
                <a:gd name="connsiteY63" fmla="*/ 102261 h 418350"/>
                <a:gd name="connsiteX64" fmla="*/ 181798 w 277458"/>
                <a:gd name="connsiteY64" fmla="*/ 74991 h 418350"/>
                <a:gd name="connsiteX65" fmla="*/ 213612 w 277458"/>
                <a:gd name="connsiteY65" fmla="*/ 47722 h 418350"/>
                <a:gd name="connsiteX66" fmla="*/ 213612 w 277458"/>
                <a:gd name="connsiteY66" fmla="*/ 38632 h 418350"/>
                <a:gd name="connsiteX67" fmla="*/ 219651 w 277458"/>
                <a:gd name="connsiteY67" fmla="*/ 28568 h 418350"/>
                <a:gd name="connsiteX68" fmla="*/ 207012 w 277458"/>
                <a:gd name="connsiteY68" fmla="*/ 20669 h 418350"/>
                <a:gd name="connsiteX69" fmla="*/ 207791 w 277458"/>
                <a:gd name="connsiteY69" fmla="*/ 19371 h 418350"/>
                <a:gd name="connsiteX70" fmla="*/ 202250 w 277458"/>
                <a:gd name="connsiteY70" fmla="*/ 15907 h 418350"/>
                <a:gd name="connsiteX71" fmla="*/ 209067 w 277458"/>
                <a:gd name="connsiteY71" fmla="*/ 4545 h 418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277458" h="418350">
                  <a:moveTo>
                    <a:pt x="220430" y="0"/>
                  </a:moveTo>
                  <a:lnTo>
                    <a:pt x="223583" y="5406"/>
                  </a:lnTo>
                  <a:lnTo>
                    <a:pt x="225192" y="4762"/>
                  </a:lnTo>
                  <a:lnTo>
                    <a:pt x="241099" y="32032"/>
                  </a:lnTo>
                  <a:lnTo>
                    <a:pt x="241099" y="52484"/>
                  </a:lnTo>
                  <a:lnTo>
                    <a:pt x="241099" y="79753"/>
                  </a:lnTo>
                  <a:lnTo>
                    <a:pt x="257006" y="111568"/>
                  </a:lnTo>
                  <a:lnTo>
                    <a:pt x="241099" y="111568"/>
                  </a:lnTo>
                  <a:lnTo>
                    <a:pt x="229736" y="118385"/>
                  </a:lnTo>
                  <a:lnTo>
                    <a:pt x="207012" y="111568"/>
                  </a:lnTo>
                  <a:lnTo>
                    <a:pt x="202467" y="127475"/>
                  </a:lnTo>
                  <a:lnTo>
                    <a:pt x="220430" y="145438"/>
                  </a:lnTo>
                  <a:lnTo>
                    <a:pt x="236337" y="149983"/>
                  </a:lnTo>
                  <a:lnTo>
                    <a:pt x="237395" y="153687"/>
                  </a:lnTo>
                  <a:lnTo>
                    <a:pt x="241099" y="154745"/>
                  </a:lnTo>
                  <a:lnTo>
                    <a:pt x="245644" y="170652"/>
                  </a:lnTo>
                  <a:lnTo>
                    <a:pt x="257006" y="197921"/>
                  </a:lnTo>
                  <a:lnTo>
                    <a:pt x="250189" y="209284"/>
                  </a:lnTo>
                  <a:lnTo>
                    <a:pt x="234281" y="247916"/>
                  </a:lnTo>
                  <a:lnTo>
                    <a:pt x="225192" y="252461"/>
                  </a:lnTo>
                  <a:lnTo>
                    <a:pt x="218374" y="279730"/>
                  </a:lnTo>
                  <a:lnTo>
                    <a:pt x="225192" y="295637"/>
                  </a:lnTo>
                  <a:lnTo>
                    <a:pt x="225192" y="307000"/>
                  </a:lnTo>
                  <a:lnTo>
                    <a:pt x="241099" y="327452"/>
                  </a:lnTo>
                  <a:lnTo>
                    <a:pt x="245644" y="338814"/>
                  </a:lnTo>
                  <a:lnTo>
                    <a:pt x="255753" y="357011"/>
                  </a:lnTo>
                  <a:lnTo>
                    <a:pt x="268151" y="365867"/>
                  </a:lnTo>
                  <a:lnTo>
                    <a:pt x="268151" y="367227"/>
                  </a:lnTo>
                  <a:lnTo>
                    <a:pt x="272913" y="370629"/>
                  </a:lnTo>
                  <a:lnTo>
                    <a:pt x="272913" y="386536"/>
                  </a:lnTo>
                  <a:lnTo>
                    <a:pt x="277458" y="397898"/>
                  </a:lnTo>
                  <a:lnTo>
                    <a:pt x="272913" y="418350"/>
                  </a:lnTo>
                  <a:lnTo>
                    <a:pt x="245644" y="409260"/>
                  </a:lnTo>
                  <a:lnTo>
                    <a:pt x="218374" y="397898"/>
                  </a:lnTo>
                  <a:lnTo>
                    <a:pt x="170652" y="397898"/>
                  </a:lnTo>
                  <a:lnTo>
                    <a:pt x="166107" y="397898"/>
                  </a:lnTo>
                  <a:lnTo>
                    <a:pt x="143383" y="397898"/>
                  </a:lnTo>
                  <a:lnTo>
                    <a:pt x="122931" y="397898"/>
                  </a:lnTo>
                  <a:lnTo>
                    <a:pt x="107023" y="397898"/>
                  </a:lnTo>
                  <a:lnTo>
                    <a:pt x="47939" y="397898"/>
                  </a:lnTo>
                  <a:lnTo>
                    <a:pt x="48733" y="393136"/>
                  </a:lnTo>
                  <a:lnTo>
                    <a:pt x="43177" y="393136"/>
                  </a:lnTo>
                  <a:lnTo>
                    <a:pt x="47722" y="365867"/>
                  </a:lnTo>
                  <a:lnTo>
                    <a:pt x="34196" y="342679"/>
                  </a:lnTo>
                  <a:lnTo>
                    <a:pt x="20670" y="338814"/>
                  </a:lnTo>
                  <a:lnTo>
                    <a:pt x="17617" y="334541"/>
                  </a:lnTo>
                  <a:lnTo>
                    <a:pt x="15908" y="334052"/>
                  </a:lnTo>
                  <a:lnTo>
                    <a:pt x="4545" y="318145"/>
                  </a:lnTo>
                  <a:lnTo>
                    <a:pt x="0" y="311327"/>
                  </a:lnTo>
                  <a:lnTo>
                    <a:pt x="0" y="302238"/>
                  </a:lnTo>
                  <a:lnTo>
                    <a:pt x="9090" y="274968"/>
                  </a:lnTo>
                  <a:lnTo>
                    <a:pt x="24997" y="243154"/>
                  </a:lnTo>
                  <a:lnTo>
                    <a:pt x="36360" y="243154"/>
                  </a:lnTo>
                  <a:lnTo>
                    <a:pt x="59084" y="215884"/>
                  </a:lnTo>
                  <a:lnTo>
                    <a:pt x="68174" y="215884"/>
                  </a:lnTo>
                  <a:lnTo>
                    <a:pt x="90899" y="231791"/>
                  </a:lnTo>
                  <a:lnTo>
                    <a:pt x="118169" y="220429"/>
                  </a:lnTo>
                  <a:lnTo>
                    <a:pt x="122713" y="204522"/>
                  </a:lnTo>
                  <a:lnTo>
                    <a:pt x="127258" y="188615"/>
                  </a:lnTo>
                  <a:lnTo>
                    <a:pt x="134076" y="165890"/>
                  </a:lnTo>
                  <a:lnTo>
                    <a:pt x="154528" y="156800"/>
                  </a:lnTo>
                  <a:lnTo>
                    <a:pt x="161345" y="129531"/>
                  </a:lnTo>
                  <a:lnTo>
                    <a:pt x="170435" y="118168"/>
                  </a:lnTo>
                  <a:lnTo>
                    <a:pt x="177253" y="102261"/>
                  </a:lnTo>
                  <a:lnTo>
                    <a:pt x="181798" y="74991"/>
                  </a:lnTo>
                  <a:lnTo>
                    <a:pt x="213612" y="47722"/>
                  </a:lnTo>
                  <a:lnTo>
                    <a:pt x="213612" y="38632"/>
                  </a:lnTo>
                  <a:lnTo>
                    <a:pt x="219651" y="28568"/>
                  </a:lnTo>
                  <a:lnTo>
                    <a:pt x="207012" y="20669"/>
                  </a:lnTo>
                  <a:lnTo>
                    <a:pt x="207791" y="19371"/>
                  </a:lnTo>
                  <a:lnTo>
                    <a:pt x="202250" y="15907"/>
                  </a:lnTo>
                  <a:lnTo>
                    <a:pt x="209067" y="454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69" name="Freeform 56">
              <a:extLst>
                <a:ext uri="{FF2B5EF4-FFF2-40B4-BE49-F238E27FC236}">
                  <a16:creationId xmlns:a16="http://schemas.microsoft.com/office/drawing/2014/main" id="{3FC761F9-F625-D203-6EAB-7AB0D7460F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0597" y="2929373"/>
              <a:ext cx="210142" cy="176154"/>
            </a:xfrm>
            <a:custGeom>
              <a:avLst/>
              <a:gdLst>
                <a:gd name="connsiteX0" fmla="*/ 102261 w 443456"/>
                <a:gd name="connsiteY0" fmla="*/ 0 h 366302"/>
                <a:gd name="connsiteX1" fmla="*/ 138621 w 443456"/>
                <a:gd name="connsiteY1" fmla="*/ 18180 h 366302"/>
                <a:gd name="connsiteX2" fmla="*/ 149983 w 443456"/>
                <a:gd name="connsiteY2" fmla="*/ 27270 h 366302"/>
                <a:gd name="connsiteX3" fmla="*/ 165890 w 443456"/>
                <a:gd name="connsiteY3" fmla="*/ 27270 h 366302"/>
                <a:gd name="connsiteX4" fmla="*/ 188615 w 443456"/>
                <a:gd name="connsiteY4" fmla="*/ 22725 h 366302"/>
                <a:gd name="connsiteX5" fmla="*/ 231792 w 443456"/>
                <a:gd name="connsiteY5" fmla="*/ 38632 h 366302"/>
                <a:gd name="connsiteX6" fmla="*/ 252244 w 443456"/>
                <a:gd name="connsiteY6" fmla="*/ 38632 h 366302"/>
                <a:gd name="connsiteX7" fmla="*/ 274968 w 443456"/>
                <a:gd name="connsiteY7" fmla="*/ 22725 h 366302"/>
                <a:gd name="connsiteX8" fmla="*/ 295420 w 443456"/>
                <a:gd name="connsiteY8" fmla="*/ 27270 h 366302"/>
                <a:gd name="connsiteX9" fmla="*/ 299965 w 443456"/>
                <a:gd name="connsiteY9" fmla="*/ 18180 h 366302"/>
                <a:gd name="connsiteX10" fmla="*/ 322690 w 443456"/>
                <a:gd name="connsiteY10" fmla="*/ 22725 h 366302"/>
                <a:gd name="connsiteX11" fmla="*/ 354505 w 443456"/>
                <a:gd name="connsiteY11" fmla="*/ 34087 h 366302"/>
                <a:gd name="connsiteX12" fmla="*/ 381774 w 443456"/>
                <a:gd name="connsiteY12" fmla="*/ 11363 h 366302"/>
                <a:gd name="connsiteX13" fmla="*/ 393136 w 443456"/>
                <a:gd name="connsiteY13" fmla="*/ 11363 h 366302"/>
                <a:gd name="connsiteX14" fmla="*/ 397648 w 443456"/>
                <a:gd name="connsiteY14" fmla="*/ 20887 h 366302"/>
                <a:gd name="connsiteX15" fmla="*/ 400279 w 443456"/>
                <a:gd name="connsiteY15" fmla="*/ 20887 h 366302"/>
                <a:gd name="connsiteX16" fmla="*/ 416220 w 443456"/>
                <a:gd name="connsiteY16" fmla="*/ 54540 h 366302"/>
                <a:gd name="connsiteX17" fmla="*/ 418134 w 443456"/>
                <a:gd name="connsiteY17" fmla="*/ 54540 h 366302"/>
                <a:gd name="connsiteX18" fmla="*/ 436313 w 443456"/>
                <a:gd name="connsiteY18" fmla="*/ 65902 h 366302"/>
                <a:gd name="connsiteX19" fmla="*/ 434105 w 443456"/>
                <a:gd name="connsiteY19" fmla="*/ 69582 h 366302"/>
                <a:gd name="connsiteX20" fmla="*/ 443456 w 443456"/>
                <a:gd name="connsiteY20" fmla="*/ 75426 h 366302"/>
                <a:gd name="connsiteX21" fmla="*/ 436639 w 443456"/>
                <a:gd name="connsiteY21" fmla="*/ 86788 h 366302"/>
                <a:gd name="connsiteX22" fmla="*/ 436639 w 443456"/>
                <a:gd name="connsiteY22" fmla="*/ 95878 h 366302"/>
                <a:gd name="connsiteX23" fmla="*/ 404824 w 443456"/>
                <a:gd name="connsiteY23" fmla="*/ 123148 h 366302"/>
                <a:gd name="connsiteX24" fmla="*/ 400279 w 443456"/>
                <a:gd name="connsiteY24" fmla="*/ 150417 h 366302"/>
                <a:gd name="connsiteX25" fmla="*/ 393462 w 443456"/>
                <a:gd name="connsiteY25" fmla="*/ 166325 h 366302"/>
                <a:gd name="connsiteX26" fmla="*/ 384372 w 443456"/>
                <a:gd name="connsiteY26" fmla="*/ 177687 h 366302"/>
                <a:gd name="connsiteX27" fmla="*/ 377555 w 443456"/>
                <a:gd name="connsiteY27" fmla="*/ 204957 h 366302"/>
                <a:gd name="connsiteX28" fmla="*/ 357103 w 443456"/>
                <a:gd name="connsiteY28" fmla="*/ 214047 h 366302"/>
                <a:gd name="connsiteX29" fmla="*/ 350285 w 443456"/>
                <a:gd name="connsiteY29" fmla="*/ 236771 h 366302"/>
                <a:gd name="connsiteX30" fmla="*/ 345740 w 443456"/>
                <a:gd name="connsiteY30" fmla="*/ 252679 h 366302"/>
                <a:gd name="connsiteX31" fmla="*/ 341195 w 443456"/>
                <a:gd name="connsiteY31" fmla="*/ 268586 h 366302"/>
                <a:gd name="connsiteX32" fmla="*/ 313926 w 443456"/>
                <a:gd name="connsiteY32" fmla="*/ 279948 h 366302"/>
                <a:gd name="connsiteX33" fmla="*/ 291201 w 443456"/>
                <a:gd name="connsiteY33" fmla="*/ 264041 h 366302"/>
                <a:gd name="connsiteX34" fmla="*/ 282111 w 443456"/>
                <a:gd name="connsiteY34" fmla="*/ 264041 h 366302"/>
                <a:gd name="connsiteX35" fmla="*/ 259387 w 443456"/>
                <a:gd name="connsiteY35" fmla="*/ 284493 h 366302"/>
                <a:gd name="connsiteX36" fmla="*/ 248024 w 443456"/>
                <a:gd name="connsiteY36" fmla="*/ 284493 h 366302"/>
                <a:gd name="connsiteX37" fmla="*/ 232117 w 443456"/>
                <a:gd name="connsiteY37" fmla="*/ 323125 h 366302"/>
                <a:gd name="connsiteX38" fmla="*/ 223027 w 443456"/>
                <a:gd name="connsiteY38" fmla="*/ 350395 h 366302"/>
                <a:gd name="connsiteX39" fmla="*/ 179850 w 443456"/>
                <a:gd name="connsiteY39" fmla="*/ 359485 h 366302"/>
                <a:gd name="connsiteX40" fmla="*/ 168488 w 443456"/>
                <a:gd name="connsiteY40" fmla="*/ 359485 h 366302"/>
                <a:gd name="connsiteX41" fmla="*/ 152581 w 443456"/>
                <a:gd name="connsiteY41" fmla="*/ 366302 h 366302"/>
                <a:gd name="connsiteX42" fmla="*/ 125311 w 443456"/>
                <a:gd name="connsiteY42" fmla="*/ 366302 h 366302"/>
                <a:gd name="connsiteX43" fmla="*/ 104859 w 443456"/>
                <a:gd name="connsiteY43" fmla="*/ 343578 h 366302"/>
                <a:gd name="connsiteX44" fmla="*/ 103628 w 443456"/>
                <a:gd name="connsiteY44" fmla="*/ 340622 h 366302"/>
                <a:gd name="connsiteX45" fmla="*/ 97716 w 443456"/>
                <a:gd name="connsiteY45" fmla="*/ 334054 h 366302"/>
                <a:gd name="connsiteX46" fmla="*/ 88360 w 443456"/>
                <a:gd name="connsiteY46" fmla="*/ 311599 h 366302"/>
                <a:gd name="connsiteX47" fmla="*/ 66227 w 443456"/>
                <a:gd name="connsiteY47" fmla="*/ 291311 h 366302"/>
                <a:gd name="connsiteX48" fmla="*/ 38958 w 443456"/>
                <a:gd name="connsiteY48" fmla="*/ 291311 h 366302"/>
                <a:gd name="connsiteX49" fmla="*/ 7143 w 443456"/>
                <a:gd name="connsiteY49" fmla="*/ 291311 h 366302"/>
                <a:gd name="connsiteX50" fmla="*/ 7143 w 443456"/>
                <a:gd name="connsiteY50" fmla="*/ 281787 h 366302"/>
                <a:gd name="connsiteX51" fmla="*/ 0 w 443456"/>
                <a:gd name="connsiteY51" fmla="*/ 281787 h 366302"/>
                <a:gd name="connsiteX52" fmla="*/ 0 w 443456"/>
                <a:gd name="connsiteY52" fmla="*/ 227247 h 366302"/>
                <a:gd name="connsiteX53" fmla="*/ 0 w 443456"/>
                <a:gd name="connsiteY53" fmla="*/ 199978 h 366302"/>
                <a:gd name="connsiteX54" fmla="*/ 4545 w 443456"/>
                <a:gd name="connsiteY54" fmla="*/ 179525 h 366302"/>
                <a:gd name="connsiteX55" fmla="*/ 15907 w 443456"/>
                <a:gd name="connsiteY55" fmla="*/ 168163 h 366302"/>
                <a:gd name="connsiteX56" fmla="*/ 38632 w 443456"/>
                <a:gd name="connsiteY56" fmla="*/ 140893 h 366302"/>
                <a:gd name="connsiteX57" fmla="*/ 31815 w 443456"/>
                <a:gd name="connsiteY57" fmla="*/ 129531 h 366302"/>
                <a:gd name="connsiteX58" fmla="*/ 43177 w 443456"/>
                <a:gd name="connsiteY58" fmla="*/ 120441 h 366302"/>
                <a:gd name="connsiteX59" fmla="*/ 31815 w 443456"/>
                <a:gd name="connsiteY59" fmla="*/ 97717 h 366302"/>
                <a:gd name="connsiteX60" fmla="*/ 31815 w 443456"/>
                <a:gd name="connsiteY60" fmla="*/ 81809 h 366302"/>
                <a:gd name="connsiteX61" fmla="*/ 38632 w 443456"/>
                <a:gd name="connsiteY61" fmla="*/ 49995 h 366302"/>
                <a:gd name="connsiteX62" fmla="*/ 47722 w 443456"/>
                <a:gd name="connsiteY62" fmla="*/ 34087 h 366302"/>
                <a:gd name="connsiteX63" fmla="*/ 54539 w 443456"/>
                <a:gd name="connsiteY63" fmla="*/ 11363 h 366302"/>
                <a:gd name="connsiteX64" fmla="*/ 59084 w 443456"/>
                <a:gd name="connsiteY64" fmla="*/ 6817 h 366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443456" h="366302">
                  <a:moveTo>
                    <a:pt x="102261" y="0"/>
                  </a:moveTo>
                  <a:lnTo>
                    <a:pt x="138621" y="18180"/>
                  </a:lnTo>
                  <a:lnTo>
                    <a:pt x="149983" y="27270"/>
                  </a:lnTo>
                  <a:lnTo>
                    <a:pt x="165890" y="27270"/>
                  </a:lnTo>
                  <a:lnTo>
                    <a:pt x="188615" y="22725"/>
                  </a:lnTo>
                  <a:lnTo>
                    <a:pt x="231792" y="38632"/>
                  </a:lnTo>
                  <a:lnTo>
                    <a:pt x="252244" y="38632"/>
                  </a:lnTo>
                  <a:lnTo>
                    <a:pt x="274968" y="22725"/>
                  </a:lnTo>
                  <a:lnTo>
                    <a:pt x="295420" y="27270"/>
                  </a:lnTo>
                  <a:lnTo>
                    <a:pt x="299965" y="18180"/>
                  </a:lnTo>
                  <a:lnTo>
                    <a:pt x="322690" y="22725"/>
                  </a:lnTo>
                  <a:lnTo>
                    <a:pt x="354505" y="34087"/>
                  </a:lnTo>
                  <a:lnTo>
                    <a:pt x="381774" y="11363"/>
                  </a:lnTo>
                  <a:lnTo>
                    <a:pt x="393136" y="11363"/>
                  </a:lnTo>
                  <a:lnTo>
                    <a:pt x="397648" y="20887"/>
                  </a:lnTo>
                  <a:lnTo>
                    <a:pt x="400279" y="20887"/>
                  </a:lnTo>
                  <a:lnTo>
                    <a:pt x="416220" y="54540"/>
                  </a:lnTo>
                  <a:lnTo>
                    <a:pt x="418134" y="54540"/>
                  </a:lnTo>
                  <a:lnTo>
                    <a:pt x="436313" y="65902"/>
                  </a:lnTo>
                  <a:lnTo>
                    <a:pt x="434105" y="69582"/>
                  </a:lnTo>
                  <a:lnTo>
                    <a:pt x="443456" y="75426"/>
                  </a:lnTo>
                  <a:lnTo>
                    <a:pt x="436639" y="86788"/>
                  </a:lnTo>
                  <a:lnTo>
                    <a:pt x="436639" y="95878"/>
                  </a:lnTo>
                  <a:lnTo>
                    <a:pt x="404824" y="123148"/>
                  </a:lnTo>
                  <a:lnTo>
                    <a:pt x="400279" y="150417"/>
                  </a:lnTo>
                  <a:lnTo>
                    <a:pt x="393462" y="166325"/>
                  </a:lnTo>
                  <a:lnTo>
                    <a:pt x="384372" y="177687"/>
                  </a:lnTo>
                  <a:lnTo>
                    <a:pt x="377555" y="204957"/>
                  </a:lnTo>
                  <a:lnTo>
                    <a:pt x="357103" y="214047"/>
                  </a:lnTo>
                  <a:lnTo>
                    <a:pt x="350285" y="236771"/>
                  </a:lnTo>
                  <a:lnTo>
                    <a:pt x="345740" y="252679"/>
                  </a:lnTo>
                  <a:lnTo>
                    <a:pt x="341195" y="268586"/>
                  </a:lnTo>
                  <a:lnTo>
                    <a:pt x="313926" y="279948"/>
                  </a:lnTo>
                  <a:lnTo>
                    <a:pt x="291201" y="264041"/>
                  </a:lnTo>
                  <a:lnTo>
                    <a:pt x="282111" y="264041"/>
                  </a:lnTo>
                  <a:lnTo>
                    <a:pt x="259387" y="284493"/>
                  </a:lnTo>
                  <a:lnTo>
                    <a:pt x="248024" y="284493"/>
                  </a:lnTo>
                  <a:lnTo>
                    <a:pt x="232117" y="323125"/>
                  </a:lnTo>
                  <a:lnTo>
                    <a:pt x="223027" y="350395"/>
                  </a:lnTo>
                  <a:lnTo>
                    <a:pt x="179850" y="359485"/>
                  </a:lnTo>
                  <a:lnTo>
                    <a:pt x="168488" y="359485"/>
                  </a:lnTo>
                  <a:lnTo>
                    <a:pt x="152581" y="366302"/>
                  </a:lnTo>
                  <a:lnTo>
                    <a:pt x="125311" y="366302"/>
                  </a:lnTo>
                  <a:lnTo>
                    <a:pt x="104859" y="343578"/>
                  </a:lnTo>
                  <a:lnTo>
                    <a:pt x="103628" y="340622"/>
                  </a:lnTo>
                  <a:lnTo>
                    <a:pt x="97716" y="334054"/>
                  </a:lnTo>
                  <a:lnTo>
                    <a:pt x="88360" y="311599"/>
                  </a:lnTo>
                  <a:lnTo>
                    <a:pt x="66227" y="291311"/>
                  </a:lnTo>
                  <a:lnTo>
                    <a:pt x="38958" y="291311"/>
                  </a:lnTo>
                  <a:lnTo>
                    <a:pt x="7143" y="291311"/>
                  </a:lnTo>
                  <a:lnTo>
                    <a:pt x="7143" y="281787"/>
                  </a:lnTo>
                  <a:lnTo>
                    <a:pt x="0" y="281787"/>
                  </a:lnTo>
                  <a:lnTo>
                    <a:pt x="0" y="227247"/>
                  </a:lnTo>
                  <a:lnTo>
                    <a:pt x="0" y="199978"/>
                  </a:lnTo>
                  <a:lnTo>
                    <a:pt x="4545" y="179525"/>
                  </a:lnTo>
                  <a:lnTo>
                    <a:pt x="15907" y="168163"/>
                  </a:lnTo>
                  <a:lnTo>
                    <a:pt x="38632" y="140893"/>
                  </a:lnTo>
                  <a:lnTo>
                    <a:pt x="31815" y="129531"/>
                  </a:lnTo>
                  <a:lnTo>
                    <a:pt x="43177" y="120441"/>
                  </a:lnTo>
                  <a:lnTo>
                    <a:pt x="31815" y="97717"/>
                  </a:lnTo>
                  <a:lnTo>
                    <a:pt x="31815" y="81809"/>
                  </a:lnTo>
                  <a:lnTo>
                    <a:pt x="38632" y="49995"/>
                  </a:lnTo>
                  <a:lnTo>
                    <a:pt x="47722" y="34087"/>
                  </a:lnTo>
                  <a:lnTo>
                    <a:pt x="54539" y="11363"/>
                  </a:lnTo>
                  <a:lnTo>
                    <a:pt x="59084" y="681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70" name="Freeform 57">
              <a:extLst>
                <a:ext uri="{FF2B5EF4-FFF2-40B4-BE49-F238E27FC236}">
                  <a16:creationId xmlns:a16="http://schemas.microsoft.com/office/drawing/2014/main" id="{987120A4-CC3D-C5A0-1AE1-2AC878DE898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7216" y="2961064"/>
              <a:ext cx="56099" cy="108190"/>
            </a:xfrm>
            <a:custGeom>
              <a:avLst/>
              <a:gdLst>
                <a:gd name="connsiteX0" fmla="*/ 59084 w 118385"/>
                <a:gd name="connsiteY0" fmla="*/ 0 h 224975"/>
                <a:gd name="connsiteX1" fmla="*/ 63846 w 118385"/>
                <a:gd name="connsiteY1" fmla="*/ 0 h 224975"/>
                <a:gd name="connsiteX2" fmla="*/ 74991 w 118385"/>
                <a:gd name="connsiteY2" fmla="*/ 0 h 224975"/>
                <a:gd name="connsiteX3" fmla="*/ 79753 w 118385"/>
                <a:gd name="connsiteY3" fmla="*/ 0 h 224975"/>
                <a:gd name="connsiteX4" fmla="*/ 107023 w 118385"/>
                <a:gd name="connsiteY4" fmla="*/ 20453 h 224975"/>
                <a:gd name="connsiteX5" fmla="*/ 107023 w 118385"/>
                <a:gd name="connsiteY5" fmla="*/ 31815 h 224975"/>
                <a:gd name="connsiteX6" fmla="*/ 118385 w 118385"/>
                <a:gd name="connsiteY6" fmla="*/ 54540 h 224975"/>
                <a:gd name="connsiteX7" fmla="*/ 107023 w 118385"/>
                <a:gd name="connsiteY7" fmla="*/ 70447 h 224975"/>
                <a:gd name="connsiteX8" fmla="*/ 113840 w 118385"/>
                <a:gd name="connsiteY8" fmla="*/ 79537 h 224975"/>
                <a:gd name="connsiteX9" fmla="*/ 91116 w 118385"/>
                <a:gd name="connsiteY9" fmla="*/ 102262 h 224975"/>
                <a:gd name="connsiteX10" fmla="*/ 79753 w 118385"/>
                <a:gd name="connsiteY10" fmla="*/ 113624 h 224975"/>
                <a:gd name="connsiteX11" fmla="*/ 75209 w 118385"/>
                <a:gd name="connsiteY11" fmla="*/ 138621 h 224975"/>
                <a:gd name="connsiteX12" fmla="*/ 75209 w 118385"/>
                <a:gd name="connsiteY12" fmla="*/ 161346 h 224975"/>
                <a:gd name="connsiteX13" fmla="*/ 75209 w 118385"/>
                <a:gd name="connsiteY13" fmla="*/ 220430 h 224975"/>
                <a:gd name="connsiteX14" fmla="*/ 43394 w 118385"/>
                <a:gd name="connsiteY14" fmla="*/ 224975 h 224975"/>
                <a:gd name="connsiteX15" fmla="*/ 43230 w 118385"/>
                <a:gd name="connsiteY15" fmla="*/ 224318 h 224975"/>
                <a:gd name="connsiteX16" fmla="*/ 38632 w 118385"/>
                <a:gd name="connsiteY16" fmla="*/ 224975 h 224975"/>
                <a:gd name="connsiteX17" fmla="*/ 31815 w 118385"/>
                <a:gd name="connsiteY17" fmla="*/ 197706 h 224975"/>
                <a:gd name="connsiteX18" fmla="*/ 31815 w 118385"/>
                <a:gd name="connsiteY18" fmla="*/ 113624 h 224975"/>
                <a:gd name="connsiteX19" fmla="*/ 22725 w 118385"/>
                <a:gd name="connsiteY19" fmla="*/ 106807 h 224975"/>
                <a:gd name="connsiteX20" fmla="*/ 22725 w 118385"/>
                <a:gd name="connsiteY20" fmla="*/ 86354 h 224975"/>
                <a:gd name="connsiteX21" fmla="*/ 11363 w 118385"/>
                <a:gd name="connsiteY21" fmla="*/ 74992 h 224975"/>
                <a:gd name="connsiteX22" fmla="*/ 0 w 118385"/>
                <a:gd name="connsiteY22" fmla="*/ 63630 h 224975"/>
                <a:gd name="connsiteX23" fmla="*/ 6818 w 118385"/>
                <a:gd name="connsiteY23" fmla="*/ 43177 h 224975"/>
                <a:gd name="connsiteX24" fmla="*/ 11580 w 118385"/>
                <a:gd name="connsiteY24" fmla="*/ 43177 h 224975"/>
                <a:gd name="connsiteX25" fmla="*/ 15907 w 118385"/>
                <a:gd name="connsiteY25" fmla="*/ 43177 h 224975"/>
                <a:gd name="connsiteX26" fmla="*/ 22725 w 118385"/>
                <a:gd name="connsiteY26" fmla="*/ 27270 h 224975"/>
                <a:gd name="connsiteX27" fmla="*/ 43177 w 118385"/>
                <a:gd name="connsiteY27" fmla="*/ 20453 h 224975"/>
                <a:gd name="connsiteX28" fmla="*/ 49994 w 118385"/>
                <a:gd name="connsiteY28" fmla="*/ 11363 h 224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18385" h="224975">
                  <a:moveTo>
                    <a:pt x="59084" y="0"/>
                  </a:moveTo>
                  <a:lnTo>
                    <a:pt x="63846" y="0"/>
                  </a:lnTo>
                  <a:lnTo>
                    <a:pt x="74991" y="0"/>
                  </a:lnTo>
                  <a:lnTo>
                    <a:pt x="79753" y="0"/>
                  </a:lnTo>
                  <a:lnTo>
                    <a:pt x="107023" y="20453"/>
                  </a:lnTo>
                  <a:lnTo>
                    <a:pt x="107023" y="31815"/>
                  </a:lnTo>
                  <a:lnTo>
                    <a:pt x="118385" y="54540"/>
                  </a:lnTo>
                  <a:lnTo>
                    <a:pt x="107023" y="70447"/>
                  </a:lnTo>
                  <a:lnTo>
                    <a:pt x="113840" y="79537"/>
                  </a:lnTo>
                  <a:lnTo>
                    <a:pt x="91116" y="102262"/>
                  </a:lnTo>
                  <a:lnTo>
                    <a:pt x="79753" y="113624"/>
                  </a:lnTo>
                  <a:lnTo>
                    <a:pt x="75209" y="138621"/>
                  </a:lnTo>
                  <a:lnTo>
                    <a:pt x="75209" y="161346"/>
                  </a:lnTo>
                  <a:lnTo>
                    <a:pt x="75209" y="220430"/>
                  </a:lnTo>
                  <a:lnTo>
                    <a:pt x="43394" y="224975"/>
                  </a:lnTo>
                  <a:lnTo>
                    <a:pt x="43230" y="224318"/>
                  </a:lnTo>
                  <a:lnTo>
                    <a:pt x="38632" y="224975"/>
                  </a:lnTo>
                  <a:lnTo>
                    <a:pt x="31815" y="197706"/>
                  </a:lnTo>
                  <a:lnTo>
                    <a:pt x="31815" y="113624"/>
                  </a:lnTo>
                  <a:lnTo>
                    <a:pt x="22725" y="106807"/>
                  </a:lnTo>
                  <a:lnTo>
                    <a:pt x="22725" y="86354"/>
                  </a:lnTo>
                  <a:lnTo>
                    <a:pt x="11363" y="74992"/>
                  </a:lnTo>
                  <a:lnTo>
                    <a:pt x="0" y="63630"/>
                  </a:lnTo>
                  <a:lnTo>
                    <a:pt x="6818" y="43177"/>
                  </a:lnTo>
                  <a:lnTo>
                    <a:pt x="11580" y="43177"/>
                  </a:lnTo>
                  <a:lnTo>
                    <a:pt x="15907" y="43177"/>
                  </a:lnTo>
                  <a:lnTo>
                    <a:pt x="22725" y="27270"/>
                  </a:lnTo>
                  <a:lnTo>
                    <a:pt x="43177" y="20453"/>
                  </a:lnTo>
                  <a:lnTo>
                    <a:pt x="49994" y="11363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71" name="Freeform 58">
              <a:extLst>
                <a:ext uri="{FF2B5EF4-FFF2-40B4-BE49-F238E27FC236}">
                  <a16:creationId xmlns:a16="http://schemas.microsoft.com/office/drawing/2014/main" id="{F4C1D261-8221-4862-7EF5-52C08F34FE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2138" y="2981827"/>
              <a:ext cx="36768" cy="90705"/>
            </a:xfrm>
            <a:custGeom>
              <a:avLst/>
              <a:gdLst>
                <a:gd name="connsiteX0" fmla="*/ 0 w 77590"/>
                <a:gd name="connsiteY0" fmla="*/ 0 h 188615"/>
                <a:gd name="connsiteX1" fmla="*/ 7143 w 77590"/>
                <a:gd name="connsiteY1" fmla="*/ 0 h 188615"/>
                <a:gd name="connsiteX2" fmla="*/ 38632 w 77590"/>
                <a:gd name="connsiteY2" fmla="*/ 0 h 188615"/>
                <a:gd name="connsiteX3" fmla="*/ 45775 w 77590"/>
                <a:gd name="connsiteY3" fmla="*/ 0 h 188615"/>
                <a:gd name="connsiteX4" fmla="*/ 38958 w 77590"/>
                <a:gd name="connsiteY4" fmla="*/ 20452 h 188615"/>
                <a:gd name="connsiteX5" fmla="*/ 50320 w 77590"/>
                <a:gd name="connsiteY5" fmla="*/ 31815 h 188615"/>
                <a:gd name="connsiteX6" fmla="*/ 61683 w 77590"/>
                <a:gd name="connsiteY6" fmla="*/ 43177 h 188615"/>
                <a:gd name="connsiteX7" fmla="*/ 61683 w 77590"/>
                <a:gd name="connsiteY7" fmla="*/ 63629 h 188615"/>
                <a:gd name="connsiteX8" fmla="*/ 70773 w 77590"/>
                <a:gd name="connsiteY8" fmla="*/ 70447 h 188615"/>
                <a:gd name="connsiteX9" fmla="*/ 66228 w 77590"/>
                <a:gd name="connsiteY9" fmla="*/ 154528 h 188615"/>
                <a:gd name="connsiteX10" fmla="*/ 77590 w 77590"/>
                <a:gd name="connsiteY10" fmla="*/ 177253 h 188615"/>
                <a:gd name="connsiteX11" fmla="*/ 50320 w 77590"/>
                <a:gd name="connsiteY11" fmla="*/ 188615 h 188615"/>
                <a:gd name="connsiteX12" fmla="*/ 48219 w 77590"/>
                <a:gd name="connsiteY12" fmla="*/ 186514 h 188615"/>
                <a:gd name="connsiteX13" fmla="*/ 43177 w 77590"/>
                <a:gd name="connsiteY13" fmla="*/ 188615 h 188615"/>
                <a:gd name="connsiteX14" fmla="*/ 31815 w 77590"/>
                <a:gd name="connsiteY14" fmla="*/ 177253 h 188615"/>
                <a:gd name="connsiteX15" fmla="*/ 22725 w 77590"/>
                <a:gd name="connsiteY15" fmla="*/ 149983 h 188615"/>
                <a:gd name="connsiteX16" fmla="*/ 22725 w 77590"/>
                <a:gd name="connsiteY16" fmla="*/ 134076 h 188615"/>
                <a:gd name="connsiteX17" fmla="*/ 27270 w 77590"/>
                <a:gd name="connsiteY17" fmla="*/ 95444 h 188615"/>
                <a:gd name="connsiteX18" fmla="*/ 15908 w 77590"/>
                <a:gd name="connsiteY18" fmla="*/ 86354 h 188615"/>
                <a:gd name="connsiteX19" fmla="*/ 15908 w 77590"/>
                <a:gd name="connsiteY19" fmla="*/ 59084 h 188615"/>
                <a:gd name="connsiteX20" fmla="*/ 15908 w 77590"/>
                <a:gd name="connsiteY20" fmla="*/ 31815 h 188615"/>
                <a:gd name="connsiteX21" fmla="*/ 0 w 77590"/>
                <a:gd name="connsiteY21" fmla="*/ 11363 h 188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77590" h="188615">
                  <a:moveTo>
                    <a:pt x="0" y="0"/>
                  </a:moveTo>
                  <a:lnTo>
                    <a:pt x="7143" y="0"/>
                  </a:lnTo>
                  <a:lnTo>
                    <a:pt x="38632" y="0"/>
                  </a:lnTo>
                  <a:lnTo>
                    <a:pt x="45775" y="0"/>
                  </a:lnTo>
                  <a:lnTo>
                    <a:pt x="38958" y="20452"/>
                  </a:lnTo>
                  <a:lnTo>
                    <a:pt x="50320" y="31815"/>
                  </a:lnTo>
                  <a:lnTo>
                    <a:pt x="61683" y="43177"/>
                  </a:lnTo>
                  <a:lnTo>
                    <a:pt x="61683" y="63629"/>
                  </a:lnTo>
                  <a:lnTo>
                    <a:pt x="70773" y="70447"/>
                  </a:lnTo>
                  <a:lnTo>
                    <a:pt x="66228" y="154528"/>
                  </a:lnTo>
                  <a:lnTo>
                    <a:pt x="77590" y="177253"/>
                  </a:lnTo>
                  <a:lnTo>
                    <a:pt x="50320" y="188615"/>
                  </a:lnTo>
                  <a:lnTo>
                    <a:pt x="48219" y="186514"/>
                  </a:lnTo>
                  <a:lnTo>
                    <a:pt x="43177" y="188615"/>
                  </a:lnTo>
                  <a:lnTo>
                    <a:pt x="31815" y="177253"/>
                  </a:lnTo>
                  <a:lnTo>
                    <a:pt x="22725" y="149983"/>
                  </a:lnTo>
                  <a:lnTo>
                    <a:pt x="22725" y="134076"/>
                  </a:lnTo>
                  <a:lnTo>
                    <a:pt x="27270" y="95444"/>
                  </a:lnTo>
                  <a:lnTo>
                    <a:pt x="15908" y="86354"/>
                  </a:lnTo>
                  <a:lnTo>
                    <a:pt x="15908" y="59084"/>
                  </a:lnTo>
                  <a:lnTo>
                    <a:pt x="15908" y="31815"/>
                  </a:lnTo>
                  <a:lnTo>
                    <a:pt x="0" y="11363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72" name="Freeform 59">
              <a:extLst>
                <a:ext uri="{FF2B5EF4-FFF2-40B4-BE49-F238E27FC236}">
                  <a16:creationId xmlns:a16="http://schemas.microsoft.com/office/drawing/2014/main" id="{CC416A4F-6462-9465-EC0D-D0D84DBBE98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6142" y="2981827"/>
              <a:ext cx="77585" cy="111467"/>
            </a:xfrm>
            <a:custGeom>
              <a:avLst/>
              <a:gdLst>
                <a:gd name="connsiteX0" fmla="*/ 74992 w 163727"/>
                <a:gd name="connsiteY0" fmla="*/ 0 h 231791"/>
                <a:gd name="connsiteX1" fmla="*/ 75468 w 163727"/>
                <a:gd name="connsiteY1" fmla="*/ 136 h 231791"/>
                <a:gd name="connsiteX2" fmla="*/ 77373 w 163727"/>
                <a:gd name="connsiteY2" fmla="*/ 0 h 231791"/>
                <a:gd name="connsiteX3" fmla="*/ 91891 w 163727"/>
                <a:gd name="connsiteY3" fmla="*/ 4148 h 231791"/>
                <a:gd name="connsiteX4" fmla="*/ 102262 w 163727"/>
                <a:gd name="connsiteY4" fmla="*/ 0 h 231791"/>
                <a:gd name="connsiteX5" fmla="*/ 104643 w 163727"/>
                <a:gd name="connsiteY5" fmla="*/ 0 h 231791"/>
                <a:gd name="connsiteX6" fmla="*/ 122714 w 163727"/>
                <a:gd name="connsiteY6" fmla="*/ 0 h 231791"/>
                <a:gd name="connsiteX7" fmla="*/ 125095 w 163727"/>
                <a:gd name="connsiteY7" fmla="*/ 0 h 231791"/>
                <a:gd name="connsiteX8" fmla="*/ 120550 w 163727"/>
                <a:gd name="connsiteY8" fmla="*/ 11363 h 231791"/>
                <a:gd name="connsiteX9" fmla="*/ 136457 w 163727"/>
                <a:gd name="connsiteY9" fmla="*/ 31815 h 231791"/>
                <a:gd name="connsiteX10" fmla="*/ 136457 w 163727"/>
                <a:gd name="connsiteY10" fmla="*/ 59084 h 231791"/>
                <a:gd name="connsiteX11" fmla="*/ 143275 w 163727"/>
                <a:gd name="connsiteY11" fmla="*/ 86354 h 231791"/>
                <a:gd name="connsiteX12" fmla="*/ 147820 w 163727"/>
                <a:gd name="connsiteY12" fmla="*/ 102261 h 231791"/>
                <a:gd name="connsiteX13" fmla="*/ 143275 w 163727"/>
                <a:gd name="connsiteY13" fmla="*/ 134075 h 231791"/>
                <a:gd name="connsiteX14" fmla="*/ 147820 w 163727"/>
                <a:gd name="connsiteY14" fmla="*/ 149983 h 231791"/>
                <a:gd name="connsiteX15" fmla="*/ 152365 w 163727"/>
                <a:gd name="connsiteY15" fmla="*/ 177252 h 231791"/>
                <a:gd name="connsiteX16" fmla="*/ 163727 w 163727"/>
                <a:gd name="connsiteY16" fmla="*/ 188614 h 231791"/>
                <a:gd name="connsiteX17" fmla="*/ 104643 w 163727"/>
                <a:gd name="connsiteY17" fmla="*/ 209067 h 231791"/>
                <a:gd name="connsiteX18" fmla="*/ 84190 w 163727"/>
                <a:gd name="connsiteY18" fmla="*/ 220429 h 231791"/>
                <a:gd name="connsiteX19" fmla="*/ 50103 w 163727"/>
                <a:gd name="connsiteY19" fmla="*/ 231791 h 231791"/>
                <a:gd name="connsiteX20" fmla="*/ 48954 w 163727"/>
                <a:gd name="connsiteY20" fmla="*/ 231381 h 231791"/>
                <a:gd name="connsiteX21" fmla="*/ 47722 w 163727"/>
                <a:gd name="connsiteY21" fmla="*/ 231791 h 231791"/>
                <a:gd name="connsiteX22" fmla="*/ 15908 w 163727"/>
                <a:gd name="connsiteY22" fmla="*/ 220429 h 231791"/>
                <a:gd name="connsiteX23" fmla="*/ 15908 w 163727"/>
                <a:gd name="connsiteY23" fmla="*/ 209067 h 231791"/>
                <a:gd name="connsiteX24" fmla="*/ 0 w 163727"/>
                <a:gd name="connsiteY24" fmla="*/ 177252 h 231791"/>
                <a:gd name="connsiteX25" fmla="*/ 11363 w 163727"/>
                <a:gd name="connsiteY25" fmla="*/ 134075 h 231791"/>
                <a:gd name="connsiteX26" fmla="*/ 27270 w 163727"/>
                <a:gd name="connsiteY26" fmla="*/ 106806 h 231791"/>
                <a:gd name="connsiteX27" fmla="*/ 15908 w 163727"/>
                <a:gd name="connsiteY27" fmla="*/ 52267 h 231791"/>
                <a:gd name="connsiteX28" fmla="*/ 11363 w 163727"/>
                <a:gd name="connsiteY28" fmla="*/ 27270 h 231791"/>
                <a:gd name="connsiteX29" fmla="*/ 11363 w 163727"/>
                <a:gd name="connsiteY29" fmla="*/ 4545 h 231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63727" h="231791">
                  <a:moveTo>
                    <a:pt x="74992" y="0"/>
                  </a:moveTo>
                  <a:lnTo>
                    <a:pt x="75468" y="136"/>
                  </a:lnTo>
                  <a:lnTo>
                    <a:pt x="77373" y="0"/>
                  </a:lnTo>
                  <a:lnTo>
                    <a:pt x="91891" y="4148"/>
                  </a:lnTo>
                  <a:lnTo>
                    <a:pt x="102262" y="0"/>
                  </a:lnTo>
                  <a:lnTo>
                    <a:pt x="104643" y="0"/>
                  </a:lnTo>
                  <a:lnTo>
                    <a:pt x="122714" y="0"/>
                  </a:lnTo>
                  <a:lnTo>
                    <a:pt x="125095" y="0"/>
                  </a:lnTo>
                  <a:lnTo>
                    <a:pt x="120550" y="11363"/>
                  </a:lnTo>
                  <a:lnTo>
                    <a:pt x="136457" y="31815"/>
                  </a:lnTo>
                  <a:lnTo>
                    <a:pt x="136457" y="59084"/>
                  </a:lnTo>
                  <a:lnTo>
                    <a:pt x="143275" y="86354"/>
                  </a:lnTo>
                  <a:lnTo>
                    <a:pt x="147820" y="102261"/>
                  </a:lnTo>
                  <a:lnTo>
                    <a:pt x="143275" y="134075"/>
                  </a:lnTo>
                  <a:lnTo>
                    <a:pt x="147820" y="149983"/>
                  </a:lnTo>
                  <a:lnTo>
                    <a:pt x="152365" y="177252"/>
                  </a:lnTo>
                  <a:lnTo>
                    <a:pt x="163727" y="188614"/>
                  </a:lnTo>
                  <a:lnTo>
                    <a:pt x="104643" y="209067"/>
                  </a:lnTo>
                  <a:lnTo>
                    <a:pt x="84190" y="220429"/>
                  </a:lnTo>
                  <a:lnTo>
                    <a:pt x="50103" y="231791"/>
                  </a:lnTo>
                  <a:lnTo>
                    <a:pt x="48954" y="231381"/>
                  </a:lnTo>
                  <a:lnTo>
                    <a:pt x="47722" y="231791"/>
                  </a:lnTo>
                  <a:lnTo>
                    <a:pt x="15908" y="220429"/>
                  </a:lnTo>
                  <a:lnTo>
                    <a:pt x="15908" y="209067"/>
                  </a:lnTo>
                  <a:lnTo>
                    <a:pt x="0" y="177252"/>
                  </a:lnTo>
                  <a:lnTo>
                    <a:pt x="11363" y="134075"/>
                  </a:lnTo>
                  <a:lnTo>
                    <a:pt x="27270" y="106806"/>
                  </a:lnTo>
                  <a:lnTo>
                    <a:pt x="15908" y="52267"/>
                  </a:lnTo>
                  <a:lnTo>
                    <a:pt x="11363" y="27270"/>
                  </a:lnTo>
                  <a:lnTo>
                    <a:pt x="11363" y="454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73" name="Freeform 60">
              <a:extLst>
                <a:ext uri="{FF2B5EF4-FFF2-40B4-BE49-F238E27FC236}">
                  <a16:creationId xmlns:a16="http://schemas.microsoft.com/office/drawing/2014/main" id="{4D393525-0A52-5053-B098-B3DDD3999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8452" y="2906423"/>
              <a:ext cx="135838" cy="107410"/>
            </a:xfrm>
            <a:custGeom>
              <a:avLst/>
              <a:gdLst>
                <a:gd name="connsiteX0" fmla="*/ 181798 w 286657"/>
                <a:gd name="connsiteY0" fmla="*/ 0 h 223353"/>
                <a:gd name="connsiteX1" fmla="*/ 193160 w 286657"/>
                <a:gd name="connsiteY1" fmla="*/ 11362 h 223353"/>
                <a:gd name="connsiteX2" fmla="*/ 213613 w 286657"/>
                <a:gd name="connsiteY2" fmla="*/ 6817 h 223353"/>
                <a:gd name="connsiteX3" fmla="*/ 213613 w 286657"/>
                <a:gd name="connsiteY3" fmla="*/ 22691 h 223353"/>
                <a:gd name="connsiteX4" fmla="*/ 220756 w 286657"/>
                <a:gd name="connsiteY4" fmla="*/ 21104 h 223353"/>
                <a:gd name="connsiteX5" fmla="*/ 220756 w 286657"/>
                <a:gd name="connsiteY5" fmla="*/ 41556 h 223353"/>
                <a:gd name="connsiteX6" fmla="*/ 220756 w 286657"/>
                <a:gd name="connsiteY6" fmla="*/ 51749 h 223353"/>
                <a:gd name="connsiteX7" fmla="*/ 236337 w 286657"/>
                <a:gd name="connsiteY7" fmla="*/ 70447 h 223353"/>
                <a:gd name="connsiteX8" fmla="*/ 236337 w 286657"/>
                <a:gd name="connsiteY8" fmla="*/ 76161 h 223353"/>
                <a:gd name="connsiteX9" fmla="*/ 243480 w 286657"/>
                <a:gd name="connsiteY9" fmla="*/ 84733 h 223353"/>
                <a:gd name="connsiteX10" fmla="*/ 243480 w 286657"/>
                <a:gd name="connsiteY10" fmla="*/ 88234 h 223353"/>
                <a:gd name="connsiteX11" fmla="*/ 279514 w 286657"/>
                <a:gd name="connsiteY11" fmla="*/ 97716 h 223353"/>
                <a:gd name="connsiteX12" fmla="*/ 279514 w 286657"/>
                <a:gd name="connsiteY12" fmla="*/ 110123 h 223353"/>
                <a:gd name="connsiteX13" fmla="*/ 286657 w 286657"/>
                <a:gd name="connsiteY13" fmla="*/ 112002 h 223353"/>
                <a:gd name="connsiteX14" fmla="*/ 286657 w 286657"/>
                <a:gd name="connsiteY14" fmla="*/ 132455 h 223353"/>
                <a:gd name="connsiteX15" fmla="*/ 279840 w 286657"/>
                <a:gd name="connsiteY15" fmla="*/ 148362 h 223353"/>
                <a:gd name="connsiteX16" fmla="*/ 259388 w 286657"/>
                <a:gd name="connsiteY16" fmla="*/ 148362 h 223353"/>
                <a:gd name="connsiteX17" fmla="*/ 252570 w 286657"/>
                <a:gd name="connsiteY17" fmla="*/ 164269 h 223353"/>
                <a:gd name="connsiteX18" fmla="*/ 243480 w 286657"/>
                <a:gd name="connsiteY18" fmla="*/ 171086 h 223353"/>
                <a:gd name="connsiteX19" fmla="*/ 209393 w 286657"/>
                <a:gd name="connsiteY19" fmla="*/ 171086 h 223353"/>
                <a:gd name="connsiteX20" fmla="*/ 188941 w 286657"/>
                <a:gd name="connsiteY20" fmla="*/ 164269 h 223353"/>
                <a:gd name="connsiteX21" fmla="*/ 177579 w 286657"/>
                <a:gd name="connsiteY21" fmla="*/ 171086 h 223353"/>
                <a:gd name="connsiteX22" fmla="*/ 161671 w 286657"/>
                <a:gd name="connsiteY22" fmla="*/ 171086 h 223353"/>
                <a:gd name="connsiteX23" fmla="*/ 102587 w 286657"/>
                <a:gd name="connsiteY23" fmla="*/ 171086 h 223353"/>
                <a:gd name="connsiteX24" fmla="*/ 98042 w 286657"/>
                <a:gd name="connsiteY24" fmla="*/ 191539 h 223353"/>
                <a:gd name="connsiteX25" fmla="*/ 102587 w 286657"/>
                <a:gd name="connsiteY25" fmla="*/ 218808 h 223353"/>
                <a:gd name="connsiteX26" fmla="*/ 75317 w 286657"/>
                <a:gd name="connsiteY26" fmla="*/ 214263 h 223353"/>
                <a:gd name="connsiteX27" fmla="*/ 59410 w 286657"/>
                <a:gd name="connsiteY27" fmla="*/ 214263 h 223353"/>
                <a:gd name="connsiteX28" fmla="*/ 48048 w 286657"/>
                <a:gd name="connsiteY28" fmla="*/ 223353 h 223353"/>
                <a:gd name="connsiteX29" fmla="*/ 32140 w 286657"/>
                <a:gd name="connsiteY29" fmla="*/ 214263 h 223353"/>
                <a:gd name="connsiteX30" fmla="*/ 27595 w 286657"/>
                <a:gd name="connsiteY30" fmla="*/ 202901 h 223353"/>
                <a:gd name="connsiteX31" fmla="*/ 7143 w 286657"/>
                <a:gd name="connsiteY31" fmla="*/ 198356 h 223353"/>
                <a:gd name="connsiteX32" fmla="*/ 7143 w 286657"/>
                <a:gd name="connsiteY32" fmla="*/ 185658 h 223353"/>
                <a:gd name="connsiteX33" fmla="*/ 0 w 286657"/>
                <a:gd name="connsiteY33" fmla="*/ 184070 h 223353"/>
                <a:gd name="connsiteX34" fmla="*/ 0 w 286657"/>
                <a:gd name="connsiteY34" fmla="*/ 156800 h 223353"/>
                <a:gd name="connsiteX35" fmla="*/ 9090 w 286657"/>
                <a:gd name="connsiteY35" fmla="*/ 145438 h 223353"/>
                <a:gd name="connsiteX36" fmla="*/ 9090 w 286657"/>
                <a:gd name="connsiteY36" fmla="*/ 129531 h 223353"/>
                <a:gd name="connsiteX37" fmla="*/ 36360 w 286657"/>
                <a:gd name="connsiteY37" fmla="*/ 97716 h 223353"/>
                <a:gd name="connsiteX38" fmla="*/ 40905 w 286657"/>
                <a:gd name="connsiteY38" fmla="*/ 74992 h 223353"/>
                <a:gd name="connsiteX39" fmla="*/ 52267 w 286657"/>
                <a:gd name="connsiteY39" fmla="*/ 65902 h 223353"/>
                <a:gd name="connsiteX40" fmla="*/ 68174 w 286657"/>
                <a:gd name="connsiteY40" fmla="*/ 70447 h 223353"/>
                <a:gd name="connsiteX41" fmla="*/ 84082 w 286657"/>
                <a:gd name="connsiteY41" fmla="*/ 59084 h 223353"/>
                <a:gd name="connsiteX42" fmla="*/ 90899 w 286657"/>
                <a:gd name="connsiteY42" fmla="*/ 47722 h 223353"/>
                <a:gd name="connsiteX43" fmla="*/ 118169 w 286657"/>
                <a:gd name="connsiteY43" fmla="*/ 38632 h 223353"/>
                <a:gd name="connsiteX44" fmla="*/ 127259 w 286657"/>
                <a:gd name="connsiteY44" fmla="*/ 22725 h 223353"/>
                <a:gd name="connsiteX45" fmla="*/ 161346 w 286657"/>
                <a:gd name="connsiteY45" fmla="*/ 6817 h 223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86657" h="223353">
                  <a:moveTo>
                    <a:pt x="181798" y="0"/>
                  </a:moveTo>
                  <a:lnTo>
                    <a:pt x="193160" y="11362"/>
                  </a:lnTo>
                  <a:lnTo>
                    <a:pt x="213613" y="6817"/>
                  </a:lnTo>
                  <a:lnTo>
                    <a:pt x="213613" y="22691"/>
                  </a:lnTo>
                  <a:lnTo>
                    <a:pt x="220756" y="21104"/>
                  </a:lnTo>
                  <a:lnTo>
                    <a:pt x="220756" y="41556"/>
                  </a:lnTo>
                  <a:lnTo>
                    <a:pt x="220756" y="51749"/>
                  </a:lnTo>
                  <a:lnTo>
                    <a:pt x="236337" y="70447"/>
                  </a:lnTo>
                  <a:lnTo>
                    <a:pt x="236337" y="76161"/>
                  </a:lnTo>
                  <a:lnTo>
                    <a:pt x="243480" y="84733"/>
                  </a:lnTo>
                  <a:lnTo>
                    <a:pt x="243480" y="88234"/>
                  </a:lnTo>
                  <a:lnTo>
                    <a:pt x="279514" y="97716"/>
                  </a:lnTo>
                  <a:lnTo>
                    <a:pt x="279514" y="110123"/>
                  </a:lnTo>
                  <a:lnTo>
                    <a:pt x="286657" y="112002"/>
                  </a:lnTo>
                  <a:lnTo>
                    <a:pt x="286657" y="132455"/>
                  </a:lnTo>
                  <a:lnTo>
                    <a:pt x="279840" y="148362"/>
                  </a:lnTo>
                  <a:lnTo>
                    <a:pt x="259388" y="148362"/>
                  </a:lnTo>
                  <a:lnTo>
                    <a:pt x="252570" y="164269"/>
                  </a:lnTo>
                  <a:lnTo>
                    <a:pt x="243480" y="171086"/>
                  </a:lnTo>
                  <a:lnTo>
                    <a:pt x="209393" y="171086"/>
                  </a:lnTo>
                  <a:lnTo>
                    <a:pt x="188941" y="164269"/>
                  </a:lnTo>
                  <a:lnTo>
                    <a:pt x="177579" y="171086"/>
                  </a:lnTo>
                  <a:lnTo>
                    <a:pt x="161671" y="171086"/>
                  </a:lnTo>
                  <a:lnTo>
                    <a:pt x="102587" y="171086"/>
                  </a:lnTo>
                  <a:lnTo>
                    <a:pt x="98042" y="191539"/>
                  </a:lnTo>
                  <a:lnTo>
                    <a:pt x="102587" y="218808"/>
                  </a:lnTo>
                  <a:lnTo>
                    <a:pt x="75317" y="214263"/>
                  </a:lnTo>
                  <a:lnTo>
                    <a:pt x="59410" y="214263"/>
                  </a:lnTo>
                  <a:lnTo>
                    <a:pt x="48048" y="223353"/>
                  </a:lnTo>
                  <a:lnTo>
                    <a:pt x="32140" y="214263"/>
                  </a:lnTo>
                  <a:lnTo>
                    <a:pt x="27595" y="202901"/>
                  </a:lnTo>
                  <a:lnTo>
                    <a:pt x="7143" y="198356"/>
                  </a:lnTo>
                  <a:lnTo>
                    <a:pt x="7143" y="185658"/>
                  </a:lnTo>
                  <a:lnTo>
                    <a:pt x="0" y="184070"/>
                  </a:lnTo>
                  <a:lnTo>
                    <a:pt x="0" y="156800"/>
                  </a:lnTo>
                  <a:lnTo>
                    <a:pt x="9090" y="145438"/>
                  </a:lnTo>
                  <a:lnTo>
                    <a:pt x="9090" y="129531"/>
                  </a:lnTo>
                  <a:lnTo>
                    <a:pt x="36360" y="97716"/>
                  </a:lnTo>
                  <a:lnTo>
                    <a:pt x="40905" y="74992"/>
                  </a:lnTo>
                  <a:lnTo>
                    <a:pt x="52267" y="65902"/>
                  </a:lnTo>
                  <a:lnTo>
                    <a:pt x="68174" y="70447"/>
                  </a:lnTo>
                  <a:lnTo>
                    <a:pt x="84082" y="59084"/>
                  </a:lnTo>
                  <a:lnTo>
                    <a:pt x="90899" y="47722"/>
                  </a:lnTo>
                  <a:lnTo>
                    <a:pt x="118169" y="38632"/>
                  </a:lnTo>
                  <a:lnTo>
                    <a:pt x="127259" y="22725"/>
                  </a:lnTo>
                  <a:lnTo>
                    <a:pt x="161346" y="681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74" name="Freeform 61">
              <a:extLst>
                <a:ext uri="{FF2B5EF4-FFF2-40B4-BE49-F238E27FC236}">
                  <a16:creationId xmlns:a16="http://schemas.microsoft.com/office/drawing/2014/main" id="{23022804-9282-22D4-C266-09EE91385EE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5195" y="2325041"/>
              <a:ext cx="37895" cy="40435"/>
            </a:xfrm>
            <a:custGeom>
              <a:avLst/>
              <a:gdLst>
                <a:gd name="connsiteX0" fmla="*/ 27270 w 79972"/>
                <a:gd name="connsiteY0" fmla="*/ 0 h 84082"/>
                <a:gd name="connsiteX1" fmla="*/ 32562 w 79972"/>
                <a:gd name="connsiteY1" fmla="*/ 4234 h 84082"/>
                <a:gd name="connsiteX2" fmla="*/ 36795 w 79972"/>
                <a:gd name="connsiteY2" fmla="*/ 0 h 84082"/>
                <a:gd name="connsiteX3" fmla="*/ 48157 w 79972"/>
                <a:gd name="connsiteY3" fmla="*/ 9090 h 84082"/>
                <a:gd name="connsiteX4" fmla="*/ 52702 w 79972"/>
                <a:gd name="connsiteY4" fmla="*/ 15908 h 84082"/>
                <a:gd name="connsiteX5" fmla="*/ 64065 w 79972"/>
                <a:gd name="connsiteY5" fmla="*/ 20453 h 84082"/>
                <a:gd name="connsiteX6" fmla="*/ 79972 w 79972"/>
                <a:gd name="connsiteY6" fmla="*/ 31815 h 84082"/>
                <a:gd name="connsiteX7" fmla="*/ 75427 w 79972"/>
                <a:gd name="connsiteY7" fmla="*/ 36360 h 84082"/>
                <a:gd name="connsiteX8" fmla="*/ 68610 w 79972"/>
                <a:gd name="connsiteY8" fmla="*/ 47722 h 84082"/>
                <a:gd name="connsiteX9" fmla="*/ 59520 w 79972"/>
                <a:gd name="connsiteY9" fmla="*/ 52267 h 84082"/>
                <a:gd name="connsiteX10" fmla="*/ 59520 w 79972"/>
                <a:gd name="connsiteY10" fmla="*/ 46997 h 84082"/>
                <a:gd name="connsiteX11" fmla="*/ 59085 w 79972"/>
                <a:gd name="connsiteY11" fmla="*/ 47722 h 84082"/>
                <a:gd name="connsiteX12" fmla="*/ 52307 w 79972"/>
                <a:gd name="connsiteY12" fmla="*/ 51111 h 84082"/>
                <a:gd name="connsiteX13" fmla="*/ 36795 w 79972"/>
                <a:gd name="connsiteY13" fmla="*/ 68175 h 84082"/>
                <a:gd name="connsiteX14" fmla="*/ 43613 w 79972"/>
                <a:gd name="connsiteY14" fmla="*/ 84082 h 84082"/>
                <a:gd name="connsiteX15" fmla="*/ 32250 w 79972"/>
                <a:gd name="connsiteY15" fmla="*/ 79537 h 84082"/>
                <a:gd name="connsiteX16" fmla="*/ 31974 w 79972"/>
                <a:gd name="connsiteY16" fmla="*/ 79151 h 84082"/>
                <a:gd name="connsiteX17" fmla="*/ 34088 w 79972"/>
                <a:gd name="connsiteY17" fmla="*/ 84082 h 84082"/>
                <a:gd name="connsiteX18" fmla="*/ 22725 w 79972"/>
                <a:gd name="connsiteY18" fmla="*/ 79537 h 84082"/>
                <a:gd name="connsiteX19" fmla="*/ 11363 w 79972"/>
                <a:gd name="connsiteY19" fmla="*/ 63630 h 84082"/>
                <a:gd name="connsiteX20" fmla="*/ 0 w 79972"/>
                <a:gd name="connsiteY20" fmla="*/ 52267 h 84082"/>
                <a:gd name="connsiteX21" fmla="*/ 0 w 79972"/>
                <a:gd name="connsiteY21" fmla="*/ 43177 h 84082"/>
                <a:gd name="connsiteX22" fmla="*/ 6817 w 79972"/>
                <a:gd name="connsiteY22" fmla="*/ 15908 h 84082"/>
                <a:gd name="connsiteX23" fmla="*/ 22725 w 79972"/>
                <a:gd name="connsiteY23" fmla="*/ 4545 h 84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79972" h="84082">
                  <a:moveTo>
                    <a:pt x="27270" y="0"/>
                  </a:moveTo>
                  <a:lnTo>
                    <a:pt x="32562" y="4234"/>
                  </a:lnTo>
                  <a:lnTo>
                    <a:pt x="36795" y="0"/>
                  </a:lnTo>
                  <a:lnTo>
                    <a:pt x="48157" y="9090"/>
                  </a:lnTo>
                  <a:lnTo>
                    <a:pt x="52702" y="15908"/>
                  </a:lnTo>
                  <a:lnTo>
                    <a:pt x="64065" y="20453"/>
                  </a:lnTo>
                  <a:lnTo>
                    <a:pt x="79972" y="31815"/>
                  </a:lnTo>
                  <a:lnTo>
                    <a:pt x="75427" y="36360"/>
                  </a:lnTo>
                  <a:lnTo>
                    <a:pt x="68610" y="47722"/>
                  </a:lnTo>
                  <a:lnTo>
                    <a:pt x="59520" y="52267"/>
                  </a:lnTo>
                  <a:lnTo>
                    <a:pt x="59520" y="46997"/>
                  </a:lnTo>
                  <a:lnTo>
                    <a:pt x="59085" y="47722"/>
                  </a:lnTo>
                  <a:lnTo>
                    <a:pt x="52307" y="51111"/>
                  </a:lnTo>
                  <a:lnTo>
                    <a:pt x="36795" y="68175"/>
                  </a:lnTo>
                  <a:lnTo>
                    <a:pt x="43613" y="84082"/>
                  </a:lnTo>
                  <a:lnTo>
                    <a:pt x="32250" y="79537"/>
                  </a:lnTo>
                  <a:lnTo>
                    <a:pt x="31974" y="79151"/>
                  </a:lnTo>
                  <a:lnTo>
                    <a:pt x="34088" y="84082"/>
                  </a:lnTo>
                  <a:lnTo>
                    <a:pt x="22725" y="79537"/>
                  </a:lnTo>
                  <a:lnTo>
                    <a:pt x="11363" y="63630"/>
                  </a:lnTo>
                  <a:lnTo>
                    <a:pt x="0" y="52267"/>
                  </a:lnTo>
                  <a:lnTo>
                    <a:pt x="0" y="43177"/>
                  </a:lnTo>
                  <a:lnTo>
                    <a:pt x="6817" y="15908"/>
                  </a:lnTo>
                  <a:lnTo>
                    <a:pt x="22725" y="454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75" name="Freeform 62">
              <a:extLst>
                <a:ext uri="{FF2B5EF4-FFF2-40B4-BE49-F238E27FC236}">
                  <a16:creationId xmlns:a16="http://schemas.microsoft.com/office/drawing/2014/main" id="{DE643512-8C29-99C2-DBA8-F7E3476BC87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9296" y="2259472"/>
              <a:ext cx="75587" cy="96168"/>
            </a:xfrm>
            <a:custGeom>
              <a:avLst/>
              <a:gdLst>
                <a:gd name="connsiteX0" fmla="*/ 24997 w 159508"/>
                <a:gd name="connsiteY0" fmla="*/ 0 h 199977"/>
                <a:gd name="connsiteX1" fmla="*/ 34522 w 159508"/>
                <a:gd name="connsiteY1" fmla="*/ 0 h 199977"/>
                <a:gd name="connsiteX2" fmla="*/ 47722 w 159508"/>
                <a:gd name="connsiteY2" fmla="*/ 0 h 199977"/>
                <a:gd name="connsiteX3" fmla="*/ 57247 w 159508"/>
                <a:gd name="connsiteY3" fmla="*/ 0 h 199977"/>
                <a:gd name="connsiteX4" fmla="*/ 77699 w 159508"/>
                <a:gd name="connsiteY4" fmla="*/ 22725 h 199977"/>
                <a:gd name="connsiteX5" fmla="*/ 77699 w 159508"/>
                <a:gd name="connsiteY5" fmla="*/ 38632 h 199977"/>
                <a:gd name="connsiteX6" fmla="*/ 104969 w 159508"/>
                <a:gd name="connsiteY6" fmla="*/ 54539 h 199977"/>
                <a:gd name="connsiteX7" fmla="*/ 104969 w 159508"/>
                <a:gd name="connsiteY7" fmla="*/ 70447 h 199977"/>
                <a:gd name="connsiteX8" fmla="*/ 122091 w 159508"/>
                <a:gd name="connsiteY8" fmla="*/ 82432 h 199977"/>
                <a:gd name="connsiteX9" fmla="*/ 127259 w 159508"/>
                <a:gd name="connsiteY9" fmla="*/ 77264 h 199977"/>
                <a:gd name="connsiteX10" fmla="*/ 134062 w 159508"/>
                <a:gd name="connsiteY10" fmla="*/ 79985 h 199977"/>
                <a:gd name="connsiteX11" fmla="*/ 136784 w 159508"/>
                <a:gd name="connsiteY11" fmla="*/ 77264 h 199977"/>
                <a:gd name="connsiteX12" fmla="*/ 148146 w 159508"/>
                <a:gd name="connsiteY12" fmla="*/ 81809 h 199977"/>
                <a:gd name="connsiteX13" fmla="*/ 136784 w 159508"/>
                <a:gd name="connsiteY13" fmla="*/ 93171 h 199977"/>
                <a:gd name="connsiteX14" fmla="*/ 148146 w 159508"/>
                <a:gd name="connsiteY14" fmla="*/ 102261 h 199977"/>
                <a:gd name="connsiteX15" fmla="*/ 136784 w 159508"/>
                <a:gd name="connsiteY15" fmla="*/ 113623 h 199977"/>
                <a:gd name="connsiteX16" fmla="*/ 136784 w 159508"/>
                <a:gd name="connsiteY16" fmla="*/ 129531 h 199977"/>
                <a:gd name="connsiteX17" fmla="*/ 159508 w 159508"/>
                <a:gd name="connsiteY17" fmla="*/ 152255 h 199977"/>
                <a:gd name="connsiteX18" fmla="*/ 143601 w 159508"/>
                <a:gd name="connsiteY18" fmla="*/ 168163 h 199977"/>
                <a:gd name="connsiteX19" fmla="*/ 136784 w 159508"/>
                <a:gd name="connsiteY19" fmla="*/ 184070 h 199977"/>
                <a:gd name="connsiteX20" fmla="*/ 143601 w 159508"/>
                <a:gd name="connsiteY20" fmla="*/ 188615 h 199977"/>
                <a:gd name="connsiteX21" fmla="*/ 136784 w 159508"/>
                <a:gd name="connsiteY21" fmla="*/ 199977 h 199977"/>
                <a:gd name="connsiteX22" fmla="*/ 127259 w 159508"/>
                <a:gd name="connsiteY22" fmla="*/ 199977 h 199977"/>
                <a:gd name="connsiteX23" fmla="*/ 120876 w 159508"/>
                <a:gd name="connsiteY23" fmla="*/ 199977 h 199977"/>
                <a:gd name="connsiteX24" fmla="*/ 111351 w 159508"/>
                <a:gd name="connsiteY24" fmla="*/ 199977 h 199977"/>
                <a:gd name="connsiteX25" fmla="*/ 104969 w 159508"/>
                <a:gd name="connsiteY25" fmla="*/ 199977 h 199977"/>
                <a:gd name="connsiteX26" fmla="*/ 95444 w 159508"/>
                <a:gd name="connsiteY26" fmla="*/ 199977 h 199977"/>
                <a:gd name="connsiteX27" fmla="*/ 99989 w 159508"/>
                <a:gd name="connsiteY27" fmla="*/ 188615 h 199977"/>
                <a:gd name="connsiteX28" fmla="*/ 106806 w 159508"/>
                <a:gd name="connsiteY28" fmla="*/ 179525 h 199977"/>
                <a:gd name="connsiteX29" fmla="*/ 99989 w 159508"/>
                <a:gd name="connsiteY29" fmla="*/ 179525 h 199977"/>
                <a:gd name="connsiteX30" fmla="*/ 90899 w 159508"/>
                <a:gd name="connsiteY30" fmla="*/ 172708 h 199977"/>
                <a:gd name="connsiteX31" fmla="*/ 84082 w 159508"/>
                <a:gd name="connsiteY31" fmla="*/ 168163 h 199977"/>
                <a:gd name="connsiteX32" fmla="*/ 79537 w 159508"/>
                <a:gd name="connsiteY32" fmla="*/ 161345 h 199977"/>
                <a:gd name="connsiteX33" fmla="*/ 74992 w 159508"/>
                <a:gd name="connsiteY33" fmla="*/ 156800 h 199977"/>
                <a:gd name="connsiteX34" fmla="*/ 72357 w 159508"/>
                <a:gd name="connsiteY34" fmla="*/ 155044 h 199977"/>
                <a:gd name="connsiteX35" fmla="*/ 68609 w 159508"/>
                <a:gd name="connsiteY35" fmla="*/ 168163 h 199977"/>
                <a:gd name="connsiteX36" fmla="*/ 57247 w 159508"/>
                <a:gd name="connsiteY36" fmla="*/ 172708 h 199977"/>
                <a:gd name="connsiteX37" fmla="*/ 61792 w 159508"/>
                <a:gd name="connsiteY37" fmla="*/ 168163 h 199977"/>
                <a:gd name="connsiteX38" fmla="*/ 59543 w 159508"/>
                <a:gd name="connsiteY38" fmla="*/ 166556 h 199977"/>
                <a:gd name="connsiteX39" fmla="*/ 59084 w 159508"/>
                <a:gd name="connsiteY39" fmla="*/ 168163 h 199977"/>
                <a:gd name="connsiteX40" fmla="*/ 47722 w 159508"/>
                <a:gd name="connsiteY40" fmla="*/ 172708 h 199977"/>
                <a:gd name="connsiteX41" fmla="*/ 52267 w 159508"/>
                <a:gd name="connsiteY41" fmla="*/ 168163 h 199977"/>
                <a:gd name="connsiteX42" fmla="*/ 36360 w 159508"/>
                <a:gd name="connsiteY42" fmla="*/ 156800 h 199977"/>
                <a:gd name="connsiteX43" fmla="*/ 24997 w 159508"/>
                <a:gd name="connsiteY43" fmla="*/ 152255 h 199977"/>
                <a:gd name="connsiteX44" fmla="*/ 20452 w 159508"/>
                <a:gd name="connsiteY44" fmla="*/ 145438 h 199977"/>
                <a:gd name="connsiteX45" fmla="*/ 9090 w 159508"/>
                <a:gd name="connsiteY45" fmla="*/ 136348 h 199977"/>
                <a:gd name="connsiteX46" fmla="*/ 18615 w 159508"/>
                <a:gd name="connsiteY46" fmla="*/ 136348 h 199977"/>
                <a:gd name="connsiteX47" fmla="*/ 20452 w 159508"/>
                <a:gd name="connsiteY47" fmla="*/ 136348 h 199977"/>
                <a:gd name="connsiteX48" fmla="*/ 24997 w 159508"/>
                <a:gd name="connsiteY48" fmla="*/ 109078 h 199977"/>
                <a:gd name="connsiteX49" fmla="*/ 9090 w 159508"/>
                <a:gd name="connsiteY49" fmla="*/ 93171 h 199977"/>
                <a:gd name="connsiteX50" fmla="*/ 15908 w 159508"/>
                <a:gd name="connsiteY50" fmla="*/ 70447 h 199977"/>
                <a:gd name="connsiteX51" fmla="*/ 14070 w 159508"/>
                <a:gd name="connsiteY51" fmla="*/ 70447 h 199977"/>
                <a:gd name="connsiteX52" fmla="*/ 4545 w 159508"/>
                <a:gd name="connsiteY52" fmla="*/ 70447 h 199977"/>
                <a:gd name="connsiteX53" fmla="*/ 15908 w 159508"/>
                <a:gd name="connsiteY53" fmla="*/ 49994 h 199977"/>
                <a:gd name="connsiteX54" fmla="*/ 4545 w 159508"/>
                <a:gd name="connsiteY54" fmla="*/ 34087 h 199977"/>
                <a:gd name="connsiteX55" fmla="*/ 0 w 159508"/>
                <a:gd name="connsiteY55" fmla="*/ 11362 h 199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59508" h="199977">
                  <a:moveTo>
                    <a:pt x="24997" y="0"/>
                  </a:moveTo>
                  <a:lnTo>
                    <a:pt x="34522" y="0"/>
                  </a:lnTo>
                  <a:lnTo>
                    <a:pt x="47722" y="0"/>
                  </a:lnTo>
                  <a:lnTo>
                    <a:pt x="57247" y="0"/>
                  </a:lnTo>
                  <a:lnTo>
                    <a:pt x="77699" y="22725"/>
                  </a:lnTo>
                  <a:lnTo>
                    <a:pt x="77699" y="38632"/>
                  </a:lnTo>
                  <a:lnTo>
                    <a:pt x="104969" y="54539"/>
                  </a:lnTo>
                  <a:lnTo>
                    <a:pt x="104969" y="70447"/>
                  </a:lnTo>
                  <a:lnTo>
                    <a:pt x="122091" y="82432"/>
                  </a:lnTo>
                  <a:lnTo>
                    <a:pt x="127259" y="77264"/>
                  </a:lnTo>
                  <a:lnTo>
                    <a:pt x="134062" y="79985"/>
                  </a:lnTo>
                  <a:lnTo>
                    <a:pt x="136784" y="77264"/>
                  </a:lnTo>
                  <a:lnTo>
                    <a:pt x="148146" y="81809"/>
                  </a:lnTo>
                  <a:lnTo>
                    <a:pt x="136784" y="93171"/>
                  </a:lnTo>
                  <a:lnTo>
                    <a:pt x="148146" y="102261"/>
                  </a:lnTo>
                  <a:lnTo>
                    <a:pt x="136784" y="113623"/>
                  </a:lnTo>
                  <a:lnTo>
                    <a:pt x="136784" y="129531"/>
                  </a:lnTo>
                  <a:lnTo>
                    <a:pt x="159508" y="152255"/>
                  </a:lnTo>
                  <a:lnTo>
                    <a:pt x="143601" y="168163"/>
                  </a:lnTo>
                  <a:lnTo>
                    <a:pt x="136784" y="184070"/>
                  </a:lnTo>
                  <a:lnTo>
                    <a:pt x="143601" y="188615"/>
                  </a:lnTo>
                  <a:lnTo>
                    <a:pt x="136784" y="199977"/>
                  </a:lnTo>
                  <a:lnTo>
                    <a:pt x="127259" y="199977"/>
                  </a:lnTo>
                  <a:lnTo>
                    <a:pt x="120876" y="199977"/>
                  </a:lnTo>
                  <a:lnTo>
                    <a:pt x="111351" y="199977"/>
                  </a:lnTo>
                  <a:lnTo>
                    <a:pt x="104969" y="199977"/>
                  </a:lnTo>
                  <a:lnTo>
                    <a:pt x="95444" y="199977"/>
                  </a:lnTo>
                  <a:lnTo>
                    <a:pt x="99989" y="188615"/>
                  </a:lnTo>
                  <a:lnTo>
                    <a:pt x="106806" y="179525"/>
                  </a:lnTo>
                  <a:lnTo>
                    <a:pt x="99989" y="179525"/>
                  </a:lnTo>
                  <a:lnTo>
                    <a:pt x="90899" y="172708"/>
                  </a:lnTo>
                  <a:lnTo>
                    <a:pt x="84082" y="168163"/>
                  </a:lnTo>
                  <a:lnTo>
                    <a:pt x="79537" y="161345"/>
                  </a:lnTo>
                  <a:lnTo>
                    <a:pt x="74992" y="156800"/>
                  </a:lnTo>
                  <a:lnTo>
                    <a:pt x="72357" y="155044"/>
                  </a:lnTo>
                  <a:lnTo>
                    <a:pt x="68609" y="168163"/>
                  </a:lnTo>
                  <a:lnTo>
                    <a:pt x="57247" y="172708"/>
                  </a:lnTo>
                  <a:lnTo>
                    <a:pt x="61792" y="168163"/>
                  </a:lnTo>
                  <a:lnTo>
                    <a:pt x="59543" y="166556"/>
                  </a:lnTo>
                  <a:lnTo>
                    <a:pt x="59084" y="168163"/>
                  </a:lnTo>
                  <a:lnTo>
                    <a:pt x="47722" y="172708"/>
                  </a:lnTo>
                  <a:lnTo>
                    <a:pt x="52267" y="168163"/>
                  </a:lnTo>
                  <a:lnTo>
                    <a:pt x="36360" y="156800"/>
                  </a:lnTo>
                  <a:lnTo>
                    <a:pt x="24997" y="152255"/>
                  </a:lnTo>
                  <a:lnTo>
                    <a:pt x="20452" y="145438"/>
                  </a:lnTo>
                  <a:lnTo>
                    <a:pt x="9090" y="136348"/>
                  </a:lnTo>
                  <a:lnTo>
                    <a:pt x="18615" y="136348"/>
                  </a:lnTo>
                  <a:lnTo>
                    <a:pt x="20452" y="136348"/>
                  </a:lnTo>
                  <a:lnTo>
                    <a:pt x="24997" y="109078"/>
                  </a:lnTo>
                  <a:lnTo>
                    <a:pt x="9090" y="93171"/>
                  </a:lnTo>
                  <a:lnTo>
                    <a:pt x="15908" y="70447"/>
                  </a:lnTo>
                  <a:lnTo>
                    <a:pt x="14070" y="70447"/>
                  </a:lnTo>
                  <a:lnTo>
                    <a:pt x="4545" y="70447"/>
                  </a:lnTo>
                  <a:lnTo>
                    <a:pt x="15908" y="49994"/>
                  </a:lnTo>
                  <a:lnTo>
                    <a:pt x="4545" y="34087"/>
                  </a:lnTo>
                  <a:lnTo>
                    <a:pt x="0" y="1136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76" name="Freeform 63">
              <a:extLst>
                <a:ext uri="{FF2B5EF4-FFF2-40B4-BE49-F238E27FC236}">
                  <a16:creationId xmlns:a16="http://schemas.microsoft.com/office/drawing/2014/main" id="{1E39D5F7-B344-C258-8930-56AD10514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57036" y="1977525"/>
              <a:ext cx="169221" cy="145346"/>
            </a:xfrm>
            <a:custGeom>
              <a:avLst/>
              <a:gdLst>
                <a:gd name="connsiteX0" fmla="*/ 184079 w 357103"/>
                <a:gd name="connsiteY0" fmla="*/ 0 h 302238"/>
                <a:gd name="connsiteX1" fmla="*/ 188461 w 357103"/>
                <a:gd name="connsiteY1" fmla="*/ 1949 h 302238"/>
                <a:gd name="connsiteX2" fmla="*/ 191223 w 357103"/>
                <a:gd name="connsiteY2" fmla="*/ 0 h 302238"/>
                <a:gd name="connsiteX3" fmla="*/ 232133 w 357103"/>
                <a:gd name="connsiteY3" fmla="*/ 18195 h 302238"/>
                <a:gd name="connsiteX4" fmla="*/ 237816 w 357103"/>
                <a:gd name="connsiteY4" fmla="*/ 31502 h 302238"/>
                <a:gd name="connsiteX5" fmla="*/ 247701 w 357103"/>
                <a:gd name="connsiteY5" fmla="*/ 27262 h 302238"/>
                <a:gd name="connsiteX6" fmla="*/ 251939 w 357103"/>
                <a:gd name="connsiteY6" fmla="*/ 28508 h 302238"/>
                <a:gd name="connsiteX7" fmla="*/ 254845 w 357103"/>
                <a:gd name="connsiteY7" fmla="*/ 27262 h 302238"/>
                <a:gd name="connsiteX8" fmla="*/ 293481 w 357103"/>
                <a:gd name="connsiteY8" fmla="*/ 38626 h 302238"/>
                <a:gd name="connsiteX9" fmla="*/ 298030 w 357103"/>
                <a:gd name="connsiteY9" fmla="*/ 70452 h 302238"/>
                <a:gd name="connsiteX10" fmla="*/ 286656 w 357103"/>
                <a:gd name="connsiteY10" fmla="*/ 86350 h 302238"/>
                <a:gd name="connsiteX11" fmla="*/ 313918 w 357103"/>
                <a:gd name="connsiteY11" fmla="*/ 129539 h 302238"/>
                <a:gd name="connsiteX12" fmla="*/ 325292 w 357103"/>
                <a:gd name="connsiteY12" fmla="*/ 140903 h 302238"/>
                <a:gd name="connsiteX13" fmla="*/ 325292 w 357103"/>
                <a:gd name="connsiteY13" fmla="*/ 152268 h 302238"/>
                <a:gd name="connsiteX14" fmla="*/ 345730 w 357103"/>
                <a:gd name="connsiteY14" fmla="*/ 161335 h 302238"/>
                <a:gd name="connsiteX15" fmla="*/ 357103 w 357103"/>
                <a:gd name="connsiteY15" fmla="*/ 179530 h 302238"/>
                <a:gd name="connsiteX16" fmla="*/ 345730 w 357103"/>
                <a:gd name="connsiteY16" fmla="*/ 195427 h 302238"/>
                <a:gd name="connsiteX17" fmla="*/ 335336 w 357103"/>
                <a:gd name="connsiteY17" fmla="*/ 202923 h 302238"/>
                <a:gd name="connsiteX18" fmla="*/ 329159 w 357103"/>
                <a:gd name="connsiteY18" fmla="*/ 202225 h 302238"/>
                <a:gd name="connsiteX19" fmla="*/ 328192 w 357103"/>
                <a:gd name="connsiteY19" fmla="*/ 202923 h 302238"/>
                <a:gd name="connsiteX20" fmla="*/ 310162 w 357103"/>
                <a:gd name="connsiteY20" fmla="*/ 200887 h 302238"/>
                <a:gd name="connsiteX21" fmla="*/ 316403 w 357103"/>
                <a:gd name="connsiteY21" fmla="*/ 207940 h 302238"/>
                <a:gd name="connsiteX22" fmla="*/ 323437 w 357103"/>
                <a:gd name="connsiteY22" fmla="*/ 215889 h 302238"/>
                <a:gd name="connsiteX23" fmla="*/ 325292 w 357103"/>
                <a:gd name="connsiteY23" fmla="*/ 254515 h 302238"/>
                <a:gd name="connsiteX24" fmla="*/ 293481 w 357103"/>
                <a:gd name="connsiteY24" fmla="*/ 259048 h 302238"/>
                <a:gd name="connsiteX25" fmla="*/ 282107 w 357103"/>
                <a:gd name="connsiteY25" fmla="*/ 274976 h 302238"/>
                <a:gd name="connsiteX26" fmla="*/ 282107 w 357103"/>
                <a:gd name="connsiteY26" fmla="*/ 302238 h 302238"/>
                <a:gd name="connsiteX27" fmla="*/ 274963 w 357103"/>
                <a:gd name="connsiteY27" fmla="*/ 300200 h 302238"/>
                <a:gd name="connsiteX28" fmla="*/ 274963 w 357103"/>
                <a:gd name="connsiteY28" fmla="*/ 302238 h 302238"/>
                <a:gd name="connsiteX29" fmla="*/ 259075 w 357103"/>
                <a:gd name="connsiteY29" fmla="*/ 297705 h 302238"/>
                <a:gd name="connsiteX30" fmla="*/ 232133 w 357103"/>
                <a:gd name="connsiteY30" fmla="*/ 297705 h 302238"/>
                <a:gd name="connsiteX31" fmla="*/ 224989 w 357103"/>
                <a:gd name="connsiteY31" fmla="*/ 297705 h 302238"/>
                <a:gd name="connsiteX32" fmla="*/ 218488 w 357103"/>
                <a:gd name="connsiteY32" fmla="*/ 289585 h 302238"/>
                <a:gd name="connsiteX33" fmla="*/ 207111 w 357103"/>
                <a:gd name="connsiteY33" fmla="*/ 297705 h 302238"/>
                <a:gd name="connsiteX34" fmla="*/ 204139 w 357103"/>
                <a:gd name="connsiteY34" fmla="*/ 294727 h 302238"/>
                <a:gd name="connsiteX35" fmla="*/ 199967 w 357103"/>
                <a:gd name="connsiteY35" fmla="*/ 297705 h 302238"/>
                <a:gd name="connsiteX36" fmla="*/ 188628 w 357103"/>
                <a:gd name="connsiteY36" fmla="*/ 286340 h 302238"/>
                <a:gd name="connsiteX37" fmla="*/ 168475 w 357103"/>
                <a:gd name="connsiteY37" fmla="*/ 286340 h 302238"/>
                <a:gd name="connsiteX38" fmla="*/ 161331 w 357103"/>
                <a:gd name="connsiteY38" fmla="*/ 286340 h 302238"/>
                <a:gd name="connsiteX39" fmla="*/ 118181 w 357103"/>
                <a:gd name="connsiteY39" fmla="*/ 274976 h 302238"/>
                <a:gd name="connsiteX40" fmla="*/ 81821 w 357103"/>
                <a:gd name="connsiteY40" fmla="*/ 270412 h 302238"/>
                <a:gd name="connsiteX41" fmla="*/ 61668 w 357103"/>
                <a:gd name="connsiteY41" fmla="*/ 270412 h 302238"/>
                <a:gd name="connsiteX42" fmla="*/ 38956 w 357103"/>
                <a:gd name="connsiteY42" fmla="*/ 286340 h 302238"/>
                <a:gd name="connsiteX43" fmla="*/ 31812 w 357103"/>
                <a:gd name="connsiteY43" fmla="*/ 286340 h 302238"/>
                <a:gd name="connsiteX44" fmla="*/ 23067 w 357103"/>
                <a:gd name="connsiteY44" fmla="*/ 286340 h 302238"/>
                <a:gd name="connsiteX45" fmla="*/ 15923 w 357103"/>
                <a:gd name="connsiteY45" fmla="*/ 286340 h 302238"/>
                <a:gd name="connsiteX46" fmla="*/ 11374 w 357103"/>
                <a:gd name="connsiteY46" fmla="*/ 259048 h 302238"/>
                <a:gd name="connsiteX47" fmla="*/ 0 w 357103"/>
                <a:gd name="connsiteY47" fmla="*/ 231786 h 302238"/>
                <a:gd name="connsiteX48" fmla="*/ 27262 w 357103"/>
                <a:gd name="connsiteY48" fmla="*/ 220422 h 302238"/>
                <a:gd name="connsiteX49" fmla="*/ 27262 w 357103"/>
                <a:gd name="connsiteY49" fmla="*/ 195427 h 302238"/>
                <a:gd name="connsiteX50" fmla="*/ 15923 w 357103"/>
                <a:gd name="connsiteY50" fmla="*/ 172699 h 302238"/>
                <a:gd name="connsiteX51" fmla="*/ 11374 w 357103"/>
                <a:gd name="connsiteY51" fmla="*/ 145437 h 302238"/>
                <a:gd name="connsiteX52" fmla="*/ 18518 w 357103"/>
                <a:gd name="connsiteY52" fmla="*/ 145437 h 302238"/>
                <a:gd name="connsiteX53" fmla="*/ 47735 w 357103"/>
                <a:gd name="connsiteY53" fmla="*/ 145437 h 302238"/>
                <a:gd name="connsiteX54" fmla="*/ 86370 w 357103"/>
                <a:gd name="connsiteY54" fmla="*/ 124976 h 302238"/>
                <a:gd name="connsiteX55" fmla="*/ 97709 w 357103"/>
                <a:gd name="connsiteY55" fmla="*/ 86350 h 302238"/>
                <a:gd name="connsiteX56" fmla="*/ 129520 w 357103"/>
                <a:gd name="connsiteY56" fmla="*/ 65888 h 302238"/>
                <a:gd name="connsiteX57" fmla="*/ 124971 w 357103"/>
                <a:gd name="connsiteY57" fmla="*/ 38626 h 302238"/>
                <a:gd name="connsiteX58" fmla="*/ 145443 w 357103"/>
                <a:gd name="connsiteY58" fmla="*/ 27262 h 302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57103" h="302238">
                  <a:moveTo>
                    <a:pt x="184079" y="0"/>
                  </a:moveTo>
                  <a:lnTo>
                    <a:pt x="188461" y="1949"/>
                  </a:lnTo>
                  <a:lnTo>
                    <a:pt x="191223" y="0"/>
                  </a:lnTo>
                  <a:lnTo>
                    <a:pt x="232133" y="18195"/>
                  </a:lnTo>
                  <a:lnTo>
                    <a:pt x="237816" y="31502"/>
                  </a:lnTo>
                  <a:lnTo>
                    <a:pt x="247701" y="27262"/>
                  </a:lnTo>
                  <a:lnTo>
                    <a:pt x="251939" y="28508"/>
                  </a:lnTo>
                  <a:lnTo>
                    <a:pt x="254845" y="27262"/>
                  </a:lnTo>
                  <a:lnTo>
                    <a:pt x="293481" y="38626"/>
                  </a:lnTo>
                  <a:cubicBezTo>
                    <a:pt x="294986" y="49235"/>
                    <a:pt x="296525" y="59843"/>
                    <a:pt x="298030" y="70452"/>
                  </a:cubicBezTo>
                  <a:lnTo>
                    <a:pt x="286656" y="86350"/>
                  </a:lnTo>
                  <a:lnTo>
                    <a:pt x="313918" y="129539"/>
                  </a:lnTo>
                  <a:lnTo>
                    <a:pt x="325292" y="140903"/>
                  </a:lnTo>
                  <a:lnTo>
                    <a:pt x="325292" y="152268"/>
                  </a:lnTo>
                  <a:lnTo>
                    <a:pt x="345730" y="161335"/>
                  </a:lnTo>
                  <a:lnTo>
                    <a:pt x="357103" y="179530"/>
                  </a:lnTo>
                  <a:lnTo>
                    <a:pt x="345730" y="195427"/>
                  </a:lnTo>
                  <a:lnTo>
                    <a:pt x="335336" y="202923"/>
                  </a:lnTo>
                  <a:lnTo>
                    <a:pt x="329159" y="202225"/>
                  </a:lnTo>
                  <a:lnTo>
                    <a:pt x="328192" y="202923"/>
                  </a:lnTo>
                  <a:lnTo>
                    <a:pt x="310162" y="200887"/>
                  </a:lnTo>
                  <a:lnTo>
                    <a:pt x="316403" y="207940"/>
                  </a:lnTo>
                  <a:cubicBezTo>
                    <a:pt x="319544" y="210592"/>
                    <a:pt x="322685" y="213244"/>
                    <a:pt x="323437" y="215889"/>
                  </a:cubicBezTo>
                  <a:cubicBezTo>
                    <a:pt x="327217" y="228764"/>
                    <a:pt x="321512" y="241639"/>
                    <a:pt x="325292" y="254515"/>
                  </a:cubicBezTo>
                  <a:lnTo>
                    <a:pt x="293481" y="259048"/>
                  </a:lnTo>
                  <a:lnTo>
                    <a:pt x="282107" y="274976"/>
                  </a:lnTo>
                  <a:lnTo>
                    <a:pt x="282107" y="302238"/>
                  </a:lnTo>
                  <a:lnTo>
                    <a:pt x="274963" y="300200"/>
                  </a:lnTo>
                  <a:lnTo>
                    <a:pt x="274963" y="302238"/>
                  </a:lnTo>
                  <a:lnTo>
                    <a:pt x="259075" y="297705"/>
                  </a:lnTo>
                  <a:lnTo>
                    <a:pt x="232133" y="297705"/>
                  </a:lnTo>
                  <a:lnTo>
                    <a:pt x="224989" y="297705"/>
                  </a:lnTo>
                  <a:lnTo>
                    <a:pt x="218488" y="289585"/>
                  </a:lnTo>
                  <a:lnTo>
                    <a:pt x="207111" y="297705"/>
                  </a:lnTo>
                  <a:lnTo>
                    <a:pt x="204139" y="294727"/>
                  </a:lnTo>
                  <a:lnTo>
                    <a:pt x="199967" y="297705"/>
                  </a:lnTo>
                  <a:lnTo>
                    <a:pt x="188628" y="286340"/>
                  </a:lnTo>
                  <a:lnTo>
                    <a:pt x="168475" y="286340"/>
                  </a:lnTo>
                  <a:lnTo>
                    <a:pt x="161331" y="286340"/>
                  </a:lnTo>
                  <a:lnTo>
                    <a:pt x="118181" y="274976"/>
                  </a:lnTo>
                  <a:lnTo>
                    <a:pt x="81821" y="270412"/>
                  </a:lnTo>
                  <a:lnTo>
                    <a:pt x="61668" y="270412"/>
                  </a:lnTo>
                  <a:lnTo>
                    <a:pt x="38956" y="286340"/>
                  </a:lnTo>
                  <a:lnTo>
                    <a:pt x="31812" y="286340"/>
                  </a:lnTo>
                  <a:lnTo>
                    <a:pt x="23067" y="286340"/>
                  </a:lnTo>
                  <a:lnTo>
                    <a:pt x="15923" y="286340"/>
                  </a:lnTo>
                  <a:cubicBezTo>
                    <a:pt x="14419" y="277243"/>
                    <a:pt x="12879" y="268146"/>
                    <a:pt x="11374" y="259048"/>
                  </a:cubicBezTo>
                  <a:cubicBezTo>
                    <a:pt x="7594" y="249951"/>
                    <a:pt x="3779" y="240884"/>
                    <a:pt x="0" y="231786"/>
                  </a:cubicBezTo>
                  <a:lnTo>
                    <a:pt x="27262" y="220422"/>
                  </a:lnTo>
                  <a:lnTo>
                    <a:pt x="27262" y="195427"/>
                  </a:lnTo>
                  <a:lnTo>
                    <a:pt x="15923" y="172699"/>
                  </a:lnTo>
                  <a:cubicBezTo>
                    <a:pt x="14419" y="163602"/>
                    <a:pt x="12879" y="154534"/>
                    <a:pt x="11374" y="145437"/>
                  </a:cubicBezTo>
                  <a:lnTo>
                    <a:pt x="18518" y="145437"/>
                  </a:lnTo>
                  <a:lnTo>
                    <a:pt x="47735" y="145437"/>
                  </a:lnTo>
                  <a:lnTo>
                    <a:pt x="86370" y="124976"/>
                  </a:lnTo>
                  <a:lnTo>
                    <a:pt x="97709" y="86350"/>
                  </a:lnTo>
                  <a:lnTo>
                    <a:pt x="129520" y="65888"/>
                  </a:lnTo>
                  <a:cubicBezTo>
                    <a:pt x="128015" y="56791"/>
                    <a:pt x="126475" y="47724"/>
                    <a:pt x="124971" y="38626"/>
                  </a:cubicBezTo>
                  <a:lnTo>
                    <a:pt x="145443" y="2726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77" name="Freeform 64">
              <a:extLst>
                <a:ext uri="{FF2B5EF4-FFF2-40B4-BE49-F238E27FC236}">
                  <a16:creationId xmlns:a16="http://schemas.microsoft.com/office/drawing/2014/main" id="{4C46C037-D504-75BA-C797-504BEB015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8418" y="2199314"/>
              <a:ext cx="60406" cy="78737"/>
            </a:xfrm>
            <a:custGeom>
              <a:avLst/>
              <a:gdLst>
                <a:gd name="connsiteX0" fmla="*/ 36577 w 127475"/>
                <a:gd name="connsiteY0" fmla="*/ 0 h 163727"/>
                <a:gd name="connsiteX1" fmla="*/ 63846 w 127475"/>
                <a:gd name="connsiteY1" fmla="*/ 15907 h 163727"/>
                <a:gd name="connsiteX2" fmla="*/ 79754 w 127475"/>
                <a:gd name="connsiteY2" fmla="*/ 20452 h 163727"/>
                <a:gd name="connsiteX3" fmla="*/ 95661 w 127475"/>
                <a:gd name="connsiteY3" fmla="*/ 31815 h 163727"/>
                <a:gd name="connsiteX4" fmla="*/ 91116 w 127475"/>
                <a:gd name="connsiteY4" fmla="*/ 54540 h 163727"/>
                <a:gd name="connsiteX5" fmla="*/ 107023 w 127475"/>
                <a:gd name="connsiteY5" fmla="*/ 59085 h 163727"/>
                <a:gd name="connsiteX6" fmla="*/ 111568 w 127475"/>
                <a:gd name="connsiteY6" fmla="*/ 86354 h 163727"/>
                <a:gd name="connsiteX7" fmla="*/ 122930 w 127475"/>
                <a:gd name="connsiteY7" fmla="*/ 97717 h 163727"/>
                <a:gd name="connsiteX8" fmla="*/ 122930 w 127475"/>
                <a:gd name="connsiteY8" fmla="*/ 102262 h 163727"/>
                <a:gd name="connsiteX9" fmla="*/ 127475 w 127475"/>
                <a:gd name="connsiteY9" fmla="*/ 106807 h 163727"/>
                <a:gd name="connsiteX10" fmla="*/ 118385 w 127475"/>
                <a:gd name="connsiteY10" fmla="*/ 113624 h 163727"/>
                <a:gd name="connsiteX11" fmla="*/ 116798 w 127475"/>
                <a:gd name="connsiteY11" fmla="*/ 113624 h 163727"/>
                <a:gd name="connsiteX12" fmla="*/ 113623 w 127475"/>
                <a:gd name="connsiteY12" fmla="*/ 116005 h 163727"/>
                <a:gd name="connsiteX13" fmla="*/ 90899 w 127475"/>
                <a:gd name="connsiteY13" fmla="*/ 116005 h 163727"/>
                <a:gd name="connsiteX14" fmla="*/ 86354 w 127475"/>
                <a:gd name="connsiteY14" fmla="*/ 109188 h 163727"/>
                <a:gd name="connsiteX15" fmla="*/ 85727 w 127475"/>
                <a:gd name="connsiteY15" fmla="*/ 109188 h 163727"/>
                <a:gd name="connsiteX16" fmla="*/ 91116 w 127475"/>
                <a:gd name="connsiteY16" fmla="*/ 118169 h 163727"/>
                <a:gd name="connsiteX17" fmla="*/ 79754 w 127475"/>
                <a:gd name="connsiteY17" fmla="*/ 134076 h 163727"/>
                <a:gd name="connsiteX18" fmla="*/ 68391 w 127475"/>
                <a:gd name="connsiteY18" fmla="*/ 156801 h 163727"/>
                <a:gd name="connsiteX19" fmla="*/ 63846 w 127475"/>
                <a:gd name="connsiteY19" fmla="*/ 161346 h 163727"/>
                <a:gd name="connsiteX20" fmla="*/ 63146 w 127475"/>
                <a:gd name="connsiteY20" fmla="*/ 159665 h 163727"/>
                <a:gd name="connsiteX21" fmla="*/ 59084 w 127475"/>
                <a:gd name="connsiteY21" fmla="*/ 163727 h 163727"/>
                <a:gd name="connsiteX22" fmla="*/ 47722 w 127475"/>
                <a:gd name="connsiteY22" fmla="*/ 136457 h 163727"/>
                <a:gd name="connsiteX23" fmla="*/ 54539 w 127475"/>
                <a:gd name="connsiteY23" fmla="*/ 116005 h 163727"/>
                <a:gd name="connsiteX24" fmla="*/ 54539 w 127475"/>
                <a:gd name="connsiteY24" fmla="*/ 88735 h 163727"/>
                <a:gd name="connsiteX25" fmla="*/ 31815 w 127475"/>
                <a:gd name="connsiteY25" fmla="*/ 61466 h 163727"/>
                <a:gd name="connsiteX26" fmla="*/ 20452 w 127475"/>
                <a:gd name="connsiteY26" fmla="*/ 41013 h 163727"/>
                <a:gd name="connsiteX27" fmla="*/ 4545 w 127475"/>
                <a:gd name="connsiteY27" fmla="*/ 22833 h 163727"/>
                <a:gd name="connsiteX28" fmla="*/ 0 w 127475"/>
                <a:gd name="connsiteY28" fmla="*/ 18288 h 163727"/>
                <a:gd name="connsiteX29" fmla="*/ 4545 w 127475"/>
                <a:gd name="connsiteY29" fmla="*/ 6926 h 163727"/>
                <a:gd name="connsiteX30" fmla="*/ 8627 w 127475"/>
                <a:gd name="connsiteY30" fmla="*/ 6246 h 163727"/>
                <a:gd name="connsiteX31" fmla="*/ 9307 w 127475"/>
                <a:gd name="connsiteY31" fmla="*/ 4545 h 163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27475" h="163727">
                  <a:moveTo>
                    <a:pt x="36577" y="0"/>
                  </a:moveTo>
                  <a:lnTo>
                    <a:pt x="63846" y="15907"/>
                  </a:lnTo>
                  <a:lnTo>
                    <a:pt x="79754" y="20452"/>
                  </a:lnTo>
                  <a:lnTo>
                    <a:pt x="95661" y="31815"/>
                  </a:lnTo>
                  <a:lnTo>
                    <a:pt x="91116" y="54540"/>
                  </a:lnTo>
                  <a:lnTo>
                    <a:pt x="107023" y="59085"/>
                  </a:lnTo>
                  <a:lnTo>
                    <a:pt x="111568" y="86354"/>
                  </a:lnTo>
                  <a:lnTo>
                    <a:pt x="122930" y="97717"/>
                  </a:lnTo>
                  <a:lnTo>
                    <a:pt x="122930" y="102262"/>
                  </a:lnTo>
                  <a:lnTo>
                    <a:pt x="127475" y="106807"/>
                  </a:lnTo>
                  <a:lnTo>
                    <a:pt x="118385" y="113624"/>
                  </a:lnTo>
                  <a:lnTo>
                    <a:pt x="116798" y="113624"/>
                  </a:lnTo>
                  <a:lnTo>
                    <a:pt x="113623" y="116005"/>
                  </a:lnTo>
                  <a:lnTo>
                    <a:pt x="90899" y="116005"/>
                  </a:lnTo>
                  <a:lnTo>
                    <a:pt x="86354" y="109188"/>
                  </a:lnTo>
                  <a:lnTo>
                    <a:pt x="85727" y="109188"/>
                  </a:lnTo>
                  <a:lnTo>
                    <a:pt x="91116" y="118169"/>
                  </a:lnTo>
                  <a:lnTo>
                    <a:pt x="79754" y="134076"/>
                  </a:lnTo>
                  <a:lnTo>
                    <a:pt x="68391" y="156801"/>
                  </a:lnTo>
                  <a:lnTo>
                    <a:pt x="63846" y="161346"/>
                  </a:lnTo>
                  <a:lnTo>
                    <a:pt x="63146" y="159665"/>
                  </a:lnTo>
                  <a:lnTo>
                    <a:pt x="59084" y="163727"/>
                  </a:lnTo>
                  <a:lnTo>
                    <a:pt x="47722" y="136457"/>
                  </a:lnTo>
                  <a:lnTo>
                    <a:pt x="54539" y="116005"/>
                  </a:lnTo>
                  <a:lnTo>
                    <a:pt x="54539" y="88735"/>
                  </a:lnTo>
                  <a:lnTo>
                    <a:pt x="31815" y="61466"/>
                  </a:lnTo>
                  <a:lnTo>
                    <a:pt x="20452" y="41013"/>
                  </a:lnTo>
                  <a:lnTo>
                    <a:pt x="4545" y="22833"/>
                  </a:lnTo>
                  <a:lnTo>
                    <a:pt x="0" y="18288"/>
                  </a:lnTo>
                  <a:lnTo>
                    <a:pt x="4545" y="6926"/>
                  </a:lnTo>
                  <a:lnTo>
                    <a:pt x="8627" y="6246"/>
                  </a:lnTo>
                  <a:lnTo>
                    <a:pt x="9307" y="454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78" name="Freeform 65">
              <a:extLst>
                <a:ext uri="{FF2B5EF4-FFF2-40B4-BE49-F238E27FC236}">
                  <a16:creationId xmlns:a16="http://schemas.microsoft.com/office/drawing/2014/main" id="{3F1DFEAC-7890-E666-1974-5E3D4AA0F103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5297" y="2205820"/>
              <a:ext cx="163735" cy="115944"/>
            </a:xfrm>
            <a:custGeom>
              <a:avLst/>
              <a:gdLst>
                <a:gd name="connsiteX0" fmla="*/ 220430 w 345525"/>
                <a:gd name="connsiteY0" fmla="*/ 0 h 241098"/>
                <a:gd name="connsiteX1" fmla="*/ 231792 w 345525"/>
                <a:gd name="connsiteY1" fmla="*/ 0 h 241098"/>
                <a:gd name="connsiteX2" fmla="*/ 240882 w 345525"/>
                <a:gd name="connsiteY2" fmla="*/ 4545 h 241098"/>
                <a:gd name="connsiteX3" fmla="*/ 256789 w 345525"/>
                <a:gd name="connsiteY3" fmla="*/ 22725 h 241098"/>
                <a:gd name="connsiteX4" fmla="*/ 268152 w 345525"/>
                <a:gd name="connsiteY4" fmla="*/ 43177 h 241098"/>
                <a:gd name="connsiteX5" fmla="*/ 290876 w 345525"/>
                <a:gd name="connsiteY5" fmla="*/ 74991 h 241098"/>
                <a:gd name="connsiteX6" fmla="*/ 290876 w 345525"/>
                <a:gd name="connsiteY6" fmla="*/ 76419 h 241098"/>
                <a:gd name="connsiteX7" fmla="*/ 293258 w 345525"/>
                <a:gd name="connsiteY7" fmla="*/ 79753 h 241098"/>
                <a:gd name="connsiteX8" fmla="*/ 293258 w 345525"/>
                <a:gd name="connsiteY8" fmla="*/ 102478 h 241098"/>
                <a:gd name="connsiteX9" fmla="*/ 286441 w 345525"/>
                <a:gd name="connsiteY9" fmla="*/ 122930 h 241098"/>
                <a:gd name="connsiteX10" fmla="*/ 292138 w 345525"/>
                <a:gd name="connsiteY10" fmla="*/ 145718 h 241098"/>
                <a:gd name="connsiteX11" fmla="*/ 311329 w 345525"/>
                <a:gd name="connsiteY11" fmla="*/ 149983 h 241098"/>
                <a:gd name="connsiteX12" fmla="*/ 327236 w 345525"/>
                <a:gd name="connsiteY12" fmla="*/ 145438 h 241098"/>
                <a:gd name="connsiteX13" fmla="*/ 343143 w 345525"/>
                <a:gd name="connsiteY13" fmla="*/ 156800 h 241098"/>
                <a:gd name="connsiteX14" fmla="*/ 343143 w 345525"/>
                <a:gd name="connsiteY14" fmla="*/ 159860 h 241098"/>
                <a:gd name="connsiteX15" fmla="*/ 345525 w 345525"/>
                <a:gd name="connsiteY15" fmla="*/ 161562 h 241098"/>
                <a:gd name="connsiteX16" fmla="*/ 345525 w 345525"/>
                <a:gd name="connsiteY16" fmla="*/ 170652 h 241098"/>
                <a:gd name="connsiteX17" fmla="*/ 329618 w 345525"/>
                <a:gd name="connsiteY17" fmla="*/ 182014 h 241098"/>
                <a:gd name="connsiteX18" fmla="*/ 318256 w 345525"/>
                <a:gd name="connsiteY18" fmla="*/ 177469 h 241098"/>
                <a:gd name="connsiteX19" fmla="*/ 309166 w 345525"/>
                <a:gd name="connsiteY19" fmla="*/ 241098 h 241098"/>
                <a:gd name="connsiteX20" fmla="*/ 286441 w 345525"/>
                <a:gd name="connsiteY20" fmla="*/ 236553 h 241098"/>
                <a:gd name="connsiteX21" fmla="*/ 259171 w 345525"/>
                <a:gd name="connsiteY21" fmla="*/ 213829 h 241098"/>
                <a:gd name="connsiteX22" fmla="*/ 215994 w 345525"/>
                <a:gd name="connsiteY22" fmla="*/ 232008 h 241098"/>
                <a:gd name="connsiteX23" fmla="*/ 195542 w 345525"/>
                <a:gd name="connsiteY23" fmla="*/ 241098 h 241098"/>
                <a:gd name="connsiteX24" fmla="*/ 141003 w 345525"/>
                <a:gd name="connsiteY24" fmla="*/ 241098 h 241098"/>
                <a:gd name="connsiteX25" fmla="*/ 116006 w 345525"/>
                <a:gd name="connsiteY25" fmla="*/ 232008 h 241098"/>
                <a:gd name="connsiteX26" fmla="*/ 104643 w 345525"/>
                <a:gd name="connsiteY26" fmla="*/ 236553 h 241098"/>
                <a:gd name="connsiteX27" fmla="*/ 102262 w 345525"/>
                <a:gd name="connsiteY27" fmla="*/ 231791 h 241098"/>
                <a:gd name="connsiteX28" fmla="*/ 102261 w 345525"/>
                <a:gd name="connsiteY28" fmla="*/ 231791 h 241098"/>
                <a:gd name="connsiteX29" fmla="*/ 93280 w 345525"/>
                <a:gd name="connsiteY29" fmla="*/ 213827 h 241098"/>
                <a:gd name="connsiteX30" fmla="*/ 81919 w 345525"/>
                <a:gd name="connsiteY30" fmla="*/ 204739 h 241098"/>
                <a:gd name="connsiteX31" fmla="*/ 83959 w 345525"/>
                <a:gd name="connsiteY31" fmla="*/ 203514 h 241098"/>
                <a:gd name="connsiteX32" fmla="*/ 79537 w 345525"/>
                <a:gd name="connsiteY32" fmla="*/ 199977 h 241098"/>
                <a:gd name="connsiteX33" fmla="*/ 87090 w 345525"/>
                <a:gd name="connsiteY33" fmla="*/ 195445 h 241098"/>
                <a:gd name="connsiteX34" fmla="*/ 81919 w 345525"/>
                <a:gd name="connsiteY34" fmla="*/ 193376 h 241098"/>
                <a:gd name="connsiteX35" fmla="*/ 72829 w 345525"/>
                <a:gd name="connsiteY35" fmla="*/ 204739 h 241098"/>
                <a:gd name="connsiteX36" fmla="*/ 50104 w 345525"/>
                <a:gd name="connsiteY36" fmla="*/ 188832 h 241098"/>
                <a:gd name="connsiteX37" fmla="*/ 50104 w 345525"/>
                <a:gd name="connsiteY37" fmla="*/ 185737 h 241098"/>
                <a:gd name="connsiteX38" fmla="*/ 47722 w 345525"/>
                <a:gd name="connsiteY38" fmla="*/ 184070 h 241098"/>
                <a:gd name="connsiteX39" fmla="*/ 47722 w 345525"/>
                <a:gd name="connsiteY39" fmla="*/ 164717 h 241098"/>
                <a:gd name="connsiteX40" fmla="*/ 22834 w 345525"/>
                <a:gd name="connsiteY40" fmla="*/ 150200 h 241098"/>
                <a:gd name="connsiteX41" fmla="*/ 22834 w 345525"/>
                <a:gd name="connsiteY41" fmla="*/ 146827 h 241098"/>
                <a:gd name="connsiteX42" fmla="*/ 20452 w 345525"/>
                <a:gd name="connsiteY42" fmla="*/ 145438 h 241098"/>
                <a:gd name="connsiteX43" fmla="*/ 20452 w 345525"/>
                <a:gd name="connsiteY43" fmla="*/ 132440 h 241098"/>
                <a:gd name="connsiteX44" fmla="*/ 2382 w 345525"/>
                <a:gd name="connsiteY44" fmla="*/ 118385 h 241098"/>
                <a:gd name="connsiteX45" fmla="*/ 4818 w 345525"/>
                <a:gd name="connsiteY45" fmla="*/ 117370 h 241098"/>
                <a:gd name="connsiteX46" fmla="*/ 0 w 345525"/>
                <a:gd name="connsiteY46" fmla="*/ 113623 h 241098"/>
                <a:gd name="connsiteX47" fmla="*/ 27270 w 345525"/>
                <a:gd name="connsiteY47" fmla="*/ 102261 h 241098"/>
                <a:gd name="connsiteX48" fmla="*/ 52267 w 345525"/>
                <a:gd name="connsiteY48" fmla="*/ 63629 h 241098"/>
                <a:gd name="connsiteX49" fmla="*/ 63629 w 345525"/>
                <a:gd name="connsiteY49" fmla="*/ 27270 h 241098"/>
                <a:gd name="connsiteX50" fmla="*/ 90899 w 345525"/>
                <a:gd name="connsiteY50" fmla="*/ 15907 h 241098"/>
                <a:gd name="connsiteX51" fmla="*/ 106806 w 345525"/>
                <a:gd name="connsiteY51" fmla="*/ 4545 h 241098"/>
                <a:gd name="connsiteX52" fmla="*/ 129531 w 345525"/>
                <a:gd name="connsiteY52" fmla="*/ 11362 h 241098"/>
                <a:gd name="connsiteX53" fmla="*/ 149983 w 345525"/>
                <a:gd name="connsiteY53" fmla="*/ 11362 h 241098"/>
                <a:gd name="connsiteX54" fmla="*/ 165891 w 345525"/>
                <a:gd name="connsiteY54" fmla="*/ 27270 h 241098"/>
                <a:gd name="connsiteX55" fmla="*/ 181798 w 345525"/>
                <a:gd name="connsiteY55" fmla="*/ 15907 h 241098"/>
                <a:gd name="connsiteX56" fmla="*/ 209068 w 345525"/>
                <a:gd name="connsiteY56" fmla="*/ 11362 h 24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345525" h="241098">
                  <a:moveTo>
                    <a:pt x="220430" y="0"/>
                  </a:moveTo>
                  <a:lnTo>
                    <a:pt x="231792" y="0"/>
                  </a:lnTo>
                  <a:lnTo>
                    <a:pt x="240882" y="4545"/>
                  </a:lnTo>
                  <a:lnTo>
                    <a:pt x="256789" y="22725"/>
                  </a:lnTo>
                  <a:lnTo>
                    <a:pt x="268152" y="43177"/>
                  </a:lnTo>
                  <a:lnTo>
                    <a:pt x="290876" y="74991"/>
                  </a:lnTo>
                  <a:lnTo>
                    <a:pt x="290876" y="76419"/>
                  </a:lnTo>
                  <a:lnTo>
                    <a:pt x="293258" y="79753"/>
                  </a:lnTo>
                  <a:lnTo>
                    <a:pt x="293258" y="102478"/>
                  </a:lnTo>
                  <a:lnTo>
                    <a:pt x="286441" y="122930"/>
                  </a:lnTo>
                  <a:lnTo>
                    <a:pt x="292138" y="145718"/>
                  </a:lnTo>
                  <a:lnTo>
                    <a:pt x="311329" y="149983"/>
                  </a:lnTo>
                  <a:lnTo>
                    <a:pt x="327236" y="145438"/>
                  </a:lnTo>
                  <a:lnTo>
                    <a:pt x="343143" y="156800"/>
                  </a:lnTo>
                  <a:lnTo>
                    <a:pt x="343143" y="159860"/>
                  </a:lnTo>
                  <a:lnTo>
                    <a:pt x="345525" y="161562"/>
                  </a:lnTo>
                  <a:lnTo>
                    <a:pt x="345525" y="170652"/>
                  </a:lnTo>
                  <a:lnTo>
                    <a:pt x="329618" y="182014"/>
                  </a:lnTo>
                  <a:lnTo>
                    <a:pt x="318256" y="177469"/>
                  </a:lnTo>
                  <a:lnTo>
                    <a:pt x="309166" y="241098"/>
                  </a:lnTo>
                  <a:lnTo>
                    <a:pt x="286441" y="236553"/>
                  </a:lnTo>
                  <a:lnTo>
                    <a:pt x="259171" y="213829"/>
                  </a:lnTo>
                  <a:lnTo>
                    <a:pt x="215994" y="232008"/>
                  </a:lnTo>
                  <a:lnTo>
                    <a:pt x="195542" y="241098"/>
                  </a:lnTo>
                  <a:lnTo>
                    <a:pt x="141003" y="241098"/>
                  </a:lnTo>
                  <a:lnTo>
                    <a:pt x="116006" y="232008"/>
                  </a:lnTo>
                  <a:lnTo>
                    <a:pt x="104643" y="236553"/>
                  </a:lnTo>
                  <a:lnTo>
                    <a:pt x="102262" y="231791"/>
                  </a:lnTo>
                  <a:lnTo>
                    <a:pt x="102261" y="231791"/>
                  </a:lnTo>
                  <a:lnTo>
                    <a:pt x="93280" y="213827"/>
                  </a:lnTo>
                  <a:lnTo>
                    <a:pt x="81919" y="204739"/>
                  </a:lnTo>
                  <a:lnTo>
                    <a:pt x="83959" y="203514"/>
                  </a:lnTo>
                  <a:lnTo>
                    <a:pt x="79537" y="199977"/>
                  </a:lnTo>
                  <a:lnTo>
                    <a:pt x="87090" y="195445"/>
                  </a:lnTo>
                  <a:lnTo>
                    <a:pt x="81919" y="193376"/>
                  </a:lnTo>
                  <a:lnTo>
                    <a:pt x="72829" y="204739"/>
                  </a:lnTo>
                  <a:lnTo>
                    <a:pt x="50104" y="188832"/>
                  </a:lnTo>
                  <a:lnTo>
                    <a:pt x="50104" y="185737"/>
                  </a:lnTo>
                  <a:lnTo>
                    <a:pt x="47722" y="184070"/>
                  </a:lnTo>
                  <a:lnTo>
                    <a:pt x="47722" y="164717"/>
                  </a:lnTo>
                  <a:lnTo>
                    <a:pt x="22834" y="150200"/>
                  </a:lnTo>
                  <a:lnTo>
                    <a:pt x="22834" y="146827"/>
                  </a:lnTo>
                  <a:lnTo>
                    <a:pt x="20452" y="145438"/>
                  </a:lnTo>
                  <a:lnTo>
                    <a:pt x="20452" y="132440"/>
                  </a:lnTo>
                  <a:lnTo>
                    <a:pt x="2382" y="118385"/>
                  </a:lnTo>
                  <a:lnTo>
                    <a:pt x="4818" y="117370"/>
                  </a:lnTo>
                  <a:lnTo>
                    <a:pt x="0" y="113623"/>
                  </a:lnTo>
                  <a:lnTo>
                    <a:pt x="27270" y="102261"/>
                  </a:lnTo>
                  <a:lnTo>
                    <a:pt x="52267" y="63629"/>
                  </a:lnTo>
                  <a:lnTo>
                    <a:pt x="63629" y="27270"/>
                  </a:lnTo>
                  <a:lnTo>
                    <a:pt x="90899" y="15907"/>
                  </a:lnTo>
                  <a:lnTo>
                    <a:pt x="106806" y="4545"/>
                  </a:lnTo>
                  <a:lnTo>
                    <a:pt x="129531" y="11362"/>
                  </a:lnTo>
                  <a:lnTo>
                    <a:pt x="149983" y="11362"/>
                  </a:lnTo>
                  <a:lnTo>
                    <a:pt x="165891" y="27270"/>
                  </a:lnTo>
                  <a:lnTo>
                    <a:pt x="181798" y="15907"/>
                  </a:lnTo>
                  <a:lnTo>
                    <a:pt x="209068" y="1136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79" name="Freeform 66">
              <a:extLst>
                <a:ext uri="{FF2B5EF4-FFF2-40B4-BE49-F238E27FC236}">
                  <a16:creationId xmlns:a16="http://schemas.microsoft.com/office/drawing/2014/main" id="{26EA66AA-CA16-8E95-BAE4-3FE64928B9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898740" y="2019049"/>
              <a:ext cx="176760" cy="168401"/>
            </a:xfrm>
            <a:custGeom>
              <a:avLst/>
              <a:gdLst>
                <a:gd name="connsiteX0" fmla="*/ 129531 w 373011"/>
                <a:gd name="connsiteY0" fmla="*/ 0 h 350178"/>
                <a:gd name="connsiteX1" fmla="*/ 133947 w 373011"/>
                <a:gd name="connsiteY1" fmla="*/ 1299 h 350178"/>
                <a:gd name="connsiteX2" fmla="*/ 136675 w 373011"/>
                <a:gd name="connsiteY2" fmla="*/ 0 h 350178"/>
                <a:gd name="connsiteX3" fmla="*/ 175307 w 373011"/>
                <a:gd name="connsiteY3" fmla="*/ 11362 h 350178"/>
                <a:gd name="connsiteX4" fmla="*/ 175307 w 373011"/>
                <a:gd name="connsiteY4" fmla="*/ 16125 h 350178"/>
                <a:gd name="connsiteX5" fmla="*/ 175307 w 373011"/>
                <a:gd name="connsiteY5" fmla="*/ 27270 h 350178"/>
                <a:gd name="connsiteX6" fmla="*/ 204522 w 373011"/>
                <a:gd name="connsiteY6" fmla="*/ 27270 h 350178"/>
                <a:gd name="connsiteX7" fmla="*/ 211666 w 373011"/>
                <a:gd name="connsiteY7" fmla="*/ 27270 h 350178"/>
                <a:gd name="connsiteX8" fmla="*/ 254843 w 373011"/>
                <a:gd name="connsiteY8" fmla="*/ 34087 h 350178"/>
                <a:gd name="connsiteX9" fmla="*/ 318145 w 373011"/>
                <a:gd name="connsiteY9" fmla="*/ 34087 h 350178"/>
                <a:gd name="connsiteX10" fmla="*/ 325289 w 373011"/>
                <a:gd name="connsiteY10" fmla="*/ 34087 h 350178"/>
                <a:gd name="connsiteX11" fmla="*/ 348014 w 373011"/>
                <a:gd name="connsiteY11" fmla="*/ 43177 h 350178"/>
                <a:gd name="connsiteX12" fmla="*/ 352559 w 373011"/>
                <a:gd name="connsiteY12" fmla="*/ 59084 h 350178"/>
                <a:gd name="connsiteX13" fmla="*/ 352559 w 373011"/>
                <a:gd name="connsiteY13" fmla="*/ 63847 h 350178"/>
                <a:gd name="connsiteX14" fmla="*/ 352559 w 373011"/>
                <a:gd name="connsiteY14" fmla="*/ 86354 h 350178"/>
                <a:gd name="connsiteX15" fmla="*/ 363921 w 373011"/>
                <a:gd name="connsiteY15" fmla="*/ 109079 h 350178"/>
                <a:gd name="connsiteX16" fmla="*/ 363921 w 373011"/>
                <a:gd name="connsiteY16" fmla="*/ 113842 h 350178"/>
                <a:gd name="connsiteX17" fmla="*/ 363921 w 373011"/>
                <a:gd name="connsiteY17" fmla="*/ 134076 h 350178"/>
                <a:gd name="connsiteX18" fmla="*/ 363921 w 373011"/>
                <a:gd name="connsiteY18" fmla="*/ 138839 h 350178"/>
                <a:gd name="connsiteX19" fmla="*/ 342840 w 373011"/>
                <a:gd name="connsiteY19" fmla="*/ 149380 h 350178"/>
                <a:gd name="connsiteX20" fmla="*/ 352559 w 373011"/>
                <a:gd name="connsiteY20" fmla="*/ 172708 h 350178"/>
                <a:gd name="connsiteX21" fmla="*/ 352559 w 373011"/>
                <a:gd name="connsiteY21" fmla="*/ 177471 h 350178"/>
                <a:gd name="connsiteX22" fmla="*/ 352559 w 373011"/>
                <a:gd name="connsiteY22" fmla="*/ 199977 h 350178"/>
                <a:gd name="connsiteX23" fmla="*/ 373011 w 373011"/>
                <a:gd name="connsiteY23" fmla="*/ 254516 h 350178"/>
                <a:gd name="connsiteX24" fmla="*/ 372239 w 373011"/>
                <a:gd name="connsiteY24" fmla="*/ 257219 h 350178"/>
                <a:gd name="connsiteX25" fmla="*/ 373011 w 373011"/>
                <a:gd name="connsiteY25" fmla="*/ 259279 h 350178"/>
                <a:gd name="connsiteX26" fmla="*/ 368466 w 373011"/>
                <a:gd name="connsiteY26" fmla="*/ 275187 h 350178"/>
                <a:gd name="connsiteX27" fmla="*/ 352559 w 373011"/>
                <a:gd name="connsiteY27" fmla="*/ 279732 h 350178"/>
                <a:gd name="connsiteX28" fmla="*/ 321478 w 373011"/>
                <a:gd name="connsiteY28" fmla="*/ 326354 h 350178"/>
                <a:gd name="connsiteX29" fmla="*/ 325289 w 373011"/>
                <a:gd name="connsiteY29" fmla="*/ 345415 h 350178"/>
                <a:gd name="connsiteX30" fmla="*/ 324337 w 373011"/>
                <a:gd name="connsiteY30" fmla="*/ 345415 h 350178"/>
                <a:gd name="connsiteX31" fmla="*/ 325289 w 373011"/>
                <a:gd name="connsiteY31" fmla="*/ 350178 h 350178"/>
                <a:gd name="connsiteX32" fmla="*/ 320745 w 373011"/>
                <a:gd name="connsiteY32" fmla="*/ 350178 h 350178"/>
                <a:gd name="connsiteX33" fmla="*/ 317799 w 373011"/>
                <a:gd name="connsiteY33" fmla="*/ 348445 h 350178"/>
                <a:gd name="connsiteX34" fmla="*/ 318145 w 373011"/>
                <a:gd name="connsiteY34" fmla="*/ 350178 h 350178"/>
                <a:gd name="connsiteX35" fmla="*/ 313601 w 373011"/>
                <a:gd name="connsiteY35" fmla="*/ 350178 h 350178"/>
                <a:gd name="connsiteX36" fmla="*/ 277099 w 373011"/>
                <a:gd name="connsiteY36" fmla="*/ 328707 h 350178"/>
                <a:gd name="connsiteX37" fmla="*/ 254843 w 373011"/>
                <a:gd name="connsiteY37" fmla="*/ 334271 h 350178"/>
                <a:gd name="connsiteX38" fmla="*/ 252211 w 373011"/>
                <a:gd name="connsiteY38" fmla="*/ 333143 h 350178"/>
                <a:gd name="connsiteX39" fmla="*/ 247699 w 373011"/>
                <a:gd name="connsiteY39" fmla="*/ 334271 h 350178"/>
                <a:gd name="connsiteX40" fmla="*/ 235825 w 373011"/>
                <a:gd name="connsiteY40" fmla="*/ 329182 h 350178"/>
                <a:gd name="connsiteX41" fmla="*/ 218484 w 373011"/>
                <a:gd name="connsiteY41" fmla="*/ 338816 h 350178"/>
                <a:gd name="connsiteX42" fmla="*/ 215932 w 373011"/>
                <a:gd name="connsiteY42" fmla="*/ 336264 h 350178"/>
                <a:gd name="connsiteX43" fmla="*/ 211340 w 373011"/>
                <a:gd name="connsiteY43" fmla="*/ 338816 h 350178"/>
                <a:gd name="connsiteX44" fmla="*/ 197020 w 373011"/>
                <a:gd name="connsiteY44" fmla="*/ 324496 h 350178"/>
                <a:gd name="connsiteX45" fmla="*/ 186669 w 373011"/>
                <a:gd name="connsiteY45" fmla="*/ 327453 h 350178"/>
                <a:gd name="connsiteX46" fmla="*/ 184526 w 373011"/>
                <a:gd name="connsiteY46" fmla="*/ 326025 h 350178"/>
                <a:gd name="connsiteX47" fmla="*/ 179525 w 373011"/>
                <a:gd name="connsiteY47" fmla="*/ 327453 h 350178"/>
                <a:gd name="connsiteX48" fmla="*/ 172708 w 373011"/>
                <a:gd name="connsiteY48" fmla="*/ 322909 h 350178"/>
                <a:gd name="connsiteX49" fmla="*/ 156800 w 373011"/>
                <a:gd name="connsiteY49" fmla="*/ 295639 h 350178"/>
                <a:gd name="connsiteX50" fmla="*/ 136675 w 373011"/>
                <a:gd name="connsiteY50" fmla="*/ 295639 h 350178"/>
                <a:gd name="connsiteX51" fmla="*/ 129531 w 373011"/>
                <a:gd name="connsiteY51" fmla="*/ 295639 h 350178"/>
                <a:gd name="connsiteX52" fmla="*/ 129531 w 373011"/>
                <a:gd name="connsiteY52" fmla="*/ 290876 h 350178"/>
                <a:gd name="connsiteX53" fmla="*/ 129531 w 373011"/>
                <a:gd name="connsiteY53" fmla="*/ 275187 h 350178"/>
                <a:gd name="connsiteX54" fmla="*/ 108929 w 373011"/>
                <a:gd name="connsiteY54" fmla="*/ 270036 h 350178"/>
                <a:gd name="connsiteX55" fmla="*/ 104860 w 373011"/>
                <a:gd name="connsiteY55" fmla="*/ 284277 h 350178"/>
                <a:gd name="connsiteX56" fmla="*/ 98521 w 373011"/>
                <a:gd name="connsiteY56" fmla="*/ 281459 h 350178"/>
                <a:gd name="connsiteX57" fmla="*/ 97716 w 373011"/>
                <a:gd name="connsiteY57" fmla="*/ 284277 h 350178"/>
                <a:gd name="connsiteX58" fmla="*/ 77264 w 373011"/>
                <a:gd name="connsiteY58" fmla="*/ 275187 h 350178"/>
                <a:gd name="connsiteX59" fmla="*/ 78472 w 373011"/>
                <a:gd name="connsiteY59" fmla="*/ 270961 h 350178"/>
                <a:gd name="connsiteX60" fmla="*/ 77264 w 373011"/>
                <a:gd name="connsiteY60" fmla="*/ 270424 h 350178"/>
                <a:gd name="connsiteX61" fmla="*/ 80527 w 373011"/>
                <a:gd name="connsiteY61" fmla="*/ 259004 h 350178"/>
                <a:gd name="connsiteX62" fmla="*/ 49994 w 373011"/>
                <a:gd name="connsiteY62" fmla="*/ 252462 h 350178"/>
                <a:gd name="connsiteX63" fmla="*/ 34087 w 373011"/>
                <a:gd name="connsiteY63" fmla="*/ 232010 h 350178"/>
                <a:gd name="connsiteX64" fmla="*/ 18180 w 373011"/>
                <a:gd name="connsiteY64" fmla="*/ 193378 h 350178"/>
                <a:gd name="connsiteX65" fmla="*/ 18984 w 373011"/>
                <a:gd name="connsiteY65" fmla="*/ 190566 h 350178"/>
                <a:gd name="connsiteX66" fmla="*/ 18180 w 373011"/>
                <a:gd name="connsiteY66" fmla="*/ 188615 h 350178"/>
                <a:gd name="connsiteX67" fmla="*/ 21969 w 373011"/>
                <a:gd name="connsiteY67" fmla="*/ 175354 h 350178"/>
                <a:gd name="connsiteX68" fmla="*/ 11363 w 373011"/>
                <a:gd name="connsiteY68" fmla="*/ 145656 h 350178"/>
                <a:gd name="connsiteX69" fmla="*/ 0 w 373011"/>
                <a:gd name="connsiteY69" fmla="*/ 122931 h 350178"/>
                <a:gd name="connsiteX70" fmla="*/ 1254 w 373011"/>
                <a:gd name="connsiteY70" fmla="*/ 120675 h 350178"/>
                <a:gd name="connsiteX71" fmla="*/ 0 w 373011"/>
                <a:gd name="connsiteY71" fmla="*/ 118168 h 350178"/>
                <a:gd name="connsiteX72" fmla="*/ 10229 w 373011"/>
                <a:gd name="connsiteY72" fmla="*/ 99757 h 350178"/>
                <a:gd name="connsiteX73" fmla="*/ 0 w 373011"/>
                <a:gd name="connsiteY73" fmla="*/ 75210 h 350178"/>
                <a:gd name="connsiteX74" fmla="*/ 1444 w 373011"/>
                <a:gd name="connsiteY74" fmla="*/ 73911 h 350178"/>
                <a:gd name="connsiteX75" fmla="*/ 0 w 373011"/>
                <a:gd name="connsiteY75" fmla="*/ 70447 h 350178"/>
                <a:gd name="connsiteX76" fmla="*/ 22725 w 373011"/>
                <a:gd name="connsiteY76" fmla="*/ 49994 h 350178"/>
                <a:gd name="connsiteX77" fmla="*/ 81809 w 373011"/>
                <a:gd name="connsiteY77" fmla="*/ 22725 h 35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373011" h="350178">
                  <a:moveTo>
                    <a:pt x="129531" y="0"/>
                  </a:moveTo>
                  <a:lnTo>
                    <a:pt x="133947" y="1299"/>
                  </a:lnTo>
                  <a:lnTo>
                    <a:pt x="136675" y="0"/>
                  </a:lnTo>
                  <a:lnTo>
                    <a:pt x="175307" y="11362"/>
                  </a:lnTo>
                  <a:lnTo>
                    <a:pt x="175307" y="16125"/>
                  </a:lnTo>
                  <a:lnTo>
                    <a:pt x="175307" y="27270"/>
                  </a:lnTo>
                  <a:lnTo>
                    <a:pt x="204522" y="27270"/>
                  </a:lnTo>
                  <a:lnTo>
                    <a:pt x="211666" y="27270"/>
                  </a:lnTo>
                  <a:lnTo>
                    <a:pt x="254843" y="34087"/>
                  </a:lnTo>
                  <a:lnTo>
                    <a:pt x="318145" y="34087"/>
                  </a:lnTo>
                  <a:lnTo>
                    <a:pt x="325289" y="34087"/>
                  </a:lnTo>
                  <a:lnTo>
                    <a:pt x="348014" y="43177"/>
                  </a:lnTo>
                  <a:lnTo>
                    <a:pt x="352559" y="59084"/>
                  </a:lnTo>
                  <a:lnTo>
                    <a:pt x="352559" y="63847"/>
                  </a:lnTo>
                  <a:lnTo>
                    <a:pt x="352559" y="86354"/>
                  </a:lnTo>
                  <a:lnTo>
                    <a:pt x="363921" y="109079"/>
                  </a:lnTo>
                  <a:lnTo>
                    <a:pt x="363921" y="113842"/>
                  </a:lnTo>
                  <a:lnTo>
                    <a:pt x="363921" y="134076"/>
                  </a:lnTo>
                  <a:lnTo>
                    <a:pt x="363921" y="138839"/>
                  </a:lnTo>
                  <a:lnTo>
                    <a:pt x="342840" y="149380"/>
                  </a:lnTo>
                  <a:lnTo>
                    <a:pt x="352559" y="172708"/>
                  </a:lnTo>
                  <a:lnTo>
                    <a:pt x="352559" y="177471"/>
                  </a:lnTo>
                  <a:lnTo>
                    <a:pt x="352559" y="199977"/>
                  </a:lnTo>
                  <a:lnTo>
                    <a:pt x="373011" y="254516"/>
                  </a:lnTo>
                  <a:lnTo>
                    <a:pt x="372239" y="257219"/>
                  </a:lnTo>
                  <a:lnTo>
                    <a:pt x="373011" y="259279"/>
                  </a:lnTo>
                  <a:lnTo>
                    <a:pt x="368466" y="275187"/>
                  </a:lnTo>
                  <a:lnTo>
                    <a:pt x="352559" y="279732"/>
                  </a:lnTo>
                  <a:lnTo>
                    <a:pt x="321478" y="326354"/>
                  </a:lnTo>
                  <a:lnTo>
                    <a:pt x="325289" y="345415"/>
                  </a:lnTo>
                  <a:lnTo>
                    <a:pt x="324337" y="345415"/>
                  </a:lnTo>
                  <a:lnTo>
                    <a:pt x="325289" y="350178"/>
                  </a:lnTo>
                  <a:lnTo>
                    <a:pt x="320745" y="350178"/>
                  </a:lnTo>
                  <a:lnTo>
                    <a:pt x="317799" y="348445"/>
                  </a:lnTo>
                  <a:lnTo>
                    <a:pt x="318145" y="350178"/>
                  </a:lnTo>
                  <a:lnTo>
                    <a:pt x="313601" y="350178"/>
                  </a:lnTo>
                  <a:lnTo>
                    <a:pt x="277099" y="328707"/>
                  </a:lnTo>
                  <a:lnTo>
                    <a:pt x="254843" y="334271"/>
                  </a:lnTo>
                  <a:lnTo>
                    <a:pt x="252211" y="333143"/>
                  </a:lnTo>
                  <a:lnTo>
                    <a:pt x="247699" y="334271"/>
                  </a:lnTo>
                  <a:lnTo>
                    <a:pt x="235825" y="329182"/>
                  </a:lnTo>
                  <a:lnTo>
                    <a:pt x="218484" y="338816"/>
                  </a:lnTo>
                  <a:lnTo>
                    <a:pt x="215932" y="336264"/>
                  </a:lnTo>
                  <a:lnTo>
                    <a:pt x="211340" y="338816"/>
                  </a:lnTo>
                  <a:lnTo>
                    <a:pt x="197020" y="324496"/>
                  </a:lnTo>
                  <a:lnTo>
                    <a:pt x="186669" y="327453"/>
                  </a:lnTo>
                  <a:lnTo>
                    <a:pt x="184526" y="326025"/>
                  </a:lnTo>
                  <a:lnTo>
                    <a:pt x="179525" y="327453"/>
                  </a:lnTo>
                  <a:lnTo>
                    <a:pt x="172708" y="322909"/>
                  </a:lnTo>
                  <a:lnTo>
                    <a:pt x="156800" y="295639"/>
                  </a:lnTo>
                  <a:lnTo>
                    <a:pt x="136675" y="295639"/>
                  </a:lnTo>
                  <a:lnTo>
                    <a:pt x="129531" y="295639"/>
                  </a:lnTo>
                  <a:lnTo>
                    <a:pt x="129531" y="290876"/>
                  </a:lnTo>
                  <a:lnTo>
                    <a:pt x="129531" y="275187"/>
                  </a:lnTo>
                  <a:lnTo>
                    <a:pt x="108929" y="270036"/>
                  </a:lnTo>
                  <a:lnTo>
                    <a:pt x="104860" y="284277"/>
                  </a:lnTo>
                  <a:lnTo>
                    <a:pt x="98521" y="281459"/>
                  </a:lnTo>
                  <a:lnTo>
                    <a:pt x="97716" y="284277"/>
                  </a:lnTo>
                  <a:lnTo>
                    <a:pt x="77264" y="275187"/>
                  </a:lnTo>
                  <a:lnTo>
                    <a:pt x="78472" y="270961"/>
                  </a:lnTo>
                  <a:lnTo>
                    <a:pt x="77264" y="270424"/>
                  </a:lnTo>
                  <a:lnTo>
                    <a:pt x="80527" y="259004"/>
                  </a:lnTo>
                  <a:lnTo>
                    <a:pt x="49994" y="252462"/>
                  </a:lnTo>
                  <a:lnTo>
                    <a:pt x="34087" y="232010"/>
                  </a:lnTo>
                  <a:lnTo>
                    <a:pt x="18180" y="193378"/>
                  </a:lnTo>
                  <a:lnTo>
                    <a:pt x="18984" y="190566"/>
                  </a:lnTo>
                  <a:lnTo>
                    <a:pt x="18180" y="188615"/>
                  </a:lnTo>
                  <a:lnTo>
                    <a:pt x="21969" y="175354"/>
                  </a:lnTo>
                  <a:lnTo>
                    <a:pt x="11363" y="145656"/>
                  </a:lnTo>
                  <a:lnTo>
                    <a:pt x="0" y="122931"/>
                  </a:lnTo>
                  <a:lnTo>
                    <a:pt x="1254" y="120675"/>
                  </a:lnTo>
                  <a:lnTo>
                    <a:pt x="0" y="118168"/>
                  </a:lnTo>
                  <a:lnTo>
                    <a:pt x="10229" y="99757"/>
                  </a:lnTo>
                  <a:lnTo>
                    <a:pt x="0" y="75210"/>
                  </a:lnTo>
                  <a:lnTo>
                    <a:pt x="1444" y="73911"/>
                  </a:lnTo>
                  <a:lnTo>
                    <a:pt x="0" y="70447"/>
                  </a:lnTo>
                  <a:lnTo>
                    <a:pt x="22725" y="49994"/>
                  </a:lnTo>
                  <a:lnTo>
                    <a:pt x="81809" y="2272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80" name="Freeform 67">
              <a:extLst>
                <a:ext uri="{FF2B5EF4-FFF2-40B4-BE49-F238E27FC236}">
                  <a16:creationId xmlns:a16="http://schemas.microsoft.com/office/drawing/2014/main" id="{6337D564-F054-6C6D-BB2A-D8B115CB5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2401" y="2125056"/>
              <a:ext cx="225217" cy="228401"/>
            </a:xfrm>
            <a:custGeom>
              <a:avLst/>
              <a:gdLst>
                <a:gd name="connsiteX0" fmla="*/ 263606 w 475271"/>
                <a:gd name="connsiteY0" fmla="*/ 0 h 474946"/>
                <a:gd name="connsiteX1" fmla="*/ 264121 w 475271"/>
                <a:gd name="connsiteY1" fmla="*/ 3093 h 474946"/>
                <a:gd name="connsiteX2" fmla="*/ 270750 w 475271"/>
                <a:gd name="connsiteY2" fmla="*/ 0 h 474946"/>
                <a:gd name="connsiteX3" fmla="*/ 275295 w 475271"/>
                <a:gd name="connsiteY3" fmla="*/ 27270 h 474946"/>
                <a:gd name="connsiteX4" fmla="*/ 284058 w 475271"/>
                <a:gd name="connsiteY4" fmla="*/ 27270 h 474946"/>
                <a:gd name="connsiteX5" fmla="*/ 291202 w 475271"/>
                <a:gd name="connsiteY5" fmla="*/ 27270 h 474946"/>
                <a:gd name="connsiteX6" fmla="*/ 307109 w 475271"/>
                <a:gd name="connsiteY6" fmla="*/ 49994 h 474946"/>
                <a:gd name="connsiteX7" fmla="*/ 332681 w 475271"/>
                <a:gd name="connsiteY7" fmla="*/ 73435 h 474946"/>
                <a:gd name="connsiteX8" fmla="*/ 343142 w 475271"/>
                <a:gd name="connsiteY8" fmla="*/ 70447 h 474946"/>
                <a:gd name="connsiteX9" fmla="*/ 344928 w 475271"/>
                <a:gd name="connsiteY9" fmla="*/ 71978 h 474946"/>
                <a:gd name="connsiteX10" fmla="*/ 350286 w 475271"/>
                <a:gd name="connsiteY10" fmla="*/ 70447 h 474946"/>
                <a:gd name="connsiteX11" fmla="*/ 382100 w 475271"/>
                <a:gd name="connsiteY11" fmla="*/ 97716 h 474946"/>
                <a:gd name="connsiteX12" fmla="*/ 393463 w 475271"/>
                <a:gd name="connsiteY12" fmla="*/ 102261 h 474946"/>
                <a:gd name="connsiteX13" fmla="*/ 397681 w 475271"/>
                <a:gd name="connsiteY13" fmla="*/ 102261 h 474946"/>
                <a:gd name="connsiteX14" fmla="*/ 404825 w 475271"/>
                <a:gd name="connsiteY14" fmla="*/ 102261 h 474946"/>
                <a:gd name="connsiteX15" fmla="*/ 420732 w 475271"/>
                <a:gd name="connsiteY15" fmla="*/ 113624 h 474946"/>
                <a:gd name="connsiteX16" fmla="*/ 475271 w 475271"/>
                <a:gd name="connsiteY16" fmla="*/ 124986 h 474946"/>
                <a:gd name="connsiteX17" fmla="*/ 452547 w 475271"/>
                <a:gd name="connsiteY17" fmla="*/ 161345 h 474946"/>
                <a:gd name="connsiteX18" fmla="*/ 448002 w 475271"/>
                <a:gd name="connsiteY18" fmla="*/ 204522 h 474946"/>
                <a:gd name="connsiteX19" fmla="*/ 436639 w 475271"/>
                <a:gd name="connsiteY19" fmla="*/ 211340 h 474946"/>
                <a:gd name="connsiteX20" fmla="*/ 432472 w 475271"/>
                <a:gd name="connsiteY20" fmla="*/ 209554 h 474946"/>
                <a:gd name="connsiteX21" fmla="*/ 429495 w 475271"/>
                <a:gd name="connsiteY21" fmla="*/ 211340 h 474946"/>
                <a:gd name="connsiteX22" fmla="*/ 421729 w 475271"/>
                <a:gd name="connsiteY22" fmla="*/ 208011 h 474946"/>
                <a:gd name="connsiteX23" fmla="*/ 425277 w 475271"/>
                <a:gd name="connsiteY23" fmla="*/ 220430 h 474946"/>
                <a:gd name="connsiteX24" fmla="*/ 398008 w 475271"/>
                <a:gd name="connsiteY24" fmla="*/ 247699 h 474946"/>
                <a:gd name="connsiteX25" fmla="*/ 398008 w 475271"/>
                <a:gd name="connsiteY25" fmla="*/ 269866 h 474946"/>
                <a:gd name="connsiteX26" fmla="*/ 406771 w 475271"/>
                <a:gd name="connsiteY26" fmla="*/ 263607 h 474946"/>
                <a:gd name="connsiteX27" fmla="*/ 408409 w 475271"/>
                <a:gd name="connsiteY27" fmla="*/ 267539 h 474946"/>
                <a:gd name="connsiteX28" fmla="*/ 413915 w 475271"/>
                <a:gd name="connsiteY28" fmla="*/ 263607 h 474946"/>
                <a:gd name="connsiteX29" fmla="*/ 425277 w 475271"/>
                <a:gd name="connsiteY29" fmla="*/ 290876 h 474946"/>
                <a:gd name="connsiteX30" fmla="*/ 425277 w 475271"/>
                <a:gd name="connsiteY30" fmla="*/ 302239 h 474946"/>
                <a:gd name="connsiteX31" fmla="*/ 436639 w 475271"/>
                <a:gd name="connsiteY31" fmla="*/ 322691 h 474946"/>
                <a:gd name="connsiteX32" fmla="*/ 425277 w 475271"/>
                <a:gd name="connsiteY32" fmla="*/ 338598 h 474946"/>
                <a:gd name="connsiteX33" fmla="*/ 432094 w 475271"/>
                <a:gd name="connsiteY33" fmla="*/ 381775 h 474946"/>
                <a:gd name="connsiteX34" fmla="*/ 445403 w 475271"/>
                <a:gd name="connsiteY34" fmla="*/ 381775 h 474946"/>
                <a:gd name="connsiteX35" fmla="*/ 452547 w 475271"/>
                <a:gd name="connsiteY35" fmla="*/ 381775 h 474946"/>
                <a:gd name="connsiteX36" fmla="*/ 448002 w 475271"/>
                <a:gd name="connsiteY36" fmla="*/ 409045 h 474946"/>
                <a:gd name="connsiteX37" fmla="*/ 413915 w 475271"/>
                <a:gd name="connsiteY37" fmla="*/ 436314 h 474946"/>
                <a:gd name="connsiteX38" fmla="*/ 408002 w 475271"/>
                <a:gd name="connsiteY38" fmla="*/ 435329 h 474946"/>
                <a:gd name="connsiteX39" fmla="*/ 406771 w 475271"/>
                <a:gd name="connsiteY39" fmla="*/ 436314 h 474946"/>
                <a:gd name="connsiteX40" fmla="*/ 342566 w 475271"/>
                <a:gd name="connsiteY40" fmla="*/ 425613 h 474946"/>
                <a:gd name="connsiteX41" fmla="*/ 291202 w 475271"/>
                <a:gd name="connsiteY41" fmla="*/ 436314 h 474946"/>
                <a:gd name="connsiteX42" fmla="*/ 286657 w 475271"/>
                <a:gd name="connsiteY42" fmla="*/ 468129 h 474946"/>
                <a:gd name="connsiteX43" fmla="*/ 243480 w 475271"/>
                <a:gd name="connsiteY43" fmla="*/ 474946 h 474946"/>
                <a:gd name="connsiteX44" fmla="*/ 241832 w 475271"/>
                <a:gd name="connsiteY44" fmla="*/ 474078 h 474946"/>
                <a:gd name="connsiteX45" fmla="*/ 236336 w 475271"/>
                <a:gd name="connsiteY45" fmla="*/ 474946 h 474946"/>
                <a:gd name="connsiteX46" fmla="*/ 197840 w 475271"/>
                <a:gd name="connsiteY46" fmla="*/ 454685 h 474946"/>
                <a:gd name="connsiteX47" fmla="*/ 188941 w 475271"/>
                <a:gd name="connsiteY47" fmla="*/ 463584 h 474946"/>
                <a:gd name="connsiteX48" fmla="*/ 183540 w 475271"/>
                <a:gd name="connsiteY48" fmla="*/ 461841 h 474946"/>
                <a:gd name="connsiteX49" fmla="*/ 181797 w 475271"/>
                <a:gd name="connsiteY49" fmla="*/ 463584 h 474946"/>
                <a:gd name="connsiteX50" fmla="*/ 111351 w 475271"/>
                <a:gd name="connsiteY50" fmla="*/ 440859 h 474946"/>
                <a:gd name="connsiteX51" fmla="*/ 95444 w 475271"/>
                <a:gd name="connsiteY51" fmla="*/ 420407 h 474946"/>
                <a:gd name="connsiteX52" fmla="*/ 118168 w 475271"/>
                <a:gd name="connsiteY52" fmla="*/ 388592 h 474946"/>
                <a:gd name="connsiteX53" fmla="*/ 122713 w 475271"/>
                <a:gd name="connsiteY53" fmla="*/ 286331 h 474946"/>
                <a:gd name="connsiteX54" fmla="*/ 86354 w 475271"/>
                <a:gd name="connsiteY54" fmla="*/ 231792 h 474946"/>
                <a:gd name="connsiteX55" fmla="*/ 59084 w 475271"/>
                <a:gd name="connsiteY55" fmla="*/ 204522 h 474946"/>
                <a:gd name="connsiteX56" fmla="*/ 4545 w 475271"/>
                <a:gd name="connsiteY56" fmla="*/ 184070 h 474946"/>
                <a:gd name="connsiteX57" fmla="*/ 0 w 475271"/>
                <a:gd name="connsiteY57" fmla="*/ 140893 h 474946"/>
                <a:gd name="connsiteX58" fmla="*/ 47722 w 475271"/>
                <a:gd name="connsiteY58" fmla="*/ 136348 h 474946"/>
                <a:gd name="connsiteX59" fmla="*/ 50453 w 475271"/>
                <a:gd name="connsiteY59" fmla="*/ 136769 h 474946"/>
                <a:gd name="connsiteX60" fmla="*/ 54866 w 475271"/>
                <a:gd name="connsiteY60" fmla="*/ 136348 h 474946"/>
                <a:gd name="connsiteX61" fmla="*/ 106604 w 475271"/>
                <a:gd name="connsiteY61" fmla="*/ 144308 h 474946"/>
                <a:gd name="connsiteX62" fmla="*/ 95444 w 475271"/>
                <a:gd name="connsiteY62" fmla="*/ 81809 h 474946"/>
                <a:gd name="connsiteX63" fmla="*/ 103778 w 475271"/>
                <a:gd name="connsiteY63" fmla="*/ 88477 h 474946"/>
                <a:gd name="connsiteX64" fmla="*/ 102588 w 475271"/>
                <a:gd name="connsiteY64" fmla="*/ 81809 h 474946"/>
                <a:gd name="connsiteX65" fmla="*/ 134013 w 475271"/>
                <a:gd name="connsiteY65" fmla="*/ 106949 h 474946"/>
                <a:gd name="connsiteX66" fmla="*/ 220429 w 475271"/>
                <a:gd name="connsiteY66" fmla="*/ 65902 h 474946"/>
                <a:gd name="connsiteX67" fmla="*/ 229519 w 475271"/>
                <a:gd name="connsiteY67" fmla="*/ 15907 h 474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475271" h="474946">
                  <a:moveTo>
                    <a:pt x="263606" y="0"/>
                  </a:moveTo>
                  <a:lnTo>
                    <a:pt x="264121" y="3093"/>
                  </a:lnTo>
                  <a:lnTo>
                    <a:pt x="270750" y="0"/>
                  </a:lnTo>
                  <a:lnTo>
                    <a:pt x="275295" y="27270"/>
                  </a:lnTo>
                  <a:lnTo>
                    <a:pt x="284058" y="27270"/>
                  </a:lnTo>
                  <a:lnTo>
                    <a:pt x="291202" y="27270"/>
                  </a:lnTo>
                  <a:lnTo>
                    <a:pt x="307109" y="49994"/>
                  </a:lnTo>
                  <a:lnTo>
                    <a:pt x="332681" y="73435"/>
                  </a:lnTo>
                  <a:lnTo>
                    <a:pt x="343142" y="70447"/>
                  </a:lnTo>
                  <a:lnTo>
                    <a:pt x="344928" y="71978"/>
                  </a:lnTo>
                  <a:lnTo>
                    <a:pt x="350286" y="70447"/>
                  </a:lnTo>
                  <a:lnTo>
                    <a:pt x="382100" y="97716"/>
                  </a:lnTo>
                  <a:lnTo>
                    <a:pt x="393463" y="102261"/>
                  </a:lnTo>
                  <a:lnTo>
                    <a:pt x="397681" y="102261"/>
                  </a:lnTo>
                  <a:lnTo>
                    <a:pt x="404825" y="102261"/>
                  </a:lnTo>
                  <a:lnTo>
                    <a:pt x="420732" y="113624"/>
                  </a:lnTo>
                  <a:lnTo>
                    <a:pt x="475271" y="124986"/>
                  </a:lnTo>
                  <a:lnTo>
                    <a:pt x="452547" y="161345"/>
                  </a:lnTo>
                  <a:lnTo>
                    <a:pt x="448002" y="204522"/>
                  </a:lnTo>
                  <a:lnTo>
                    <a:pt x="436639" y="211340"/>
                  </a:lnTo>
                  <a:lnTo>
                    <a:pt x="432472" y="209554"/>
                  </a:lnTo>
                  <a:lnTo>
                    <a:pt x="429495" y="211340"/>
                  </a:lnTo>
                  <a:lnTo>
                    <a:pt x="421729" y="208011"/>
                  </a:lnTo>
                  <a:lnTo>
                    <a:pt x="425277" y="220430"/>
                  </a:lnTo>
                  <a:lnTo>
                    <a:pt x="398008" y="247699"/>
                  </a:lnTo>
                  <a:lnTo>
                    <a:pt x="398008" y="269866"/>
                  </a:lnTo>
                  <a:lnTo>
                    <a:pt x="406771" y="263607"/>
                  </a:lnTo>
                  <a:lnTo>
                    <a:pt x="408409" y="267539"/>
                  </a:lnTo>
                  <a:lnTo>
                    <a:pt x="413915" y="263607"/>
                  </a:lnTo>
                  <a:lnTo>
                    <a:pt x="425277" y="290876"/>
                  </a:lnTo>
                  <a:lnTo>
                    <a:pt x="425277" y="302239"/>
                  </a:lnTo>
                  <a:lnTo>
                    <a:pt x="436639" y="322691"/>
                  </a:lnTo>
                  <a:lnTo>
                    <a:pt x="425277" y="338598"/>
                  </a:lnTo>
                  <a:lnTo>
                    <a:pt x="432094" y="381775"/>
                  </a:lnTo>
                  <a:lnTo>
                    <a:pt x="445403" y="381775"/>
                  </a:lnTo>
                  <a:lnTo>
                    <a:pt x="452547" y="381775"/>
                  </a:lnTo>
                  <a:lnTo>
                    <a:pt x="448002" y="409045"/>
                  </a:lnTo>
                  <a:lnTo>
                    <a:pt x="413915" y="436314"/>
                  </a:lnTo>
                  <a:lnTo>
                    <a:pt x="408002" y="435329"/>
                  </a:lnTo>
                  <a:lnTo>
                    <a:pt x="406771" y="436314"/>
                  </a:lnTo>
                  <a:lnTo>
                    <a:pt x="342566" y="425613"/>
                  </a:lnTo>
                  <a:lnTo>
                    <a:pt x="291202" y="436314"/>
                  </a:lnTo>
                  <a:lnTo>
                    <a:pt x="286657" y="468129"/>
                  </a:lnTo>
                  <a:lnTo>
                    <a:pt x="243480" y="474946"/>
                  </a:lnTo>
                  <a:lnTo>
                    <a:pt x="241832" y="474078"/>
                  </a:lnTo>
                  <a:lnTo>
                    <a:pt x="236336" y="474946"/>
                  </a:lnTo>
                  <a:lnTo>
                    <a:pt x="197840" y="454685"/>
                  </a:lnTo>
                  <a:lnTo>
                    <a:pt x="188941" y="463584"/>
                  </a:lnTo>
                  <a:lnTo>
                    <a:pt x="183540" y="461841"/>
                  </a:lnTo>
                  <a:lnTo>
                    <a:pt x="181797" y="463584"/>
                  </a:lnTo>
                  <a:lnTo>
                    <a:pt x="111351" y="440859"/>
                  </a:lnTo>
                  <a:lnTo>
                    <a:pt x="95444" y="420407"/>
                  </a:lnTo>
                  <a:lnTo>
                    <a:pt x="118168" y="388592"/>
                  </a:lnTo>
                  <a:lnTo>
                    <a:pt x="122713" y="286331"/>
                  </a:lnTo>
                  <a:lnTo>
                    <a:pt x="86354" y="231792"/>
                  </a:lnTo>
                  <a:lnTo>
                    <a:pt x="59084" y="204522"/>
                  </a:lnTo>
                  <a:lnTo>
                    <a:pt x="4545" y="184070"/>
                  </a:lnTo>
                  <a:lnTo>
                    <a:pt x="0" y="140893"/>
                  </a:lnTo>
                  <a:lnTo>
                    <a:pt x="47722" y="136348"/>
                  </a:lnTo>
                  <a:lnTo>
                    <a:pt x="50453" y="136769"/>
                  </a:lnTo>
                  <a:lnTo>
                    <a:pt x="54866" y="136348"/>
                  </a:lnTo>
                  <a:lnTo>
                    <a:pt x="106604" y="144308"/>
                  </a:lnTo>
                  <a:lnTo>
                    <a:pt x="95444" y="81809"/>
                  </a:lnTo>
                  <a:lnTo>
                    <a:pt x="103778" y="88477"/>
                  </a:lnTo>
                  <a:lnTo>
                    <a:pt x="102588" y="81809"/>
                  </a:lnTo>
                  <a:lnTo>
                    <a:pt x="134013" y="106949"/>
                  </a:lnTo>
                  <a:lnTo>
                    <a:pt x="220429" y="65902"/>
                  </a:lnTo>
                  <a:lnTo>
                    <a:pt x="229519" y="15907"/>
                  </a:lnTo>
                  <a:close/>
                </a:path>
              </a:pathLst>
            </a:custGeom>
            <a:solidFill>
              <a:schemeClr val="accent1"/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81" name="Freeform 68">
              <a:extLst>
                <a:ext uri="{FF2B5EF4-FFF2-40B4-BE49-F238E27FC236}">
                  <a16:creationId xmlns:a16="http://schemas.microsoft.com/office/drawing/2014/main" id="{4A4FF029-591C-4DAD-31CA-EDB19617C7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0289" y="2060578"/>
              <a:ext cx="70224" cy="78580"/>
            </a:xfrm>
            <a:custGeom>
              <a:avLst/>
              <a:gdLst>
                <a:gd name="connsiteX0" fmla="*/ 102261 w 148190"/>
                <a:gd name="connsiteY0" fmla="*/ 0 h 163402"/>
                <a:gd name="connsiteX1" fmla="*/ 129531 w 148190"/>
                <a:gd name="connsiteY1" fmla="*/ 0 h 163402"/>
                <a:gd name="connsiteX2" fmla="*/ 132831 w 148190"/>
                <a:gd name="connsiteY2" fmla="*/ 6601 h 163402"/>
                <a:gd name="connsiteX3" fmla="*/ 136828 w 148190"/>
                <a:gd name="connsiteY3" fmla="*/ 6601 h 163402"/>
                <a:gd name="connsiteX4" fmla="*/ 148190 w 148190"/>
                <a:gd name="connsiteY4" fmla="*/ 29326 h 163402"/>
                <a:gd name="connsiteX5" fmla="*/ 136828 w 148190"/>
                <a:gd name="connsiteY5" fmla="*/ 81593 h 163402"/>
                <a:gd name="connsiteX6" fmla="*/ 125466 w 148190"/>
                <a:gd name="connsiteY6" fmla="*/ 104318 h 163402"/>
                <a:gd name="connsiteX7" fmla="*/ 105013 w 148190"/>
                <a:gd name="connsiteY7" fmla="*/ 104318 h 163402"/>
                <a:gd name="connsiteX8" fmla="*/ 109558 w 148190"/>
                <a:gd name="connsiteY8" fmla="*/ 163402 h 163402"/>
                <a:gd name="connsiteX9" fmla="*/ 93651 w 148190"/>
                <a:gd name="connsiteY9" fmla="*/ 152040 h 163402"/>
                <a:gd name="connsiteX10" fmla="*/ 88790 w 148190"/>
                <a:gd name="connsiteY10" fmla="*/ 147179 h 163402"/>
                <a:gd name="connsiteX11" fmla="*/ 86354 w 148190"/>
                <a:gd name="connsiteY11" fmla="*/ 145439 h 163402"/>
                <a:gd name="connsiteX12" fmla="*/ 65917 w 148190"/>
                <a:gd name="connsiteY12" fmla="*/ 125002 h 163402"/>
                <a:gd name="connsiteX13" fmla="*/ 34567 w 148190"/>
                <a:gd name="connsiteY13" fmla="*/ 140677 h 163402"/>
                <a:gd name="connsiteX14" fmla="*/ 7297 w 148190"/>
                <a:gd name="connsiteY14" fmla="*/ 136132 h 163402"/>
                <a:gd name="connsiteX15" fmla="*/ 13510 w 148190"/>
                <a:gd name="connsiteY15" fmla="*/ 131783 h 163402"/>
                <a:gd name="connsiteX16" fmla="*/ 0 w 148190"/>
                <a:gd name="connsiteY16" fmla="*/ 129531 h 163402"/>
                <a:gd name="connsiteX17" fmla="*/ 22725 w 148190"/>
                <a:gd name="connsiteY17" fmla="*/ 113624 h 163402"/>
                <a:gd name="connsiteX18" fmla="*/ 54539 w 148190"/>
                <a:gd name="connsiteY18" fmla="*/ 22725 h 163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8190" h="163402">
                  <a:moveTo>
                    <a:pt x="102261" y="0"/>
                  </a:moveTo>
                  <a:lnTo>
                    <a:pt x="129531" y="0"/>
                  </a:lnTo>
                  <a:lnTo>
                    <a:pt x="132831" y="6601"/>
                  </a:lnTo>
                  <a:lnTo>
                    <a:pt x="136828" y="6601"/>
                  </a:lnTo>
                  <a:lnTo>
                    <a:pt x="148190" y="29326"/>
                  </a:lnTo>
                  <a:lnTo>
                    <a:pt x="136828" y="81593"/>
                  </a:lnTo>
                  <a:lnTo>
                    <a:pt x="125466" y="104318"/>
                  </a:lnTo>
                  <a:lnTo>
                    <a:pt x="105013" y="104318"/>
                  </a:lnTo>
                  <a:lnTo>
                    <a:pt x="109558" y="163402"/>
                  </a:lnTo>
                  <a:lnTo>
                    <a:pt x="93651" y="152040"/>
                  </a:lnTo>
                  <a:lnTo>
                    <a:pt x="88790" y="147179"/>
                  </a:lnTo>
                  <a:lnTo>
                    <a:pt x="86354" y="145439"/>
                  </a:lnTo>
                  <a:lnTo>
                    <a:pt x="65917" y="125002"/>
                  </a:lnTo>
                  <a:lnTo>
                    <a:pt x="34567" y="140677"/>
                  </a:lnTo>
                  <a:lnTo>
                    <a:pt x="7297" y="136132"/>
                  </a:lnTo>
                  <a:lnTo>
                    <a:pt x="13510" y="131783"/>
                  </a:lnTo>
                  <a:lnTo>
                    <a:pt x="0" y="129531"/>
                  </a:lnTo>
                  <a:lnTo>
                    <a:pt x="22725" y="113624"/>
                  </a:lnTo>
                  <a:lnTo>
                    <a:pt x="54539" y="2272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82" name="Freeform 69">
              <a:extLst>
                <a:ext uri="{FF2B5EF4-FFF2-40B4-BE49-F238E27FC236}">
                  <a16:creationId xmlns:a16="http://schemas.microsoft.com/office/drawing/2014/main" id="{98828C10-33A4-632D-6F6D-9DBFBAD95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8748" y="2219038"/>
              <a:ext cx="76458" cy="55945"/>
            </a:xfrm>
            <a:custGeom>
              <a:avLst/>
              <a:gdLst>
                <a:gd name="connsiteX0" fmla="*/ 93172 w 161346"/>
                <a:gd name="connsiteY0" fmla="*/ 0 h 116332"/>
                <a:gd name="connsiteX1" fmla="*/ 129532 w 161346"/>
                <a:gd name="connsiteY1" fmla="*/ 15908 h 116332"/>
                <a:gd name="connsiteX2" fmla="*/ 129532 w 161346"/>
                <a:gd name="connsiteY2" fmla="*/ 20453 h 116332"/>
                <a:gd name="connsiteX3" fmla="*/ 128267 w 161346"/>
                <a:gd name="connsiteY3" fmla="*/ 24879 h 116332"/>
                <a:gd name="connsiteX4" fmla="*/ 129532 w 161346"/>
                <a:gd name="connsiteY4" fmla="*/ 25433 h 116332"/>
                <a:gd name="connsiteX5" fmla="*/ 129532 w 161346"/>
                <a:gd name="connsiteY5" fmla="*/ 29978 h 116332"/>
                <a:gd name="connsiteX6" fmla="*/ 127335 w 161346"/>
                <a:gd name="connsiteY6" fmla="*/ 37665 h 116332"/>
                <a:gd name="connsiteX7" fmla="*/ 145439 w 161346"/>
                <a:gd name="connsiteY7" fmla="*/ 47722 h 116332"/>
                <a:gd name="connsiteX8" fmla="*/ 161346 w 161346"/>
                <a:gd name="connsiteY8" fmla="*/ 47722 h 116332"/>
                <a:gd name="connsiteX9" fmla="*/ 159230 w 161346"/>
                <a:gd name="connsiteY9" fmla="*/ 57247 h 116332"/>
                <a:gd name="connsiteX10" fmla="*/ 161346 w 161346"/>
                <a:gd name="connsiteY10" fmla="*/ 57247 h 116332"/>
                <a:gd name="connsiteX11" fmla="*/ 156801 w 161346"/>
                <a:gd name="connsiteY11" fmla="*/ 77700 h 116332"/>
                <a:gd name="connsiteX12" fmla="*/ 145439 w 161346"/>
                <a:gd name="connsiteY12" fmla="*/ 89062 h 116332"/>
                <a:gd name="connsiteX13" fmla="*/ 113624 w 161346"/>
                <a:gd name="connsiteY13" fmla="*/ 77700 h 116332"/>
                <a:gd name="connsiteX14" fmla="*/ 109079 w 161346"/>
                <a:gd name="connsiteY14" fmla="*/ 104970 h 116332"/>
                <a:gd name="connsiteX15" fmla="*/ 93172 w 161346"/>
                <a:gd name="connsiteY15" fmla="*/ 104970 h 116332"/>
                <a:gd name="connsiteX16" fmla="*/ 81809 w 161346"/>
                <a:gd name="connsiteY16" fmla="*/ 93607 h 116332"/>
                <a:gd name="connsiteX17" fmla="*/ 65902 w 161346"/>
                <a:gd name="connsiteY17" fmla="*/ 111787 h 116332"/>
                <a:gd name="connsiteX18" fmla="*/ 43177 w 161346"/>
                <a:gd name="connsiteY18" fmla="*/ 116332 h 116332"/>
                <a:gd name="connsiteX19" fmla="*/ 27270 w 161346"/>
                <a:gd name="connsiteY19" fmla="*/ 104970 h 116332"/>
                <a:gd name="connsiteX20" fmla="*/ 15908 w 161346"/>
                <a:gd name="connsiteY20" fmla="*/ 77700 h 116332"/>
                <a:gd name="connsiteX21" fmla="*/ 0 w 161346"/>
                <a:gd name="connsiteY21" fmla="*/ 89062 h 116332"/>
                <a:gd name="connsiteX22" fmla="*/ 0 w 161346"/>
                <a:gd name="connsiteY22" fmla="*/ 79537 h 116332"/>
                <a:gd name="connsiteX23" fmla="*/ 0 w 161346"/>
                <a:gd name="connsiteY23" fmla="*/ 61792 h 116332"/>
                <a:gd name="connsiteX24" fmla="*/ 0 w 161346"/>
                <a:gd name="connsiteY24" fmla="*/ 52267 h 116332"/>
                <a:gd name="connsiteX25" fmla="*/ 27270 w 161346"/>
                <a:gd name="connsiteY25" fmla="*/ 24998 h 116332"/>
                <a:gd name="connsiteX26" fmla="*/ 27270 w 161346"/>
                <a:gd name="connsiteY26" fmla="*/ 18615 h 116332"/>
                <a:gd name="connsiteX27" fmla="*/ 27270 w 161346"/>
                <a:gd name="connsiteY27" fmla="*/ 9090 h 116332"/>
                <a:gd name="connsiteX28" fmla="*/ 43177 w 161346"/>
                <a:gd name="connsiteY28" fmla="*/ 15908 h 116332"/>
                <a:gd name="connsiteX29" fmla="*/ 54540 w 161346"/>
                <a:gd name="connsiteY29" fmla="*/ 9090 h 116332"/>
                <a:gd name="connsiteX30" fmla="*/ 81809 w 161346"/>
                <a:gd name="connsiteY30" fmla="*/ 9090 h 116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61346" h="116332">
                  <a:moveTo>
                    <a:pt x="93172" y="0"/>
                  </a:moveTo>
                  <a:lnTo>
                    <a:pt x="129532" y="15908"/>
                  </a:lnTo>
                  <a:lnTo>
                    <a:pt x="129532" y="20453"/>
                  </a:lnTo>
                  <a:lnTo>
                    <a:pt x="128267" y="24879"/>
                  </a:lnTo>
                  <a:lnTo>
                    <a:pt x="129532" y="25433"/>
                  </a:lnTo>
                  <a:lnTo>
                    <a:pt x="129532" y="29978"/>
                  </a:lnTo>
                  <a:lnTo>
                    <a:pt x="127335" y="37665"/>
                  </a:lnTo>
                  <a:lnTo>
                    <a:pt x="145439" y="47722"/>
                  </a:lnTo>
                  <a:lnTo>
                    <a:pt x="161346" y="47722"/>
                  </a:lnTo>
                  <a:lnTo>
                    <a:pt x="159230" y="57247"/>
                  </a:lnTo>
                  <a:lnTo>
                    <a:pt x="161346" y="57247"/>
                  </a:lnTo>
                  <a:lnTo>
                    <a:pt x="156801" y="77700"/>
                  </a:lnTo>
                  <a:lnTo>
                    <a:pt x="145439" y="89062"/>
                  </a:lnTo>
                  <a:lnTo>
                    <a:pt x="113624" y="77700"/>
                  </a:lnTo>
                  <a:lnTo>
                    <a:pt x="109079" y="104970"/>
                  </a:lnTo>
                  <a:lnTo>
                    <a:pt x="93172" y="104970"/>
                  </a:lnTo>
                  <a:lnTo>
                    <a:pt x="81809" y="93607"/>
                  </a:lnTo>
                  <a:lnTo>
                    <a:pt x="65902" y="111787"/>
                  </a:lnTo>
                  <a:lnTo>
                    <a:pt x="43177" y="116332"/>
                  </a:lnTo>
                  <a:lnTo>
                    <a:pt x="27270" y="104970"/>
                  </a:lnTo>
                  <a:lnTo>
                    <a:pt x="15908" y="77700"/>
                  </a:lnTo>
                  <a:lnTo>
                    <a:pt x="0" y="89062"/>
                  </a:lnTo>
                  <a:lnTo>
                    <a:pt x="0" y="79537"/>
                  </a:lnTo>
                  <a:lnTo>
                    <a:pt x="0" y="61792"/>
                  </a:lnTo>
                  <a:lnTo>
                    <a:pt x="0" y="52267"/>
                  </a:lnTo>
                  <a:lnTo>
                    <a:pt x="27270" y="24998"/>
                  </a:lnTo>
                  <a:lnTo>
                    <a:pt x="27270" y="18615"/>
                  </a:lnTo>
                  <a:lnTo>
                    <a:pt x="27270" y="9090"/>
                  </a:lnTo>
                  <a:lnTo>
                    <a:pt x="43177" y="15908"/>
                  </a:lnTo>
                  <a:lnTo>
                    <a:pt x="54540" y="9090"/>
                  </a:lnTo>
                  <a:lnTo>
                    <a:pt x="81809" y="909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83" name="Freeform 70">
              <a:extLst>
                <a:ext uri="{FF2B5EF4-FFF2-40B4-BE49-F238E27FC236}">
                  <a16:creationId xmlns:a16="http://schemas.microsoft.com/office/drawing/2014/main" id="{D33892AB-46BF-2857-16FE-232511DB2F99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1501" y="1970864"/>
              <a:ext cx="96918" cy="76603"/>
            </a:xfrm>
            <a:custGeom>
              <a:avLst/>
              <a:gdLst>
                <a:gd name="connsiteX0" fmla="*/ 43177 w 204522"/>
                <a:gd name="connsiteY0" fmla="*/ 0 h 159290"/>
                <a:gd name="connsiteX1" fmla="*/ 102261 w 204522"/>
                <a:gd name="connsiteY1" fmla="*/ 4545 h 159290"/>
                <a:gd name="connsiteX2" fmla="*/ 140893 w 204522"/>
                <a:gd name="connsiteY2" fmla="*/ 0 h 159290"/>
                <a:gd name="connsiteX3" fmla="*/ 145438 w 204522"/>
                <a:gd name="connsiteY3" fmla="*/ 15907 h 159290"/>
                <a:gd name="connsiteX4" fmla="*/ 161345 w 204522"/>
                <a:gd name="connsiteY4" fmla="*/ 15907 h 159290"/>
                <a:gd name="connsiteX5" fmla="*/ 199977 w 204522"/>
                <a:gd name="connsiteY5" fmla="*/ 47722 h 159290"/>
                <a:gd name="connsiteX6" fmla="*/ 204522 w 204522"/>
                <a:gd name="connsiteY6" fmla="*/ 74992 h 159290"/>
                <a:gd name="connsiteX7" fmla="*/ 203805 w 204522"/>
                <a:gd name="connsiteY7" fmla="*/ 75452 h 159290"/>
                <a:gd name="connsiteX8" fmla="*/ 204522 w 204522"/>
                <a:gd name="connsiteY8" fmla="*/ 79754 h 159290"/>
                <a:gd name="connsiteX9" fmla="*/ 172708 w 204522"/>
                <a:gd name="connsiteY9" fmla="*/ 100206 h 159290"/>
                <a:gd name="connsiteX10" fmla="*/ 161345 w 204522"/>
                <a:gd name="connsiteY10" fmla="*/ 138838 h 159290"/>
                <a:gd name="connsiteX11" fmla="*/ 122713 w 204522"/>
                <a:gd name="connsiteY11" fmla="*/ 159290 h 159290"/>
                <a:gd name="connsiteX12" fmla="*/ 86354 w 204522"/>
                <a:gd name="connsiteY12" fmla="*/ 159290 h 159290"/>
                <a:gd name="connsiteX13" fmla="*/ 81809 w 204522"/>
                <a:gd name="connsiteY13" fmla="*/ 143383 h 159290"/>
                <a:gd name="connsiteX14" fmla="*/ 59084 w 204522"/>
                <a:gd name="connsiteY14" fmla="*/ 134293 h 159290"/>
                <a:gd name="connsiteX15" fmla="*/ 59084 w 204522"/>
                <a:gd name="connsiteY15" fmla="*/ 129531 h 159290"/>
                <a:gd name="connsiteX16" fmla="*/ 59084 w 204522"/>
                <a:gd name="connsiteY16" fmla="*/ 116113 h 159290"/>
                <a:gd name="connsiteX17" fmla="*/ 59084 w 204522"/>
                <a:gd name="connsiteY17" fmla="*/ 111351 h 159290"/>
                <a:gd name="connsiteX18" fmla="*/ 59084 w 204522"/>
                <a:gd name="connsiteY18" fmla="*/ 100206 h 159290"/>
                <a:gd name="connsiteX19" fmla="*/ 43177 w 204522"/>
                <a:gd name="connsiteY19" fmla="*/ 91116 h 159290"/>
                <a:gd name="connsiteX20" fmla="*/ 4545 w 204522"/>
                <a:gd name="connsiteY20" fmla="*/ 79754 h 159290"/>
                <a:gd name="connsiteX21" fmla="*/ 0 w 204522"/>
                <a:gd name="connsiteY21" fmla="*/ 25214 h 159290"/>
                <a:gd name="connsiteX22" fmla="*/ 382 w 204522"/>
                <a:gd name="connsiteY22" fmla="*/ 25034 h 159290"/>
                <a:gd name="connsiteX23" fmla="*/ 0 w 204522"/>
                <a:gd name="connsiteY23" fmla="*/ 20452 h 159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04522" h="159290">
                  <a:moveTo>
                    <a:pt x="43177" y="0"/>
                  </a:moveTo>
                  <a:lnTo>
                    <a:pt x="102261" y="4545"/>
                  </a:lnTo>
                  <a:lnTo>
                    <a:pt x="140893" y="0"/>
                  </a:lnTo>
                  <a:lnTo>
                    <a:pt x="145438" y="15907"/>
                  </a:lnTo>
                  <a:lnTo>
                    <a:pt x="161345" y="15907"/>
                  </a:lnTo>
                  <a:lnTo>
                    <a:pt x="199977" y="47722"/>
                  </a:lnTo>
                  <a:lnTo>
                    <a:pt x="204522" y="74992"/>
                  </a:lnTo>
                  <a:lnTo>
                    <a:pt x="203805" y="75452"/>
                  </a:lnTo>
                  <a:lnTo>
                    <a:pt x="204522" y="79754"/>
                  </a:lnTo>
                  <a:lnTo>
                    <a:pt x="172708" y="100206"/>
                  </a:lnTo>
                  <a:lnTo>
                    <a:pt x="161345" y="138838"/>
                  </a:lnTo>
                  <a:lnTo>
                    <a:pt x="122713" y="159290"/>
                  </a:lnTo>
                  <a:lnTo>
                    <a:pt x="86354" y="159290"/>
                  </a:lnTo>
                  <a:lnTo>
                    <a:pt x="81809" y="143383"/>
                  </a:lnTo>
                  <a:lnTo>
                    <a:pt x="59084" y="134293"/>
                  </a:lnTo>
                  <a:lnTo>
                    <a:pt x="59084" y="129531"/>
                  </a:lnTo>
                  <a:lnTo>
                    <a:pt x="59084" y="116113"/>
                  </a:lnTo>
                  <a:lnTo>
                    <a:pt x="59084" y="111351"/>
                  </a:lnTo>
                  <a:lnTo>
                    <a:pt x="59084" y="100206"/>
                  </a:lnTo>
                  <a:lnTo>
                    <a:pt x="43177" y="91116"/>
                  </a:lnTo>
                  <a:lnTo>
                    <a:pt x="4545" y="79754"/>
                  </a:lnTo>
                  <a:lnTo>
                    <a:pt x="0" y="25214"/>
                  </a:lnTo>
                  <a:lnTo>
                    <a:pt x="382" y="25034"/>
                  </a:lnTo>
                  <a:lnTo>
                    <a:pt x="0" y="2045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84" name="Freeform 71">
              <a:extLst>
                <a:ext uri="{FF2B5EF4-FFF2-40B4-BE49-F238E27FC236}">
                  <a16:creationId xmlns:a16="http://schemas.microsoft.com/office/drawing/2014/main" id="{1135D01A-97C7-0122-13C7-95749ACD2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2457" y="2472572"/>
              <a:ext cx="360748" cy="367451"/>
            </a:xfrm>
            <a:custGeom>
              <a:avLst/>
              <a:gdLst>
                <a:gd name="connsiteX0" fmla="*/ 547664 w 761276"/>
                <a:gd name="connsiteY0" fmla="*/ 0 h 764093"/>
                <a:gd name="connsiteX1" fmla="*/ 590841 w 761276"/>
                <a:gd name="connsiteY1" fmla="*/ 0 h 764093"/>
                <a:gd name="connsiteX2" fmla="*/ 599931 w 761276"/>
                <a:gd name="connsiteY2" fmla="*/ 9090 h 764093"/>
                <a:gd name="connsiteX3" fmla="*/ 627201 w 761276"/>
                <a:gd name="connsiteY3" fmla="*/ 9090 h 764093"/>
                <a:gd name="connsiteX4" fmla="*/ 624819 w 761276"/>
                <a:gd name="connsiteY4" fmla="*/ 20997 h 764093"/>
                <a:gd name="connsiteX5" fmla="*/ 627201 w 761276"/>
                <a:gd name="connsiteY5" fmla="*/ 20997 h 764093"/>
                <a:gd name="connsiteX6" fmla="*/ 623477 w 761276"/>
                <a:gd name="connsiteY6" fmla="*/ 39616 h 764093"/>
                <a:gd name="connsiteX7" fmla="*/ 627201 w 761276"/>
                <a:gd name="connsiteY7" fmla="*/ 74991 h 764093"/>
                <a:gd name="connsiteX8" fmla="*/ 626319 w 761276"/>
                <a:gd name="connsiteY8" fmla="*/ 78519 h 764093"/>
                <a:gd name="connsiteX9" fmla="*/ 627201 w 761276"/>
                <a:gd name="connsiteY9" fmla="*/ 86898 h 764093"/>
                <a:gd name="connsiteX10" fmla="*/ 618111 w 761276"/>
                <a:gd name="connsiteY10" fmla="*/ 123258 h 764093"/>
                <a:gd name="connsiteX11" fmla="*/ 596838 w 761276"/>
                <a:gd name="connsiteY11" fmla="*/ 148785 h 764093"/>
                <a:gd name="connsiteX12" fmla="*/ 599931 w 761276"/>
                <a:gd name="connsiteY12" fmla="*/ 170435 h 764093"/>
                <a:gd name="connsiteX13" fmla="*/ 627201 w 761276"/>
                <a:gd name="connsiteY13" fmla="*/ 197705 h 764093"/>
                <a:gd name="connsiteX14" fmla="*/ 627201 w 761276"/>
                <a:gd name="connsiteY14" fmla="*/ 209067 h 764093"/>
                <a:gd name="connsiteX15" fmla="*/ 654470 w 761276"/>
                <a:gd name="connsiteY15" fmla="*/ 224974 h 764093"/>
                <a:gd name="connsiteX16" fmla="*/ 665833 w 761276"/>
                <a:gd name="connsiteY16" fmla="*/ 299966 h 764093"/>
                <a:gd name="connsiteX17" fmla="*/ 681740 w 761276"/>
                <a:gd name="connsiteY17" fmla="*/ 338597 h 764093"/>
                <a:gd name="connsiteX18" fmla="*/ 681740 w 761276"/>
                <a:gd name="connsiteY18" fmla="*/ 350504 h 764093"/>
                <a:gd name="connsiteX19" fmla="*/ 681740 w 761276"/>
                <a:gd name="connsiteY19" fmla="*/ 359050 h 764093"/>
                <a:gd name="connsiteX20" fmla="*/ 681740 w 761276"/>
                <a:gd name="connsiteY20" fmla="*/ 370957 h 764093"/>
                <a:gd name="connsiteX21" fmla="*/ 677195 w 761276"/>
                <a:gd name="connsiteY21" fmla="*/ 402771 h 764093"/>
                <a:gd name="connsiteX22" fmla="*/ 677195 w 761276"/>
                <a:gd name="connsiteY22" fmla="*/ 406771 h 764093"/>
                <a:gd name="connsiteX23" fmla="*/ 677195 w 761276"/>
                <a:gd name="connsiteY23" fmla="*/ 418678 h 764093"/>
                <a:gd name="connsiteX24" fmla="*/ 672001 w 761276"/>
                <a:gd name="connsiteY24" fmla="*/ 435991 h 764093"/>
                <a:gd name="connsiteX25" fmla="*/ 677195 w 761276"/>
                <a:gd name="connsiteY25" fmla="*/ 456766 h 764093"/>
                <a:gd name="connsiteX26" fmla="*/ 674753 w 761276"/>
                <a:gd name="connsiteY26" fmla="*/ 458903 h 764093"/>
                <a:gd name="connsiteX27" fmla="*/ 677195 w 761276"/>
                <a:gd name="connsiteY27" fmla="*/ 468673 h 764093"/>
                <a:gd name="connsiteX28" fmla="*/ 664249 w 761276"/>
                <a:gd name="connsiteY28" fmla="*/ 480001 h 764093"/>
                <a:gd name="connsiteX29" fmla="*/ 681740 w 761276"/>
                <a:gd name="connsiteY29" fmla="*/ 504488 h 764093"/>
                <a:gd name="connsiteX30" fmla="*/ 686285 w 761276"/>
                <a:gd name="connsiteY30" fmla="*/ 520395 h 764093"/>
                <a:gd name="connsiteX31" fmla="*/ 697647 w 761276"/>
                <a:gd name="connsiteY31" fmla="*/ 543119 h 764093"/>
                <a:gd name="connsiteX32" fmla="*/ 713554 w 761276"/>
                <a:gd name="connsiteY32" fmla="*/ 536302 h 764093"/>
                <a:gd name="connsiteX33" fmla="*/ 745369 w 761276"/>
                <a:gd name="connsiteY33" fmla="*/ 552209 h 764093"/>
                <a:gd name="connsiteX34" fmla="*/ 761276 w 761276"/>
                <a:gd name="connsiteY34" fmla="*/ 579479 h 764093"/>
                <a:gd name="connsiteX35" fmla="*/ 756107 w 761276"/>
                <a:gd name="connsiteY35" fmla="*/ 582525 h 764093"/>
                <a:gd name="connsiteX36" fmla="*/ 761276 w 761276"/>
                <a:gd name="connsiteY36" fmla="*/ 591386 h 764093"/>
                <a:gd name="connsiteX37" fmla="*/ 634018 w 761276"/>
                <a:gd name="connsiteY37" fmla="*/ 666377 h 764093"/>
                <a:gd name="connsiteX38" fmla="*/ 531757 w 761276"/>
                <a:gd name="connsiteY38" fmla="*/ 748186 h 764093"/>
                <a:gd name="connsiteX39" fmla="*/ 477218 w 761276"/>
                <a:gd name="connsiteY39" fmla="*/ 759548 h 764093"/>
                <a:gd name="connsiteX40" fmla="*/ 434041 w 761276"/>
                <a:gd name="connsiteY40" fmla="*/ 764093 h 764093"/>
                <a:gd name="connsiteX41" fmla="*/ 434041 w 761276"/>
                <a:gd name="connsiteY41" fmla="*/ 752186 h 764093"/>
                <a:gd name="connsiteX42" fmla="*/ 434041 w 761276"/>
                <a:gd name="connsiteY42" fmla="*/ 741369 h 764093"/>
                <a:gd name="connsiteX43" fmla="*/ 418134 w 761276"/>
                <a:gd name="connsiteY43" fmla="*/ 736824 h 764093"/>
                <a:gd name="connsiteX44" fmla="*/ 397682 w 761276"/>
                <a:gd name="connsiteY44" fmla="*/ 720916 h 764093"/>
                <a:gd name="connsiteX45" fmla="*/ 386319 w 761276"/>
                <a:gd name="connsiteY45" fmla="*/ 705009 h 764093"/>
                <a:gd name="connsiteX46" fmla="*/ 261334 w 761276"/>
                <a:gd name="connsiteY46" fmla="*/ 618655 h 764093"/>
                <a:gd name="connsiteX47" fmla="*/ 138621 w 761276"/>
                <a:gd name="connsiteY47" fmla="*/ 532302 h 764093"/>
                <a:gd name="connsiteX48" fmla="*/ 0 w 761276"/>
                <a:gd name="connsiteY48" fmla="*/ 430041 h 764093"/>
                <a:gd name="connsiteX49" fmla="*/ 0 w 761276"/>
                <a:gd name="connsiteY49" fmla="*/ 425496 h 764093"/>
                <a:gd name="connsiteX50" fmla="*/ 0 w 761276"/>
                <a:gd name="connsiteY50" fmla="*/ 418678 h 764093"/>
                <a:gd name="connsiteX51" fmla="*/ 0 w 761276"/>
                <a:gd name="connsiteY51" fmla="*/ 418134 h 764093"/>
                <a:gd name="connsiteX52" fmla="*/ 0 w 761276"/>
                <a:gd name="connsiteY52" fmla="*/ 413589 h 764093"/>
                <a:gd name="connsiteX53" fmla="*/ 0 w 761276"/>
                <a:gd name="connsiteY53" fmla="*/ 406771 h 764093"/>
                <a:gd name="connsiteX54" fmla="*/ 0 w 761276"/>
                <a:gd name="connsiteY54" fmla="*/ 370957 h 764093"/>
                <a:gd name="connsiteX55" fmla="*/ 0 w 761276"/>
                <a:gd name="connsiteY55" fmla="*/ 359050 h 764093"/>
                <a:gd name="connsiteX56" fmla="*/ 59084 w 761276"/>
                <a:gd name="connsiteY56" fmla="*/ 331780 h 764093"/>
                <a:gd name="connsiteX57" fmla="*/ 95444 w 761276"/>
                <a:gd name="connsiteY57" fmla="*/ 322690 h 764093"/>
                <a:gd name="connsiteX58" fmla="*/ 127258 w 761276"/>
                <a:gd name="connsiteY58" fmla="*/ 315873 h 764093"/>
                <a:gd name="connsiteX59" fmla="*/ 138621 w 761276"/>
                <a:gd name="connsiteY59" fmla="*/ 288603 h 764093"/>
                <a:gd name="connsiteX60" fmla="*/ 181797 w 761276"/>
                <a:gd name="connsiteY60" fmla="*/ 272696 h 764093"/>
                <a:gd name="connsiteX61" fmla="*/ 181797 w 761276"/>
                <a:gd name="connsiteY61" fmla="*/ 257333 h 764093"/>
                <a:gd name="connsiteX62" fmla="*/ 181797 w 761276"/>
                <a:gd name="connsiteY62" fmla="*/ 245426 h 764093"/>
                <a:gd name="connsiteX63" fmla="*/ 209067 w 761276"/>
                <a:gd name="connsiteY63" fmla="*/ 240881 h 764093"/>
                <a:gd name="connsiteX64" fmla="*/ 224974 w 761276"/>
                <a:gd name="connsiteY64" fmla="*/ 224974 h 764093"/>
                <a:gd name="connsiteX65" fmla="*/ 272696 w 761276"/>
                <a:gd name="connsiteY65" fmla="*/ 220429 h 764093"/>
                <a:gd name="connsiteX66" fmla="*/ 276324 w 761276"/>
                <a:gd name="connsiteY66" fmla="*/ 208336 h 764093"/>
                <a:gd name="connsiteX67" fmla="*/ 268151 w 761276"/>
                <a:gd name="connsiteY67" fmla="*/ 205067 h 764093"/>
                <a:gd name="connsiteX68" fmla="*/ 256789 w 761276"/>
                <a:gd name="connsiteY68" fmla="*/ 155072 h 764093"/>
                <a:gd name="connsiteX69" fmla="*/ 252244 w 761276"/>
                <a:gd name="connsiteY69" fmla="*/ 130075 h 764093"/>
                <a:gd name="connsiteX70" fmla="*/ 240882 w 761276"/>
                <a:gd name="connsiteY70" fmla="*/ 102806 h 764093"/>
                <a:gd name="connsiteX71" fmla="*/ 244537 w 761276"/>
                <a:gd name="connsiteY71" fmla="*/ 99672 h 764093"/>
                <a:gd name="connsiteX72" fmla="*/ 240882 w 761276"/>
                <a:gd name="connsiteY72" fmla="*/ 90899 h 764093"/>
                <a:gd name="connsiteX73" fmla="*/ 272696 w 761276"/>
                <a:gd name="connsiteY73" fmla="*/ 63629 h 764093"/>
                <a:gd name="connsiteX74" fmla="*/ 315873 w 761276"/>
                <a:gd name="connsiteY74" fmla="*/ 59084 h 764093"/>
                <a:gd name="connsiteX75" fmla="*/ 338598 w 761276"/>
                <a:gd name="connsiteY75" fmla="*/ 36360 h 764093"/>
                <a:gd name="connsiteX76" fmla="*/ 374957 w 761276"/>
                <a:gd name="connsiteY76" fmla="*/ 24997 h 764093"/>
                <a:gd name="connsiteX77" fmla="*/ 434041 w 761276"/>
                <a:gd name="connsiteY77" fmla="*/ 15907 h 764093"/>
                <a:gd name="connsiteX78" fmla="*/ 497670 w 761276"/>
                <a:gd name="connsiteY78" fmla="*/ 9090 h 764093"/>
                <a:gd name="connsiteX79" fmla="*/ 515850 w 761276"/>
                <a:gd name="connsiteY79" fmla="*/ 20452 h 76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761276" h="764093">
                  <a:moveTo>
                    <a:pt x="547664" y="0"/>
                  </a:moveTo>
                  <a:lnTo>
                    <a:pt x="590841" y="0"/>
                  </a:lnTo>
                  <a:lnTo>
                    <a:pt x="599931" y="9090"/>
                  </a:lnTo>
                  <a:lnTo>
                    <a:pt x="627201" y="9090"/>
                  </a:lnTo>
                  <a:lnTo>
                    <a:pt x="624819" y="20997"/>
                  </a:lnTo>
                  <a:lnTo>
                    <a:pt x="627201" y="20997"/>
                  </a:lnTo>
                  <a:lnTo>
                    <a:pt x="623477" y="39616"/>
                  </a:lnTo>
                  <a:lnTo>
                    <a:pt x="627201" y="74991"/>
                  </a:lnTo>
                  <a:lnTo>
                    <a:pt x="626319" y="78519"/>
                  </a:lnTo>
                  <a:lnTo>
                    <a:pt x="627201" y="86898"/>
                  </a:lnTo>
                  <a:lnTo>
                    <a:pt x="618111" y="123258"/>
                  </a:lnTo>
                  <a:lnTo>
                    <a:pt x="596838" y="148785"/>
                  </a:lnTo>
                  <a:lnTo>
                    <a:pt x="599931" y="170435"/>
                  </a:lnTo>
                  <a:lnTo>
                    <a:pt x="627201" y="197705"/>
                  </a:lnTo>
                  <a:lnTo>
                    <a:pt x="627201" y="209067"/>
                  </a:lnTo>
                  <a:lnTo>
                    <a:pt x="654470" y="224974"/>
                  </a:lnTo>
                  <a:lnTo>
                    <a:pt x="665833" y="299966"/>
                  </a:lnTo>
                  <a:lnTo>
                    <a:pt x="681740" y="338597"/>
                  </a:lnTo>
                  <a:lnTo>
                    <a:pt x="681740" y="350504"/>
                  </a:lnTo>
                  <a:lnTo>
                    <a:pt x="681740" y="359050"/>
                  </a:lnTo>
                  <a:lnTo>
                    <a:pt x="681740" y="370957"/>
                  </a:lnTo>
                  <a:lnTo>
                    <a:pt x="677195" y="402771"/>
                  </a:lnTo>
                  <a:lnTo>
                    <a:pt x="677195" y="406771"/>
                  </a:lnTo>
                  <a:lnTo>
                    <a:pt x="677195" y="418678"/>
                  </a:lnTo>
                  <a:lnTo>
                    <a:pt x="672001" y="435991"/>
                  </a:lnTo>
                  <a:lnTo>
                    <a:pt x="677195" y="456766"/>
                  </a:lnTo>
                  <a:lnTo>
                    <a:pt x="674753" y="458903"/>
                  </a:lnTo>
                  <a:lnTo>
                    <a:pt x="677195" y="468673"/>
                  </a:lnTo>
                  <a:lnTo>
                    <a:pt x="664249" y="480001"/>
                  </a:lnTo>
                  <a:lnTo>
                    <a:pt x="681740" y="504488"/>
                  </a:lnTo>
                  <a:lnTo>
                    <a:pt x="686285" y="520395"/>
                  </a:lnTo>
                  <a:lnTo>
                    <a:pt x="697647" y="543119"/>
                  </a:lnTo>
                  <a:lnTo>
                    <a:pt x="713554" y="536302"/>
                  </a:lnTo>
                  <a:lnTo>
                    <a:pt x="745369" y="552209"/>
                  </a:lnTo>
                  <a:lnTo>
                    <a:pt x="761276" y="579479"/>
                  </a:lnTo>
                  <a:lnTo>
                    <a:pt x="756107" y="582525"/>
                  </a:lnTo>
                  <a:lnTo>
                    <a:pt x="761276" y="591386"/>
                  </a:lnTo>
                  <a:lnTo>
                    <a:pt x="634018" y="666377"/>
                  </a:lnTo>
                  <a:lnTo>
                    <a:pt x="531757" y="748186"/>
                  </a:lnTo>
                  <a:lnTo>
                    <a:pt x="477218" y="759548"/>
                  </a:lnTo>
                  <a:lnTo>
                    <a:pt x="434041" y="764093"/>
                  </a:lnTo>
                  <a:lnTo>
                    <a:pt x="434041" y="752186"/>
                  </a:lnTo>
                  <a:lnTo>
                    <a:pt x="434041" y="741369"/>
                  </a:lnTo>
                  <a:lnTo>
                    <a:pt x="418134" y="736824"/>
                  </a:lnTo>
                  <a:lnTo>
                    <a:pt x="397682" y="720916"/>
                  </a:lnTo>
                  <a:lnTo>
                    <a:pt x="386319" y="705009"/>
                  </a:lnTo>
                  <a:lnTo>
                    <a:pt x="261334" y="618655"/>
                  </a:lnTo>
                  <a:lnTo>
                    <a:pt x="138621" y="532302"/>
                  </a:lnTo>
                  <a:lnTo>
                    <a:pt x="0" y="430041"/>
                  </a:lnTo>
                  <a:lnTo>
                    <a:pt x="0" y="425496"/>
                  </a:lnTo>
                  <a:lnTo>
                    <a:pt x="0" y="418678"/>
                  </a:lnTo>
                  <a:lnTo>
                    <a:pt x="0" y="418134"/>
                  </a:lnTo>
                  <a:lnTo>
                    <a:pt x="0" y="413589"/>
                  </a:lnTo>
                  <a:lnTo>
                    <a:pt x="0" y="406771"/>
                  </a:lnTo>
                  <a:lnTo>
                    <a:pt x="0" y="370957"/>
                  </a:lnTo>
                  <a:lnTo>
                    <a:pt x="0" y="359050"/>
                  </a:lnTo>
                  <a:lnTo>
                    <a:pt x="59084" y="331780"/>
                  </a:lnTo>
                  <a:lnTo>
                    <a:pt x="95444" y="322690"/>
                  </a:lnTo>
                  <a:lnTo>
                    <a:pt x="127258" y="315873"/>
                  </a:lnTo>
                  <a:lnTo>
                    <a:pt x="138621" y="288603"/>
                  </a:lnTo>
                  <a:lnTo>
                    <a:pt x="181797" y="272696"/>
                  </a:lnTo>
                  <a:lnTo>
                    <a:pt x="181797" y="257333"/>
                  </a:lnTo>
                  <a:lnTo>
                    <a:pt x="181797" y="245426"/>
                  </a:lnTo>
                  <a:lnTo>
                    <a:pt x="209067" y="240881"/>
                  </a:lnTo>
                  <a:lnTo>
                    <a:pt x="224974" y="224974"/>
                  </a:lnTo>
                  <a:lnTo>
                    <a:pt x="272696" y="220429"/>
                  </a:lnTo>
                  <a:lnTo>
                    <a:pt x="276324" y="208336"/>
                  </a:lnTo>
                  <a:lnTo>
                    <a:pt x="268151" y="205067"/>
                  </a:lnTo>
                  <a:lnTo>
                    <a:pt x="256789" y="155072"/>
                  </a:lnTo>
                  <a:lnTo>
                    <a:pt x="252244" y="130075"/>
                  </a:lnTo>
                  <a:lnTo>
                    <a:pt x="240882" y="102806"/>
                  </a:lnTo>
                  <a:lnTo>
                    <a:pt x="244537" y="99672"/>
                  </a:lnTo>
                  <a:lnTo>
                    <a:pt x="240882" y="90899"/>
                  </a:lnTo>
                  <a:lnTo>
                    <a:pt x="272696" y="63629"/>
                  </a:lnTo>
                  <a:lnTo>
                    <a:pt x="315873" y="59084"/>
                  </a:lnTo>
                  <a:lnTo>
                    <a:pt x="338598" y="36360"/>
                  </a:lnTo>
                  <a:lnTo>
                    <a:pt x="374957" y="24997"/>
                  </a:lnTo>
                  <a:lnTo>
                    <a:pt x="434041" y="15907"/>
                  </a:lnTo>
                  <a:lnTo>
                    <a:pt x="497670" y="9090"/>
                  </a:lnTo>
                  <a:lnTo>
                    <a:pt x="515850" y="2045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85" name="Freeform 72">
              <a:extLst>
                <a:ext uri="{FF2B5EF4-FFF2-40B4-BE49-F238E27FC236}">
                  <a16:creationId xmlns:a16="http://schemas.microsoft.com/office/drawing/2014/main" id="{9114C615-490E-D69F-76DB-E09B45C2EE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2770" y="2997125"/>
              <a:ext cx="56099" cy="59012"/>
            </a:xfrm>
            <a:custGeom>
              <a:avLst/>
              <a:gdLst>
                <a:gd name="connsiteX0" fmla="*/ 47722 w 118385"/>
                <a:gd name="connsiteY0" fmla="*/ 0 h 122713"/>
                <a:gd name="connsiteX1" fmla="*/ 52484 w 118385"/>
                <a:gd name="connsiteY1" fmla="*/ 0 h 122713"/>
                <a:gd name="connsiteX2" fmla="*/ 74991 w 118385"/>
                <a:gd name="connsiteY2" fmla="*/ 0 h 122713"/>
                <a:gd name="connsiteX3" fmla="*/ 79753 w 118385"/>
                <a:gd name="connsiteY3" fmla="*/ 0 h 122713"/>
                <a:gd name="connsiteX4" fmla="*/ 91116 w 118385"/>
                <a:gd name="connsiteY4" fmla="*/ 15907 h 122713"/>
                <a:gd name="connsiteX5" fmla="*/ 102478 w 118385"/>
                <a:gd name="connsiteY5" fmla="*/ 31815 h 122713"/>
                <a:gd name="connsiteX6" fmla="*/ 95661 w 118385"/>
                <a:gd name="connsiteY6" fmla="*/ 43177 h 122713"/>
                <a:gd name="connsiteX7" fmla="*/ 107023 w 118385"/>
                <a:gd name="connsiteY7" fmla="*/ 54539 h 122713"/>
                <a:gd name="connsiteX8" fmla="*/ 107023 w 118385"/>
                <a:gd name="connsiteY8" fmla="*/ 63629 h 122713"/>
                <a:gd name="connsiteX9" fmla="*/ 113623 w 118385"/>
                <a:gd name="connsiteY9" fmla="*/ 63629 h 122713"/>
                <a:gd name="connsiteX10" fmla="*/ 118385 w 118385"/>
                <a:gd name="connsiteY10" fmla="*/ 63629 h 122713"/>
                <a:gd name="connsiteX11" fmla="*/ 95661 w 118385"/>
                <a:gd name="connsiteY11" fmla="*/ 81809 h 122713"/>
                <a:gd name="connsiteX12" fmla="*/ 79753 w 118385"/>
                <a:gd name="connsiteY12" fmla="*/ 102261 h 122713"/>
                <a:gd name="connsiteX13" fmla="*/ 79753 w 118385"/>
                <a:gd name="connsiteY13" fmla="*/ 113623 h 122713"/>
                <a:gd name="connsiteX14" fmla="*/ 70664 w 118385"/>
                <a:gd name="connsiteY14" fmla="*/ 122713 h 122713"/>
                <a:gd name="connsiteX15" fmla="*/ 65902 w 118385"/>
                <a:gd name="connsiteY15" fmla="*/ 122713 h 122713"/>
                <a:gd name="connsiteX16" fmla="*/ 59301 w 118385"/>
                <a:gd name="connsiteY16" fmla="*/ 122713 h 122713"/>
                <a:gd name="connsiteX17" fmla="*/ 54539 w 118385"/>
                <a:gd name="connsiteY17" fmla="*/ 122713 h 122713"/>
                <a:gd name="connsiteX18" fmla="*/ 27270 w 118385"/>
                <a:gd name="connsiteY18" fmla="*/ 106806 h 122713"/>
                <a:gd name="connsiteX19" fmla="*/ 11363 w 118385"/>
                <a:gd name="connsiteY19" fmla="*/ 86354 h 122713"/>
                <a:gd name="connsiteX20" fmla="*/ 6818 w 118385"/>
                <a:gd name="connsiteY20" fmla="*/ 74992 h 122713"/>
                <a:gd name="connsiteX21" fmla="*/ 0 w 118385"/>
                <a:gd name="connsiteY21" fmla="*/ 43177 h 122713"/>
                <a:gd name="connsiteX22" fmla="*/ 15907 w 118385"/>
                <a:gd name="connsiteY22" fmla="*/ 31815 h 122713"/>
                <a:gd name="connsiteX23" fmla="*/ 22725 w 118385"/>
                <a:gd name="connsiteY23" fmla="*/ 20452 h 122713"/>
                <a:gd name="connsiteX24" fmla="*/ 27270 w 118385"/>
                <a:gd name="connsiteY24" fmla="*/ 11363 h 122713"/>
                <a:gd name="connsiteX25" fmla="*/ 32032 w 118385"/>
                <a:gd name="connsiteY25" fmla="*/ 11363 h 122713"/>
                <a:gd name="connsiteX26" fmla="*/ 38632 w 118385"/>
                <a:gd name="connsiteY26" fmla="*/ 11363 h 122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18385" h="122713">
                  <a:moveTo>
                    <a:pt x="47722" y="0"/>
                  </a:moveTo>
                  <a:lnTo>
                    <a:pt x="52484" y="0"/>
                  </a:lnTo>
                  <a:lnTo>
                    <a:pt x="74991" y="0"/>
                  </a:lnTo>
                  <a:lnTo>
                    <a:pt x="79753" y="0"/>
                  </a:lnTo>
                  <a:lnTo>
                    <a:pt x="91116" y="15907"/>
                  </a:lnTo>
                  <a:lnTo>
                    <a:pt x="102478" y="31815"/>
                  </a:lnTo>
                  <a:lnTo>
                    <a:pt x="95661" y="43177"/>
                  </a:lnTo>
                  <a:lnTo>
                    <a:pt x="107023" y="54539"/>
                  </a:lnTo>
                  <a:lnTo>
                    <a:pt x="107023" y="63629"/>
                  </a:lnTo>
                  <a:lnTo>
                    <a:pt x="113623" y="63629"/>
                  </a:lnTo>
                  <a:lnTo>
                    <a:pt x="118385" y="63629"/>
                  </a:lnTo>
                  <a:lnTo>
                    <a:pt x="95661" y="81809"/>
                  </a:lnTo>
                  <a:lnTo>
                    <a:pt x="79753" y="102261"/>
                  </a:lnTo>
                  <a:lnTo>
                    <a:pt x="79753" y="113623"/>
                  </a:lnTo>
                  <a:lnTo>
                    <a:pt x="70664" y="122713"/>
                  </a:lnTo>
                  <a:lnTo>
                    <a:pt x="65902" y="122713"/>
                  </a:lnTo>
                  <a:lnTo>
                    <a:pt x="59301" y="122713"/>
                  </a:lnTo>
                  <a:lnTo>
                    <a:pt x="54539" y="122713"/>
                  </a:lnTo>
                  <a:lnTo>
                    <a:pt x="27270" y="106806"/>
                  </a:lnTo>
                  <a:lnTo>
                    <a:pt x="11363" y="86354"/>
                  </a:lnTo>
                  <a:lnTo>
                    <a:pt x="6818" y="74992"/>
                  </a:lnTo>
                  <a:lnTo>
                    <a:pt x="0" y="43177"/>
                  </a:lnTo>
                  <a:lnTo>
                    <a:pt x="15907" y="31815"/>
                  </a:lnTo>
                  <a:lnTo>
                    <a:pt x="22725" y="20452"/>
                  </a:lnTo>
                  <a:lnTo>
                    <a:pt x="27270" y="11363"/>
                  </a:lnTo>
                  <a:lnTo>
                    <a:pt x="32032" y="11363"/>
                  </a:lnTo>
                  <a:lnTo>
                    <a:pt x="38632" y="11363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86" name="Freeform 73">
              <a:extLst>
                <a:ext uri="{FF2B5EF4-FFF2-40B4-BE49-F238E27FC236}">
                  <a16:creationId xmlns:a16="http://schemas.microsoft.com/office/drawing/2014/main" id="{7B945FE8-8A3C-CCC6-DB5A-AC2F6DBDBD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89386" y="2953414"/>
              <a:ext cx="130404" cy="97365"/>
            </a:xfrm>
            <a:custGeom>
              <a:avLst/>
              <a:gdLst>
                <a:gd name="connsiteX0" fmla="*/ 54540 w 275186"/>
                <a:gd name="connsiteY0" fmla="*/ 0 h 202467"/>
                <a:gd name="connsiteX1" fmla="*/ 70447 w 275186"/>
                <a:gd name="connsiteY1" fmla="*/ 0 h 202467"/>
                <a:gd name="connsiteX2" fmla="*/ 97716 w 275186"/>
                <a:gd name="connsiteY2" fmla="*/ 11363 h 202467"/>
                <a:gd name="connsiteX3" fmla="*/ 102261 w 275186"/>
                <a:gd name="connsiteY3" fmla="*/ 11363 h 202467"/>
                <a:gd name="connsiteX4" fmla="*/ 109079 w 275186"/>
                <a:gd name="connsiteY4" fmla="*/ 4545 h 202467"/>
                <a:gd name="connsiteX5" fmla="*/ 129531 w 275186"/>
                <a:gd name="connsiteY5" fmla="*/ 4545 h 202467"/>
                <a:gd name="connsiteX6" fmla="*/ 136348 w 275186"/>
                <a:gd name="connsiteY6" fmla="*/ 4545 h 202467"/>
                <a:gd name="connsiteX7" fmla="*/ 136348 w 275186"/>
                <a:gd name="connsiteY7" fmla="*/ 9307 h 202467"/>
                <a:gd name="connsiteX8" fmla="*/ 141110 w 275186"/>
                <a:gd name="connsiteY8" fmla="*/ 9307 h 202467"/>
                <a:gd name="connsiteX9" fmla="*/ 141110 w 275186"/>
                <a:gd name="connsiteY9" fmla="*/ 15908 h 202467"/>
                <a:gd name="connsiteX10" fmla="*/ 152256 w 275186"/>
                <a:gd name="connsiteY10" fmla="*/ 15908 h 202467"/>
                <a:gd name="connsiteX11" fmla="*/ 156801 w 275186"/>
                <a:gd name="connsiteY11" fmla="*/ 15908 h 202467"/>
                <a:gd name="connsiteX12" fmla="*/ 168163 w 275186"/>
                <a:gd name="connsiteY12" fmla="*/ 27270 h 202467"/>
                <a:gd name="connsiteX13" fmla="*/ 184070 w 275186"/>
                <a:gd name="connsiteY13" fmla="*/ 27270 h 202467"/>
                <a:gd name="connsiteX14" fmla="*/ 195433 w 275186"/>
                <a:gd name="connsiteY14" fmla="*/ 20452 h 202467"/>
                <a:gd name="connsiteX15" fmla="*/ 204523 w 275186"/>
                <a:gd name="connsiteY15" fmla="*/ 15908 h 202467"/>
                <a:gd name="connsiteX16" fmla="*/ 215885 w 275186"/>
                <a:gd name="connsiteY16" fmla="*/ 11363 h 202467"/>
                <a:gd name="connsiteX17" fmla="*/ 220430 w 275186"/>
                <a:gd name="connsiteY17" fmla="*/ 11363 h 202467"/>
                <a:gd name="connsiteX18" fmla="*/ 227247 w 275186"/>
                <a:gd name="connsiteY18" fmla="*/ 15908 h 202467"/>
                <a:gd name="connsiteX19" fmla="*/ 228113 w 275186"/>
                <a:gd name="connsiteY19" fmla="*/ 18072 h 202467"/>
                <a:gd name="connsiteX20" fmla="*/ 232009 w 275186"/>
                <a:gd name="connsiteY20" fmla="*/ 20670 h 202467"/>
                <a:gd name="connsiteX21" fmla="*/ 236554 w 275186"/>
                <a:gd name="connsiteY21" fmla="*/ 32032 h 202467"/>
                <a:gd name="connsiteX22" fmla="*/ 252462 w 275186"/>
                <a:gd name="connsiteY22" fmla="*/ 52484 h 202467"/>
                <a:gd name="connsiteX23" fmla="*/ 247917 w 275186"/>
                <a:gd name="connsiteY23" fmla="*/ 57029 h 202467"/>
                <a:gd name="connsiteX24" fmla="*/ 245277 w 275186"/>
                <a:gd name="connsiteY24" fmla="*/ 63629 h 202467"/>
                <a:gd name="connsiteX25" fmla="*/ 247700 w 275186"/>
                <a:gd name="connsiteY25" fmla="*/ 63629 h 202467"/>
                <a:gd name="connsiteX26" fmla="*/ 254517 w 275186"/>
                <a:gd name="connsiteY26" fmla="*/ 63629 h 202467"/>
                <a:gd name="connsiteX27" fmla="*/ 252476 w 275186"/>
                <a:gd name="connsiteY27" fmla="*/ 68391 h 202467"/>
                <a:gd name="connsiteX28" fmla="*/ 259279 w 275186"/>
                <a:gd name="connsiteY28" fmla="*/ 68391 h 202467"/>
                <a:gd name="connsiteX29" fmla="*/ 252908 w 275186"/>
                <a:gd name="connsiteY29" fmla="*/ 83257 h 202467"/>
                <a:gd name="connsiteX30" fmla="*/ 263607 w 275186"/>
                <a:gd name="connsiteY30" fmla="*/ 90899 h 202467"/>
                <a:gd name="connsiteX31" fmla="*/ 261702 w 275186"/>
                <a:gd name="connsiteY31" fmla="*/ 90899 h 202467"/>
                <a:gd name="connsiteX32" fmla="*/ 268369 w 275186"/>
                <a:gd name="connsiteY32" fmla="*/ 95661 h 202467"/>
                <a:gd name="connsiteX33" fmla="*/ 259279 w 275186"/>
                <a:gd name="connsiteY33" fmla="*/ 95661 h 202467"/>
                <a:gd name="connsiteX34" fmla="*/ 259279 w 275186"/>
                <a:gd name="connsiteY34" fmla="*/ 111568 h 202467"/>
                <a:gd name="connsiteX35" fmla="*/ 263824 w 275186"/>
                <a:gd name="connsiteY35" fmla="*/ 122931 h 202467"/>
                <a:gd name="connsiteX36" fmla="*/ 275186 w 275186"/>
                <a:gd name="connsiteY36" fmla="*/ 154745 h 202467"/>
                <a:gd name="connsiteX37" fmla="*/ 259279 w 275186"/>
                <a:gd name="connsiteY37" fmla="*/ 159290 h 202467"/>
                <a:gd name="connsiteX38" fmla="*/ 259279 w 275186"/>
                <a:gd name="connsiteY38" fmla="*/ 166108 h 202467"/>
                <a:gd name="connsiteX39" fmla="*/ 259279 w 275186"/>
                <a:gd name="connsiteY39" fmla="*/ 170653 h 202467"/>
                <a:gd name="connsiteX40" fmla="*/ 259279 w 275186"/>
                <a:gd name="connsiteY40" fmla="*/ 186560 h 202467"/>
                <a:gd name="connsiteX41" fmla="*/ 252462 w 275186"/>
                <a:gd name="connsiteY41" fmla="*/ 186560 h 202467"/>
                <a:gd name="connsiteX42" fmla="*/ 243372 w 275186"/>
                <a:gd name="connsiteY42" fmla="*/ 186560 h 202467"/>
                <a:gd name="connsiteX43" fmla="*/ 232009 w 275186"/>
                <a:gd name="connsiteY43" fmla="*/ 202467 h 202467"/>
                <a:gd name="connsiteX44" fmla="*/ 220647 w 275186"/>
                <a:gd name="connsiteY44" fmla="*/ 202467 h 202467"/>
                <a:gd name="connsiteX45" fmla="*/ 218266 w 275186"/>
                <a:gd name="connsiteY45" fmla="*/ 197705 h 202467"/>
                <a:gd name="connsiteX46" fmla="*/ 215885 w 275186"/>
                <a:gd name="connsiteY46" fmla="*/ 197705 h 202467"/>
                <a:gd name="connsiteX47" fmla="*/ 211340 w 275186"/>
                <a:gd name="connsiteY47" fmla="*/ 188615 h 202467"/>
                <a:gd name="connsiteX48" fmla="*/ 211340 w 275186"/>
                <a:gd name="connsiteY48" fmla="*/ 172708 h 202467"/>
                <a:gd name="connsiteX49" fmla="*/ 202756 w 275186"/>
                <a:gd name="connsiteY49" fmla="*/ 155539 h 202467"/>
                <a:gd name="connsiteX50" fmla="*/ 193377 w 275186"/>
                <a:gd name="connsiteY50" fmla="*/ 159290 h 202467"/>
                <a:gd name="connsiteX51" fmla="*/ 188832 w 275186"/>
                <a:gd name="connsiteY51" fmla="*/ 159290 h 202467"/>
                <a:gd name="connsiteX52" fmla="*/ 177470 w 275186"/>
                <a:gd name="connsiteY52" fmla="*/ 166108 h 202467"/>
                <a:gd name="connsiteX53" fmla="*/ 177470 w 275186"/>
                <a:gd name="connsiteY53" fmla="*/ 158488 h 202467"/>
                <a:gd name="connsiteX54" fmla="*/ 172708 w 275186"/>
                <a:gd name="connsiteY54" fmla="*/ 161346 h 202467"/>
                <a:gd name="connsiteX55" fmla="*/ 172708 w 275186"/>
                <a:gd name="connsiteY55" fmla="*/ 145438 h 202467"/>
                <a:gd name="connsiteX56" fmla="*/ 166108 w 275186"/>
                <a:gd name="connsiteY56" fmla="*/ 138838 h 202467"/>
                <a:gd name="connsiteX57" fmla="*/ 166108 w 275186"/>
                <a:gd name="connsiteY57" fmla="*/ 138838 h 202467"/>
                <a:gd name="connsiteX58" fmla="*/ 161346 w 275186"/>
                <a:gd name="connsiteY58" fmla="*/ 134076 h 202467"/>
                <a:gd name="connsiteX59" fmla="*/ 168163 w 275186"/>
                <a:gd name="connsiteY59" fmla="*/ 122714 h 202467"/>
                <a:gd name="connsiteX60" fmla="*/ 156801 w 275186"/>
                <a:gd name="connsiteY60" fmla="*/ 106807 h 202467"/>
                <a:gd name="connsiteX61" fmla="*/ 150200 w 275186"/>
                <a:gd name="connsiteY61" fmla="*/ 100206 h 202467"/>
                <a:gd name="connsiteX62" fmla="*/ 122931 w 275186"/>
                <a:gd name="connsiteY62" fmla="*/ 100206 h 202467"/>
                <a:gd name="connsiteX63" fmla="*/ 113841 w 275186"/>
                <a:gd name="connsiteY63" fmla="*/ 107023 h 202467"/>
                <a:gd name="connsiteX64" fmla="*/ 102478 w 275186"/>
                <a:gd name="connsiteY64" fmla="*/ 107023 h 202467"/>
                <a:gd name="connsiteX65" fmla="*/ 97934 w 275186"/>
                <a:gd name="connsiteY65" fmla="*/ 116113 h 202467"/>
                <a:gd name="connsiteX66" fmla="*/ 91116 w 275186"/>
                <a:gd name="connsiteY66" fmla="*/ 127476 h 202467"/>
                <a:gd name="connsiteX67" fmla="*/ 75209 w 275186"/>
                <a:gd name="connsiteY67" fmla="*/ 143383 h 202467"/>
                <a:gd name="connsiteX68" fmla="*/ 71042 w 275186"/>
                <a:gd name="connsiteY68" fmla="*/ 138026 h 202467"/>
                <a:gd name="connsiteX69" fmla="*/ 70447 w 275186"/>
                <a:gd name="connsiteY69" fmla="*/ 138621 h 202467"/>
                <a:gd name="connsiteX70" fmla="*/ 54540 w 275186"/>
                <a:gd name="connsiteY70" fmla="*/ 118169 h 202467"/>
                <a:gd name="connsiteX71" fmla="*/ 43394 w 275186"/>
                <a:gd name="connsiteY71" fmla="*/ 107023 h 202467"/>
                <a:gd name="connsiteX72" fmla="*/ 32032 w 275186"/>
                <a:gd name="connsiteY72" fmla="*/ 100206 h 202467"/>
                <a:gd name="connsiteX73" fmla="*/ 22942 w 275186"/>
                <a:gd name="connsiteY73" fmla="*/ 95661 h 202467"/>
                <a:gd name="connsiteX74" fmla="*/ 22942 w 275186"/>
                <a:gd name="connsiteY74" fmla="*/ 93280 h 202467"/>
                <a:gd name="connsiteX75" fmla="*/ 18180 w 275186"/>
                <a:gd name="connsiteY75" fmla="*/ 90899 h 202467"/>
                <a:gd name="connsiteX76" fmla="*/ 18180 w 275186"/>
                <a:gd name="connsiteY76" fmla="*/ 70447 h 202467"/>
                <a:gd name="connsiteX77" fmla="*/ 16125 w 275186"/>
                <a:gd name="connsiteY77" fmla="*/ 68391 h 202467"/>
                <a:gd name="connsiteX78" fmla="*/ 4762 w 275186"/>
                <a:gd name="connsiteY78" fmla="*/ 63847 h 202467"/>
                <a:gd name="connsiteX79" fmla="*/ 7003 w 275186"/>
                <a:gd name="connsiteY79" fmla="*/ 61886 h 202467"/>
                <a:gd name="connsiteX80" fmla="*/ 0 w 275186"/>
                <a:gd name="connsiteY80" fmla="*/ 59085 h 202467"/>
                <a:gd name="connsiteX81" fmla="*/ 18180 w 275186"/>
                <a:gd name="connsiteY81" fmla="*/ 43177 h 202467"/>
                <a:gd name="connsiteX82" fmla="*/ 27270 w 275186"/>
                <a:gd name="connsiteY82" fmla="*/ 43177 h 202467"/>
                <a:gd name="connsiteX83" fmla="*/ 38632 w 275186"/>
                <a:gd name="connsiteY83" fmla="*/ 31815 h 202467"/>
                <a:gd name="connsiteX84" fmla="*/ 43177 w 275186"/>
                <a:gd name="connsiteY84" fmla="*/ 31815 h 202467"/>
                <a:gd name="connsiteX85" fmla="*/ 49995 w 275186"/>
                <a:gd name="connsiteY85" fmla="*/ 27270 h 202467"/>
                <a:gd name="connsiteX86" fmla="*/ 49995 w 275186"/>
                <a:gd name="connsiteY86" fmla="*/ 15908 h 202467"/>
                <a:gd name="connsiteX87" fmla="*/ 49995 w 275186"/>
                <a:gd name="connsiteY87" fmla="*/ 11363 h 202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275186" h="202467">
                  <a:moveTo>
                    <a:pt x="54540" y="0"/>
                  </a:moveTo>
                  <a:lnTo>
                    <a:pt x="70447" y="0"/>
                  </a:lnTo>
                  <a:lnTo>
                    <a:pt x="97716" y="11363"/>
                  </a:lnTo>
                  <a:lnTo>
                    <a:pt x="102261" y="11363"/>
                  </a:lnTo>
                  <a:lnTo>
                    <a:pt x="109079" y="4545"/>
                  </a:lnTo>
                  <a:lnTo>
                    <a:pt x="129531" y="4545"/>
                  </a:lnTo>
                  <a:lnTo>
                    <a:pt x="136348" y="4545"/>
                  </a:lnTo>
                  <a:lnTo>
                    <a:pt x="136348" y="9307"/>
                  </a:lnTo>
                  <a:lnTo>
                    <a:pt x="141110" y="9307"/>
                  </a:lnTo>
                  <a:lnTo>
                    <a:pt x="141110" y="15908"/>
                  </a:lnTo>
                  <a:lnTo>
                    <a:pt x="152256" y="15908"/>
                  </a:lnTo>
                  <a:lnTo>
                    <a:pt x="156801" y="15908"/>
                  </a:lnTo>
                  <a:lnTo>
                    <a:pt x="168163" y="27270"/>
                  </a:lnTo>
                  <a:lnTo>
                    <a:pt x="184070" y="27270"/>
                  </a:lnTo>
                  <a:lnTo>
                    <a:pt x="195433" y="20452"/>
                  </a:lnTo>
                  <a:lnTo>
                    <a:pt x="204523" y="15908"/>
                  </a:lnTo>
                  <a:lnTo>
                    <a:pt x="215885" y="11363"/>
                  </a:lnTo>
                  <a:lnTo>
                    <a:pt x="220430" y="11363"/>
                  </a:lnTo>
                  <a:lnTo>
                    <a:pt x="227247" y="15908"/>
                  </a:lnTo>
                  <a:lnTo>
                    <a:pt x="228113" y="18072"/>
                  </a:lnTo>
                  <a:lnTo>
                    <a:pt x="232009" y="20670"/>
                  </a:lnTo>
                  <a:lnTo>
                    <a:pt x="236554" y="32032"/>
                  </a:lnTo>
                  <a:lnTo>
                    <a:pt x="252462" y="52484"/>
                  </a:lnTo>
                  <a:lnTo>
                    <a:pt x="247917" y="57029"/>
                  </a:lnTo>
                  <a:lnTo>
                    <a:pt x="245277" y="63629"/>
                  </a:lnTo>
                  <a:lnTo>
                    <a:pt x="247700" y="63629"/>
                  </a:lnTo>
                  <a:lnTo>
                    <a:pt x="254517" y="63629"/>
                  </a:lnTo>
                  <a:lnTo>
                    <a:pt x="252476" y="68391"/>
                  </a:lnTo>
                  <a:lnTo>
                    <a:pt x="259279" y="68391"/>
                  </a:lnTo>
                  <a:lnTo>
                    <a:pt x="252908" y="83257"/>
                  </a:lnTo>
                  <a:lnTo>
                    <a:pt x="263607" y="90899"/>
                  </a:lnTo>
                  <a:lnTo>
                    <a:pt x="261702" y="90899"/>
                  </a:lnTo>
                  <a:lnTo>
                    <a:pt x="268369" y="95661"/>
                  </a:lnTo>
                  <a:lnTo>
                    <a:pt x="259279" y="95661"/>
                  </a:lnTo>
                  <a:lnTo>
                    <a:pt x="259279" y="111568"/>
                  </a:lnTo>
                  <a:lnTo>
                    <a:pt x="263824" y="122931"/>
                  </a:lnTo>
                  <a:lnTo>
                    <a:pt x="275186" y="154745"/>
                  </a:lnTo>
                  <a:lnTo>
                    <a:pt x="259279" y="159290"/>
                  </a:lnTo>
                  <a:lnTo>
                    <a:pt x="259279" y="166108"/>
                  </a:lnTo>
                  <a:lnTo>
                    <a:pt x="259279" y="170653"/>
                  </a:lnTo>
                  <a:lnTo>
                    <a:pt x="259279" y="186560"/>
                  </a:lnTo>
                  <a:lnTo>
                    <a:pt x="252462" y="186560"/>
                  </a:lnTo>
                  <a:lnTo>
                    <a:pt x="243372" y="186560"/>
                  </a:lnTo>
                  <a:lnTo>
                    <a:pt x="232009" y="202467"/>
                  </a:lnTo>
                  <a:lnTo>
                    <a:pt x="220647" y="202467"/>
                  </a:lnTo>
                  <a:lnTo>
                    <a:pt x="218266" y="197705"/>
                  </a:lnTo>
                  <a:lnTo>
                    <a:pt x="215885" y="197705"/>
                  </a:lnTo>
                  <a:lnTo>
                    <a:pt x="211340" y="188615"/>
                  </a:lnTo>
                  <a:lnTo>
                    <a:pt x="211340" y="172708"/>
                  </a:lnTo>
                  <a:lnTo>
                    <a:pt x="202756" y="155539"/>
                  </a:lnTo>
                  <a:lnTo>
                    <a:pt x="193377" y="159290"/>
                  </a:lnTo>
                  <a:lnTo>
                    <a:pt x="188832" y="159290"/>
                  </a:lnTo>
                  <a:lnTo>
                    <a:pt x="177470" y="166108"/>
                  </a:lnTo>
                  <a:lnTo>
                    <a:pt x="177470" y="158488"/>
                  </a:lnTo>
                  <a:lnTo>
                    <a:pt x="172708" y="161346"/>
                  </a:lnTo>
                  <a:lnTo>
                    <a:pt x="172708" y="145438"/>
                  </a:lnTo>
                  <a:lnTo>
                    <a:pt x="166108" y="138838"/>
                  </a:lnTo>
                  <a:lnTo>
                    <a:pt x="166108" y="138838"/>
                  </a:lnTo>
                  <a:lnTo>
                    <a:pt x="161346" y="134076"/>
                  </a:lnTo>
                  <a:lnTo>
                    <a:pt x="168163" y="122714"/>
                  </a:lnTo>
                  <a:lnTo>
                    <a:pt x="156801" y="106807"/>
                  </a:lnTo>
                  <a:lnTo>
                    <a:pt x="150200" y="100206"/>
                  </a:lnTo>
                  <a:lnTo>
                    <a:pt x="122931" y="100206"/>
                  </a:lnTo>
                  <a:lnTo>
                    <a:pt x="113841" y="107023"/>
                  </a:lnTo>
                  <a:lnTo>
                    <a:pt x="102478" y="107023"/>
                  </a:lnTo>
                  <a:lnTo>
                    <a:pt x="97934" y="116113"/>
                  </a:lnTo>
                  <a:lnTo>
                    <a:pt x="91116" y="127476"/>
                  </a:lnTo>
                  <a:lnTo>
                    <a:pt x="75209" y="143383"/>
                  </a:lnTo>
                  <a:lnTo>
                    <a:pt x="71042" y="138026"/>
                  </a:lnTo>
                  <a:lnTo>
                    <a:pt x="70447" y="138621"/>
                  </a:lnTo>
                  <a:lnTo>
                    <a:pt x="54540" y="118169"/>
                  </a:lnTo>
                  <a:lnTo>
                    <a:pt x="43394" y="107023"/>
                  </a:lnTo>
                  <a:lnTo>
                    <a:pt x="32032" y="100206"/>
                  </a:lnTo>
                  <a:lnTo>
                    <a:pt x="22942" y="95661"/>
                  </a:lnTo>
                  <a:lnTo>
                    <a:pt x="22942" y="93280"/>
                  </a:lnTo>
                  <a:lnTo>
                    <a:pt x="18180" y="90899"/>
                  </a:lnTo>
                  <a:lnTo>
                    <a:pt x="18180" y="70447"/>
                  </a:lnTo>
                  <a:lnTo>
                    <a:pt x="16125" y="68391"/>
                  </a:lnTo>
                  <a:lnTo>
                    <a:pt x="4762" y="63847"/>
                  </a:lnTo>
                  <a:lnTo>
                    <a:pt x="7003" y="61886"/>
                  </a:lnTo>
                  <a:lnTo>
                    <a:pt x="0" y="59085"/>
                  </a:lnTo>
                  <a:lnTo>
                    <a:pt x="18180" y="43177"/>
                  </a:lnTo>
                  <a:lnTo>
                    <a:pt x="27270" y="43177"/>
                  </a:lnTo>
                  <a:lnTo>
                    <a:pt x="38632" y="31815"/>
                  </a:lnTo>
                  <a:lnTo>
                    <a:pt x="43177" y="31815"/>
                  </a:lnTo>
                  <a:lnTo>
                    <a:pt x="49995" y="27270"/>
                  </a:lnTo>
                  <a:lnTo>
                    <a:pt x="49995" y="15908"/>
                  </a:lnTo>
                  <a:lnTo>
                    <a:pt x="49995" y="11363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87" name="Freeform 74">
              <a:extLst>
                <a:ext uri="{FF2B5EF4-FFF2-40B4-BE49-F238E27FC236}">
                  <a16:creationId xmlns:a16="http://schemas.microsoft.com/office/drawing/2014/main" id="{59E662B9-8261-E218-24CD-FB3B65F5EF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7080" y="2503173"/>
              <a:ext cx="277984" cy="291993"/>
            </a:xfrm>
            <a:custGeom>
              <a:avLst/>
              <a:gdLst>
                <a:gd name="connsiteX0" fmla="*/ 406772 w 586622"/>
                <a:gd name="connsiteY0" fmla="*/ 0 h 607184"/>
                <a:gd name="connsiteX1" fmla="*/ 434041 w 586622"/>
                <a:gd name="connsiteY1" fmla="*/ 0 h 607184"/>
                <a:gd name="connsiteX2" fmla="*/ 456766 w 586622"/>
                <a:gd name="connsiteY2" fmla="*/ 15907 h 607184"/>
                <a:gd name="connsiteX3" fmla="*/ 493126 w 586622"/>
                <a:gd name="connsiteY3" fmla="*/ 15907 h 607184"/>
                <a:gd name="connsiteX4" fmla="*/ 531757 w 586622"/>
                <a:gd name="connsiteY4" fmla="*/ 27270 h 607184"/>
                <a:gd name="connsiteX5" fmla="*/ 547665 w 586622"/>
                <a:gd name="connsiteY5" fmla="*/ 27270 h 607184"/>
                <a:gd name="connsiteX6" fmla="*/ 551634 w 586622"/>
                <a:gd name="connsiteY6" fmla="*/ 36795 h 607184"/>
                <a:gd name="connsiteX7" fmla="*/ 554808 w 586622"/>
                <a:gd name="connsiteY7" fmla="*/ 36795 h 607184"/>
                <a:gd name="connsiteX8" fmla="*/ 566170 w 586622"/>
                <a:gd name="connsiteY8" fmla="*/ 64064 h 607184"/>
                <a:gd name="connsiteX9" fmla="*/ 570715 w 586622"/>
                <a:gd name="connsiteY9" fmla="*/ 89061 h 607184"/>
                <a:gd name="connsiteX10" fmla="*/ 582077 w 586622"/>
                <a:gd name="connsiteY10" fmla="*/ 139056 h 607184"/>
                <a:gd name="connsiteX11" fmla="*/ 586622 w 586622"/>
                <a:gd name="connsiteY11" fmla="*/ 143601 h 607184"/>
                <a:gd name="connsiteX12" fmla="*/ 582077 w 586622"/>
                <a:gd name="connsiteY12" fmla="*/ 166325 h 607184"/>
                <a:gd name="connsiteX13" fmla="*/ 532083 w 586622"/>
                <a:gd name="connsiteY13" fmla="*/ 170870 h 607184"/>
                <a:gd name="connsiteX14" fmla="*/ 516176 w 586622"/>
                <a:gd name="connsiteY14" fmla="*/ 186778 h 607184"/>
                <a:gd name="connsiteX15" fmla="*/ 495724 w 586622"/>
                <a:gd name="connsiteY15" fmla="*/ 191323 h 607184"/>
                <a:gd name="connsiteX16" fmla="*/ 495724 w 586622"/>
                <a:gd name="connsiteY16" fmla="*/ 218592 h 607184"/>
                <a:gd name="connsiteX17" fmla="*/ 452547 w 586622"/>
                <a:gd name="connsiteY17" fmla="*/ 234499 h 607184"/>
                <a:gd name="connsiteX18" fmla="*/ 441184 w 586622"/>
                <a:gd name="connsiteY18" fmla="*/ 261769 h 607184"/>
                <a:gd name="connsiteX19" fmla="*/ 409370 w 586622"/>
                <a:gd name="connsiteY19" fmla="*/ 273131 h 607184"/>
                <a:gd name="connsiteX20" fmla="*/ 373010 w 586622"/>
                <a:gd name="connsiteY20" fmla="*/ 277676 h 607184"/>
                <a:gd name="connsiteX21" fmla="*/ 313926 w 586622"/>
                <a:gd name="connsiteY21" fmla="*/ 304946 h 607184"/>
                <a:gd name="connsiteX22" fmla="*/ 313926 w 586622"/>
                <a:gd name="connsiteY22" fmla="*/ 359485 h 607184"/>
                <a:gd name="connsiteX23" fmla="*/ 307109 w 586622"/>
                <a:gd name="connsiteY23" fmla="*/ 359485 h 607184"/>
                <a:gd name="connsiteX24" fmla="*/ 307109 w 586622"/>
                <a:gd name="connsiteY24" fmla="*/ 379937 h 607184"/>
                <a:gd name="connsiteX25" fmla="*/ 286657 w 586622"/>
                <a:gd name="connsiteY25" fmla="*/ 379937 h 607184"/>
                <a:gd name="connsiteX26" fmla="*/ 275294 w 586622"/>
                <a:gd name="connsiteY26" fmla="*/ 391300 h 607184"/>
                <a:gd name="connsiteX27" fmla="*/ 259387 w 586622"/>
                <a:gd name="connsiteY27" fmla="*/ 391300 h 607184"/>
                <a:gd name="connsiteX28" fmla="*/ 243480 w 586622"/>
                <a:gd name="connsiteY28" fmla="*/ 386755 h 607184"/>
                <a:gd name="connsiteX29" fmla="*/ 211665 w 586622"/>
                <a:gd name="connsiteY29" fmla="*/ 391300 h 607184"/>
                <a:gd name="connsiteX30" fmla="*/ 200303 w 586622"/>
                <a:gd name="connsiteY30" fmla="*/ 423114 h 607184"/>
                <a:gd name="connsiteX31" fmla="*/ 188941 w 586622"/>
                <a:gd name="connsiteY31" fmla="*/ 423114 h 607184"/>
                <a:gd name="connsiteX32" fmla="*/ 173033 w 586622"/>
                <a:gd name="connsiteY32" fmla="*/ 470836 h 607184"/>
                <a:gd name="connsiteX33" fmla="*/ 118494 w 586622"/>
                <a:gd name="connsiteY33" fmla="*/ 520830 h 607184"/>
                <a:gd name="connsiteX34" fmla="*/ 109404 w 586622"/>
                <a:gd name="connsiteY34" fmla="*/ 573097 h 607184"/>
                <a:gd name="connsiteX35" fmla="*/ 93497 w 586622"/>
                <a:gd name="connsiteY35" fmla="*/ 591277 h 607184"/>
                <a:gd name="connsiteX36" fmla="*/ 86680 w 586622"/>
                <a:gd name="connsiteY36" fmla="*/ 607184 h 607184"/>
                <a:gd name="connsiteX37" fmla="*/ 7143 w 586622"/>
                <a:gd name="connsiteY37" fmla="*/ 607184 h 607184"/>
                <a:gd name="connsiteX38" fmla="*/ 7143 w 586622"/>
                <a:gd name="connsiteY38" fmla="*/ 597659 h 607184"/>
                <a:gd name="connsiteX39" fmla="*/ 0 w 586622"/>
                <a:gd name="connsiteY39" fmla="*/ 597659 h 607184"/>
                <a:gd name="connsiteX40" fmla="*/ 0 w 586622"/>
                <a:gd name="connsiteY40" fmla="*/ 581752 h 607184"/>
                <a:gd name="connsiteX41" fmla="*/ 15908 w 586622"/>
                <a:gd name="connsiteY41" fmla="*/ 570390 h 607184"/>
                <a:gd name="connsiteX42" fmla="*/ 27270 w 586622"/>
                <a:gd name="connsiteY42" fmla="*/ 547665 h 607184"/>
                <a:gd name="connsiteX43" fmla="*/ 27270 w 586622"/>
                <a:gd name="connsiteY43" fmla="*/ 538575 h 607184"/>
                <a:gd name="connsiteX44" fmla="*/ 36360 w 586622"/>
                <a:gd name="connsiteY44" fmla="*/ 511305 h 607184"/>
                <a:gd name="connsiteX45" fmla="*/ 59084 w 586622"/>
                <a:gd name="connsiteY45" fmla="*/ 484036 h 607184"/>
                <a:gd name="connsiteX46" fmla="*/ 68174 w 586622"/>
                <a:gd name="connsiteY46" fmla="*/ 472674 h 607184"/>
                <a:gd name="connsiteX47" fmla="*/ 79537 w 586622"/>
                <a:gd name="connsiteY47" fmla="*/ 452221 h 607184"/>
                <a:gd name="connsiteX48" fmla="*/ 79537 w 586622"/>
                <a:gd name="connsiteY48" fmla="*/ 429497 h 607184"/>
                <a:gd name="connsiteX49" fmla="*/ 95444 w 586622"/>
                <a:gd name="connsiteY49" fmla="*/ 402227 h 607184"/>
                <a:gd name="connsiteX50" fmla="*/ 118169 w 586622"/>
                <a:gd name="connsiteY50" fmla="*/ 393137 h 607184"/>
                <a:gd name="connsiteX51" fmla="*/ 138621 w 586622"/>
                <a:gd name="connsiteY51" fmla="*/ 349960 h 607184"/>
                <a:gd name="connsiteX52" fmla="*/ 161345 w 586622"/>
                <a:gd name="connsiteY52" fmla="*/ 334053 h 607184"/>
                <a:gd name="connsiteX53" fmla="*/ 193160 w 586622"/>
                <a:gd name="connsiteY53" fmla="*/ 327235 h 607184"/>
                <a:gd name="connsiteX54" fmla="*/ 224974 w 586622"/>
                <a:gd name="connsiteY54" fmla="*/ 299966 h 607184"/>
                <a:gd name="connsiteX55" fmla="*/ 240882 w 586622"/>
                <a:gd name="connsiteY55" fmla="*/ 290876 h 607184"/>
                <a:gd name="connsiteX56" fmla="*/ 272696 w 586622"/>
                <a:gd name="connsiteY56" fmla="*/ 252244 h 607184"/>
                <a:gd name="connsiteX57" fmla="*/ 263606 w 586622"/>
                <a:gd name="connsiteY57" fmla="*/ 199977 h 607184"/>
                <a:gd name="connsiteX58" fmla="*/ 279514 w 586622"/>
                <a:gd name="connsiteY58" fmla="*/ 161345 h 607184"/>
                <a:gd name="connsiteX59" fmla="*/ 284059 w 586622"/>
                <a:gd name="connsiteY59" fmla="*/ 138621 h 607184"/>
                <a:gd name="connsiteX60" fmla="*/ 306783 w 586622"/>
                <a:gd name="connsiteY60" fmla="*/ 113624 h 607184"/>
                <a:gd name="connsiteX61" fmla="*/ 343143 w 586622"/>
                <a:gd name="connsiteY61" fmla="*/ 90899 h 607184"/>
                <a:gd name="connsiteX62" fmla="*/ 370412 w 586622"/>
                <a:gd name="connsiteY62" fmla="*/ 70447 h 607184"/>
                <a:gd name="connsiteX63" fmla="*/ 397682 w 586622"/>
                <a:gd name="connsiteY63" fmla="*/ 27270 h 607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586622" h="607184">
                  <a:moveTo>
                    <a:pt x="406772" y="0"/>
                  </a:moveTo>
                  <a:lnTo>
                    <a:pt x="434041" y="0"/>
                  </a:lnTo>
                  <a:lnTo>
                    <a:pt x="456766" y="15907"/>
                  </a:lnTo>
                  <a:lnTo>
                    <a:pt x="493126" y="15907"/>
                  </a:lnTo>
                  <a:lnTo>
                    <a:pt x="531757" y="27270"/>
                  </a:lnTo>
                  <a:lnTo>
                    <a:pt x="547665" y="27270"/>
                  </a:lnTo>
                  <a:lnTo>
                    <a:pt x="551634" y="36795"/>
                  </a:lnTo>
                  <a:lnTo>
                    <a:pt x="554808" y="36795"/>
                  </a:lnTo>
                  <a:lnTo>
                    <a:pt x="566170" y="64064"/>
                  </a:lnTo>
                  <a:lnTo>
                    <a:pt x="570715" y="89061"/>
                  </a:lnTo>
                  <a:lnTo>
                    <a:pt x="582077" y="139056"/>
                  </a:lnTo>
                  <a:lnTo>
                    <a:pt x="586622" y="143601"/>
                  </a:lnTo>
                  <a:lnTo>
                    <a:pt x="582077" y="166325"/>
                  </a:lnTo>
                  <a:lnTo>
                    <a:pt x="532083" y="170870"/>
                  </a:lnTo>
                  <a:lnTo>
                    <a:pt x="516176" y="186778"/>
                  </a:lnTo>
                  <a:lnTo>
                    <a:pt x="495724" y="191323"/>
                  </a:lnTo>
                  <a:lnTo>
                    <a:pt x="495724" y="218592"/>
                  </a:lnTo>
                  <a:lnTo>
                    <a:pt x="452547" y="234499"/>
                  </a:lnTo>
                  <a:lnTo>
                    <a:pt x="441184" y="261769"/>
                  </a:lnTo>
                  <a:lnTo>
                    <a:pt x="409370" y="273131"/>
                  </a:lnTo>
                  <a:lnTo>
                    <a:pt x="373010" y="277676"/>
                  </a:lnTo>
                  <a:lnTo>
                    <a:pt x="313926" y="304946"/>
                  </a:lnTo>
                  <a:lnTo>
                    <a:pt x="313926" y="359485"/>
                  </a:lnTo>
                  <a:lnTo>
                    <a:pt x="307109" y="359485"/>
                  </a:lnTo>
                  <a:lnTo>
                    <a:pt x="307109" y="379937"/>
                  </a:lnTo>
                  <a:lnTo>
                    <a:pt x="286657" y="379937"/>
                  </a:lnTo>
                  <a:lnTo>
                    <a:pt x="275294" y="391300"/>
                  </a:lnTo>
                  <a:lnTo>
                    <a:pt x="259387" y="391300"/>
                  </a:lnTo>
                  <a:lnTo>
                    <a:pt x="243480" y="386755"/>
                  </a:lnTo>
                  <a:lnTo>
                    <a:pt x="211665" y="391300"/>
                  </a:lnTo>
                  <a:lnTo>
                    <a:pt x="200303" y="423114"/>
                  </a:lnTo>
                  <a:lnTo>
                    <a:pt x="188941" y="423114"/>
                  </a:lnTo>
                  <a:lnTo>
                    <a:pt x="173033" y="470836"/>
                  </a:lnTo>
                  <a:lnTo>
                    <a:pt x="118494" y="520830"/>
                  </a:lnTo>
                  <a:lnTo>
                    <a:pt x="109404" y="573097"/>
                  </a:lnTo>
                  <a:lnTo>
                    <a:pt x="93497" y="591277"/>
                  </a:lnTo>
                  <a:lnTo>
                    <a:pt x="86680" y="607184"/>
                  </a:lnTo>
                  <a:lnTo>
                    <a:pt x="7143" y="607184"/>
                  </a:lnTo>
                  <a:lnTo>
                    <a:pt x="7143" y="597659"/>
                  </a:lnTo>
                  <a:lnTo>
                    <a:pt x="0" y="597659"/>
                  </a:lnTo>
                  <a:lnTo>
                    <a:pt x="0" y="581752"/>
                  </a:lnTo>
                  <a:lnTo>
                    <a:pt x="15908" y="570390"/>
                  </a:lnTo>
                  <a:lnTo>
                    <a:pt x="27270" y="547665"/>
                  </a:lnTo>
                  <a:lnTo>
                    <a:pt x="27270" y="538575"/>
                  </a:lnTo>
                  <a:lnTo>
                    <a:pt x="36360" y="511305"/>
                  </a:lnTo>
                  <a:lnTo>
                    <a:pt x="59084" y="484036"/>
                  </a:lnTo>
                  <a:lnTo>
                    <a:pt x="68174" y="472674"/>
                  </a:lnTo>
                  <a:lnTo>
                    <a:pt x="79537" y="452221"/>
                  </a:lnTo>
                  <a:lnTo>
                    <a:pt x="79537" y="429497"/>
                  </a:lnTo>
                  <a:lnTo>
                    <a:pt x="95444" y="402227"/>
                  </a:lnTo>
                  <a:lnTo>
                    <a:pt x="118169" y="393137"/>
                  </a:lnTo>
                  <a:lnTo>
                    <a:pt x="138621" y="349960"/>
                  </a:lnTo>
                  <a:lnTo>
                    <a:pt x="161345" y="334053"/>
                  </a:lnTo>
                  <a:lnTo>
                    <a:pt x="193160" y="327235"/>
                  </a:lnTo>
                  <a:lnTo>
                    <a:pt x="224974" y="299966"/>
                  </a:lnTo>
                  <a:lnTo>
                    <a:pt x="240882" y="290876"/>
                  </a:lnTo>
                  <a:lnTo>
                    <a:pt x="272696" y="252244"/>
                  </a:lnTo>
                  <a:lnTo>
                    <a:pt x="263606" y="199977"/>
                  </a:lnTo>
                  <a:lnTo>
                    <a:pt x="279514" y="161345"/>
                  </a:lnTo>
                  <a:lnTo>
                    <a:pt x="284059" y="138621"/>
                  </a:lnTo>
                  <a:lnTo>
                    <a:pt x="306783" y="113624"/>
                  </a:lnTo>
                  <a:lnTo>
                    <a:pt x="343143" y="90899"/>
                  </a:lnTo>
                  <a:lnTo>
                    <a:pt x="370412" y="70447"/>
                  </a:lnTo>
                  <a:lnTo>
                    <a:pt x="397682" y="2727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88" name="Freeform 75">
              <a:extLst>
                <a:ext uri="{FF2B5EF4-FFF2-40B4-BE49-F238E27FC236}">
                  <a16:creationId xmlns:a16="http://schemas.microsoft.com/office/drawing/2014/main" id="{4D17E613-FA18-3EA3-9B01-D63634042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6561" y="2722827"/>
              <a:ext cx="292034" cy="276590"/>
            </a:xfrm>
            <a:custGeom>
              <a:avLst/>
              <a:gdLst>
                <a:gd name="connsiteX0" fmla="*/ 218592 w 616273"/>
                <a:gd name="connsiteY0" fmla="*/ 0 h 575152"/>
                <a:gd name="connsiteX1" fmla="*/ 277676 w 616273"/>
                <a:gd name="connsiteY1" fmla="*/ 0 h 575152"/>
                <a:gd name="connsiteX2" fmla="*/ 400389 w 616273"/>
                <a:gd name="connsiteY2" fmla="*/ 86354 h 575152"/>
                <a:gd name="connsiteX3" fmla="*/ 525375 w 616273"/>
                <a:gd name="connsiteY3" fmla="*/ 172708 h 575152"/>
                <a:gd name="connsiteX4" fmla="*/ 536737 w 616273"/>
                <a:gd name="connsiteY4" fmla="*/ 188615 h 575152"/>
                <a:gd name="connsiteX5" fmla="*/ 557189 w 616273"/>
                <a:gd name="connsiteY5" fmla="*/ 204522 h 575152"/>
                <a:gd name="connsiteX6" fmla="*/ 573096 w 616273"/>
                <a:gd name="connsiteY6" fmla="*/ 209067 h 575152"/>
                <a:gd name="connsiteX7" fmla="*/ 573096 w 616273"/>
                <a:gd name="connsiteY7" fmla="*/ 213830 h 575152"/>
                <a:gd name="connsiteX8" fmla="*/ 573096 w 616273"/>
                <a:gd name="connsiteY8" fmla="*/ 231792 h 575152"/>
                <a:gd name="connsiteX9" fmla="*/ 616273 w 616273"/>
                <a:gd name="connsiteY9" fmla="*/ 231792 h 575152"/>
                <a:gd name="connsiteX10" fmla="*/ 616273 w 616273"/>
                <a:gd name="connsiteY10" fmla="*/ 236555 h 575152"/>
                <a:gd name="connsiteX11" fmla="*/ 616273 w 616273"/>
                <a:gd name="connsiteY11" fmla="*/ 318145 h 575152"/>
                <a:gd name="connsiteX12" fmla="*/ 616273 w 616273"/>
                <a:gd name="connsiteY12" fmla="*/ 322908 h 575152"/>
                <a:gd name="connsiteX13" fmla="*/ 595821 w 616273"/>
                <a:gd name="connsiteY13" fmla="*/ 350178 h 575152"/>
                <a:gd name="connsiteX14" fmla="*/ 589004 w 616273"/>
                <a:gd name="connsiteY14" fmla="*/ 370630 h 575152"/>
                <a:gd name="connsiteX15" fmla="*/ 557189 w 616273"/>
                <a:gd name="connsiteY15" fmla="*/ 375175 h 575152"/>
                <a:gd name="connsiteX16" fmla="*/ 509467 w 616273"/>
                <a:gd name="connsiteY16" fmla="*/ 381993 h 575152"/>
                <a:gd name="connsiteX17" fmla="*/ 493560 w 616273"/>
                <a:gd name="connsiteY17" fmla="*/ 393355 h 575152"/>
                <a:gd name="connsiteX18" fmla="*/ 484035 w 616273"/>
                <a:gd name="connsiteY18" fmla="*/ 393355 h 575152"/>
                <a:gd name="connsiteX19" fmla="*/ 470836 w 616273"/>
                <a:gd name="connsiteY19" fmla="*/ 393355 h 575152"/>
                <a:gd name="connsiteX20" fmla="*/ 450383 w 616273"/>
                <a:gd name="connsiteY20" fmla="*/ 397900 h 575152"/>
                <a:gd name="connsiteX21" fmla="*/ 448651 w 616273"/>
                <a:gd name="connsiteY21" fmla="*/ 396168 h 575152"/>
                <a:gd name="connsiteX22" fmla="*/ 440858 w 616273"/>
                <a:gd name="connsiteY22" fmla="*/ 397900 h 575152"/>
                <a:gd name="connsiteX23" fmla="*/ 431877 w 616273"/>
                <a:gd name="connsiteY23" fmla="*/ 388919 h 575152"/>
                <a:gd name="connsiteX24" fmla="*/ 418569 w 616273"/>
                <a:gd name="connsiteY24" fmla="*/ 393355 h 575152"/>
                <a:gd name="connsiteX25" fmla="*/ 384482 w 616273"/>
                <a:gd name="connsiteY25" fmla="*/ 409262 h 575152"/>
                <a:gd name="connsiteX26" fmla="*/ 375392 w 616273"/>
                <a:gd name="connsiteY26" fmla="*/ 425169 h 575152"/>
                <a:gd name="connsiteX27" fmla="*/ 348122 w 616273"/>
                <a:gd name="connsiteY27" fmla="*/ 434259 h 575152"/>
                <a:gd name="connsiteX28" fmla="*/ 341305 w 616273"/>
                <a:gd name="connsiteY28" fmla="*/ 445622 h 575152"/>
                <a:gd name="connsiteX29" fmla="*/ 325398 w 616273"/>
                <a:gd name="connsiteY29" fmla="*/ 456984 h 575152"/>
                <a:gd name="connsiteX30" fmla="*/ 318594 w 616273"/>
                <a:gd name="connsiteY30" fmla="*/ 455040 h 575152"/>
                <a:gd name="connsiteX31" fmla="*/ 315873 w 616273"/>
                <a:gd name="connsiteY31" fmla="*/ 456984 h 575152"/>
                <a:gd name="connsiteX32" fmla="*/ 306984 w 616273"/>
                <a:gd name="connsiteY32" fmla="*/ 454445 h 575152"/>
                <a:gd name="connsiteX33" fmla="*/ 298128 w 616273"/>
                <a:gd name="connsiteY33" fmla="*/ 461529 h 575152"/>
                <a:gd name="connsiteX34" fmla="*/ 293583 w 616273"/>
                <a:gd name="connsiteY34" fmla="*/ 484254 h 575152"/>
                <a:gd name="connsiteX35" fmla="*/ 266314 w 616273"/>
                <a:gd name="connsiteY35" fmla="*/ 516068 h 575152"/>
                <a:gd name="connsiteX36" fmla="*/ 266314 w 616273"/>
                <a:gd name="connsiteY36" fmla="*/ 522667 h 575152"/>
                <a:gd name="connsiteX37" fmla="*/ 266314 w 616273"/>
                <a:gd name="connsiteY37" fmla="*/ 527430 h 575152"/>
                <a:gd name="connsiteX38" fmla="*/ 257224 w 616273"/>
                <a:gd name="connsiteY38" fmla="*/ 543338 h 575152"/>
                <a:gd name="connsiteX39" fmla="*/ 257224 w 616273"/>
                <a:gd name="connsiteY39" fmla="*/ 559027 h 575152"/>
                <a:gd name="connsiteX40" fmla="*/ 257224 w 616273"/>
                <a:gd name="connsiteY40" fmla="*/ 563790 h 575152"/>
                <a:gd name="connsiteX41" fmla="*/ 239044 w 616273"/>
                <a:gd name="connsiteY41" fmla="*/ 570607 h 575152"/>
                <a:gd name="connsiteX42" fmla="*/ 234499 w 616273"/>
                <a:gd name="connsiteY42" fmla="*/ 575152 h 575152"/>
                <a:gd name="connsiteX43" fmla="*/ 232844 w 616273"/>
                <a:gd name="connsiteY43" fmla="*/ 569360 h 575152"/>
                <a:gd name="connsiteX44" fmla="*/ 229519 w 616273"/>
                <a:gd name="connsiteY44" fmla="*/ 570607 h 575152"/>
                <a:gd name="connsiteX45" fmla="*/ 224974 w 616273"/>
                <a:gd name="connsiteY45" fmla="*/ 575152 h 575152"/>
                <a:gd name="connsiteX46" fmla="*/ 221406 w 616273"/>
                <a:gd name="connsiteY46" fmla="*/ 562664 h 575152"/>
                <a:gd name="connsiteX47" fmla="*/ 218592 w 616273"/>
                <a:gd name="connsiteY47" fmla="*/ 563790 h 575152"/>
                <a:gd name="connsiteX48" fmla="*/ 214047 w 616273"/>
                <a:gd name="connsiteY48" fmla="*/ 563790 h 575152"/>
                <a:gd name="connsiteX49" fmla="*/ 202685 w 616273"/>
                <a:gd name="connsiteY49" fmla="*/ 575152 h 575152"/>
                <a:gd name="connsiteX50" fmla="*/ 193160 w 616273"/>
                <a:gd name="connsiteY50" fmla="*/ 575152 h 575152"/>
                <a:gd name="connsiteX51" fmla="*/ 175415 w 616273"/>
                <a:gd name="connsiteY51" fmla="*/ 575152 h 575152"/>
                <a:gd name="connsiteX52" fmla="*/ 165890 w 616273"/>
                <a:gd name="connsiteY52" fmla="*/ 575152 h 575152"/>
                <a:gd name="connsiteX53" fmla="*/ 161345 w 616273"/>
                <a:gd name="connsiteY53" fmla="*/ 570607 h 575152"/>
                <a:gd name="connsiteX54" fmla="*/ 154528 w 616273"/>
                <a:gd name="connsiteY54" fmla="*/ 570607 h 575152"/>
                <a:gd name="connsiteX55" fmla="*/ 138621 w 616273"/>
                <a:gd name="connsiteY55" fmla="*/ 563790 h 575152"/>
                <a:gd name="connsiteX56" fmla="*/ 140345 w 616273"/>
                <a:gd name="connsiteY56" fmla="*/ 559767 h 575152"/>
                <a:gd name="connsiteX57" fmla="*/ 138621 w 616273"/>
                <a:gd name="connsiteY57" fmla="*/ 559028 h 575152"/>
                <a:gd name="connsiteX58" fmla="*/ 143397 w 616273"/>
                <a:gd name="connsiteY58" fmla="*/ 547883 h 575152"/>
                <a:gd name="connsiteX59" fmla="*/ 139056 w 616273"/>
                <a:gd name="connsiteY59" fmla="*/ 547883 h 575152"/>
                <a:gd name="connsiteX60" fmla="*/ 138621 w 616273"/>
                <a:gd name="connsiteY60" fmla="*/ 547883 h 575152"/>
                <a:gd name="connsiteX61" fmla="*/ 129531 w 616273"/>
                <a:gd name="connsiteY61" fmla="*/ 547883 h 575152"/>
                <a:gd name="connsiteX62" fmla="*/ 131436 w 616273"/>
                <a:gd name="connsiteY62" fmla="*/ 543121 h 575152"/>
                <a:gd name="connsiteX63" fmla="*/ 129531 w 616273"/>
                <a:gd name="connsiteY63" fmla="*/ 543121 h 575152"/>
                <a:gd name="connsiteX64" fmla="*/ 134076 w 616273"/>
                <a:gd name="connsiteY64" fmla="*/ 531758 h 575152"/>
                <a:gd name="connsiteX65" fmla="*/ 137034 w 616273"/>
                <a:gd name="connsiteY65" fmla="*/ 525843 h 575152"/>
                <a:gd name="connsiteX66" fmla="*/ 122713 w 616273"/>
                <a:gd name="connsiteY66" fmla="*/ 511523 h 575152"/>
                <a:gd name="connsiteX67" fmla="*/ 118168 w 616273"/>
                <a:gd name="connsiteY67" fmla="*/ 500161 h 575152"/>
                <a:gd name="connsiteX68" fmla="*/ 113219 w 616273"/>
                <a:gd name="connsiteY68" fmla="*/ 496861 h 575152"/>
                <a:gd name="connsiteX69" fmla="*/ 104969 w 616273"/>
                <a:gd name="connsiteY69" fmla="*/ 500161 h 575152"/>
                <a:gd name="connsiteX70" fmla="*/ 95879 w 616273"/>
                <a:gd name="connsiteY70" fmla="*/ 504706 h 575152"/>
                <a:gd name="connsiteX71" fmla="*/ 84517 w 616273"/>
                <a:gd name="connsiteY71" fmla="*/ 511523 h 575152"/>
                <a:gd name="connsiteX72" fmla="*/ 74992 w 616273"/>
                <a:gd name="connsiteY72" fmla="*/ 511523 h 575152"/>
                <a:gd name="connsiteX73" fmla="*/ 68609 w 616273"/>
                <a:gd name="connsiteY73" fmla="*/ 511523 h 575152"/>
                <a:gd name="connsiteX74" fmla="*/ 59084 w 616273"/>
                <a:gd name="connsiteY74" fmla="*/ 511523 h 575152"/>
                <a:gd name="connsiteX75" fmla="*/ 47722 w 616273"/>
                <a:gd name="connsiteY75" fmla="*/ 500161 h 575152"/>
                <a:gd name="connsiteX76" fmla="*/ 43177 w 616273"/>
                <a:gd name="connsiteY76" fmla="*/ 500161 h 575152"/>
                <a:gd name="connsiteX77" fmla="*/ 41340 w 616273"/>
                <a:gd name="connsiteY77" fmla="*/ 500161 h 575152"/>
                <a:gd name="connsiteX78" fmla="*/ 36795 w 616273"/>
                <a:gd name="connsiteY78" fmla="*/ 500161 h 575152"/>
                <a:gd name="connsiteX79" fmla="*/ 31815 w 616273"/>
                <a:gd name="connsiteY79" fmla="*/ 500161 h 575152"/>
                <a:gd name="connsiteX80" fmla="*/ 27270 w 616273"/>
                <a:gd name="connsiteY80" fmla="*/ 500161 h 575152"/>
                <a:gd name="connsiteX81" fmla="*/ 27270 w 616273"/>
                <a:gd name="connsiteY81" fmla="*/ 495399 h 575152"/>
                <a:gd name="connsiteX82" fmla="*/ 27270 w 616273"/>
                <a:gd name="connsiteY82" fmla="*/ 495399 h 575152"/>
                <a:gd name="connsiteX83" fmla="*/ 27270 w 616273"/>
                <a:gd name="connsiteY83" fmla="*/ 484037 h 575152"/>
                <a:gd name="connsiteX84" fmla="*/ 27270 w 616273"/>
                <a:gd name="connsiteY84" fmla="*/ 477435 h 575152"/>
                <a:gd name="connsiteX85" fmla="*/ 20452 w 616273"/>
                <a:gd name="connsiteY85" fmla="*/ 461529 h 575152"/>
                <a:gd name="connsiteX86" fmla="*/ 9090 w 616273"/>
                <a:gd name="connsiteY86" fmla="*/ 452439 h 575152"/>
                <a:gd name="connsiteX87" fmla="*/ 4545 w 616273"/>
                <a:gd name="connsiteY87" fmla="*/ 429714 h 575152"/>
                <a:gd name="connsiteX88" fmla="*/ 0 w 616273"/>
                <a:gd name="connsiteY88" fmla="*/ 409262 h 575152"/>
                <a:gd name="connsiteX89" fmla="*/ 828 w 616273"/>
                <a:gd name="connsiteY89" fmla="*/ 408227 h 575152"/>
                <a:gd name="connsiteX90" fmla="*/ 0 w 616273"/>
                <a:gd name="connsiteY90" fmla="*/ 404500 h 575152"/>
                <a:gd name="connsiteX91" fmla="*/ 9090 w 616273"/>
                <a:gd name="connsiteY91" fmla="*/ 393138 h 575152"/>
                <a:gd name="connsiteX92" fmla="*/ 20452 w 616273"/>
                <a:gd name="connsiteY92" fmla="*/ 377231 h 575152"/>
                <a:gd name="connsiteX93" fmla="*/ 31815 w 616273"/>
                <a:gd name="connsiteY93" fmla="*/ 370413 h 575152"/>
                <a:gd name="connsiteX94" fmla="*/ 36760 w 616273"/>
                <a:gd name="connsiteY94" fmla="*/ 373161 h 575152"/>
                <a:gd name="connsiteX95" fmla="*/ 41340 w 616273"/>
                <a:gd name="connsiteY95" fmla="*/ 370412 h 575152"/>
                <a:gd name="connsiteX96" fmla="*/ 59595 w 616273"/>
                <a:gd name="connsiteY96" fmla="*/ 380554 h 575152"/>
                <a:gd name="connsiteX97" fmla="*/ 79537 w 616273"/>
                <a:gd name="connsiteY97" fmla="*/ 377231 h 575152"/>
                <a:gd name="connsiteX98" fmla="*/ 89059 w 616273"/>
                <a:gd name="connsiteY98" fmla="*/ 377231 h 575152"/>
                <a:gd name="connsiteX99" fmla="*/ 89062 w 616273"/>
                <a:gd name="connsiteY99" fmla="*/ 377230 h 575152"/>
                <a:gd name="connsiteX100" fmla="*/ 90899 w 616273"/>
                <a:gd name="connsiteY100" fmla="*/ 377230 h 575152"/>
                <a:gd name="connsiteX101" fmla="*/ 95444 w 616273"/>
                <a:gd name="connsiteY101" fmla="*/ 370413 h 575152"/>
                <a:gd name="connsiteX102" fmla="*/ 104969 w 616273"/>
                <a:gd name="connsiteY102" fmla="*/ 370413 h 575152"/>
                <a:gd name="connsiteX103" fmla="*/ 104969 w 616273"/>
                <a:gd name="connsiteY103" fmla="*/ 370412 h 575152"/>
                <a:gd name="connsiteX104" fmla="*/ 247699 w 616273"/>
                <a:gd name="connsiteY104" fmla="*/ 370412 h 575152"/>
                <a:gd name="connsiteX105" fmla="*/ 251564 w 616273"/>
                <a:gd name="connsiteY105" fmla="*/ 349157 h 575152"/>
                <a:gd name="connsiteX106" fmla="*/ 247699 w 616273"/>
                <a:gd name="connsiteY106" fmla="*/ 343361 h 575152"/>
                <a:gd name="connsiteX107" fmla="*/ 229519 w 616273"/>
                <a:gd name="connsiteY107" fmla="*/ 177471 h 575152"/>
                <a:gd name="connsiteX108" fmla="*/ 209067 w 616273"/>
                <a:gd name="connsiteY108" fmla="*/ 4763 h 575152"/>
                <a:gd name="connsiteX109" fmla="*/ 209631 w 616273"/>
                <a:gd name="connsiteY109" fmla="*/ 4763 h 575152"/>
                <a:gd name="connsiteX110" fmla="*/ 209067 w 616273"/>
                <a:gd name="connsiteY110" fmla="*/ 1 h 575152"/>
                <a:gd name="connsiteX111" fmla="*/ 218592 w 616273"/>
                <a:gd name="connsiteY111" fmla="*/ 1 h 575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</a:cxnLst>
              <a:rect l="l" t="t" r="r" b="b"/>
              <a:pathLst>
                <a:path w="616273" h="575152">
                  <a:moveTo>
                    <a:pt x="218592" y="0"/>
                  </a:moveTo>
                  <a:lnTo>
                    <a:pt x="277676" y="0"/>
                  </a:lnTo>
                  <a:lnTo>
                    <a:pt x="400389" y="86354"/>
                  </a:lnTo>
                  <a:lnTo>
                    <a:pt x="525375" y="172708"/>
                  </a:lnTo>
                  <a:lnTo>
                    <a:pt x="536737" y="188615"/>
                  </a:lnTo>
                  <a:lnTo>
                    <a:pt x="557189" y="204522"/>
                  </a:lnTo>
                  <a:lnTo>
                    <a:pt x="573096" y="209067"/>
                  </a:lnTo>
                  <a:lnTo>
                    <a:pt x="573096" y="213830"/>
                  </a:lnTo>
                  <a:lnTo>
                    <a:pt x="573096" y="231792"/>
                  </a:lnTo>
                  <a:lnTo>
                    <a:pt x="616273" y="231792"/>
                  </a:lnTo>
                  <a:lnTo>
                    <a:pt x="616273" y="236555"/>
                  </a:lnTo>
                  <a:lnTo>
                    <a:pt x="616273" y="318145"/>
                  </a:lnTo>
                  <a:lnTo>
                    <a:pt x="616273" y="322908"/>
                  </a:lnTo>
                  <a:lnTo>
                    <a:pt x="595821" y="350178"/>
                  </a:lnTo>
                  <a:lnTo>
                    <a:pt x="589004" y="370630"/>
                  </a:lnTo>
                  <a:lnTo>
                    <a:pt x="557189" y="375175"/>
                  </a:lnTo>
                  <a:lnTo>
                    <a:pt x="509467" y="381993"/>
                  </a:lnTo>
                  <a:lnTo>
                    <a:pt x="493560" y="393355"/>
                  </a:lnTo>
                  <a:lnTo>
                    <a:pt x="484035" y="393355"/>
                  </a:lnTo>
                  <a:lnTo>
                    <a:pt x="470836" y="393355"/>
                  </a:lnTo>
                  <a:lnTo>
                    <a:pt x="450383" y="397900"/>
                  </a:lnTo>
                  <a:lnTo>
                    <a:pt x="448651" y="396168"/>
                  </a:lnTo>
                  <a:lnTo>
                    <a:pt x="440858" y="397900"/>
                  </a:lnTo>
                  <a:lnTo>
                    <a:pt x="431877" y="388919"/>
                  </a:lnTo>
                  <a:lnTo>
                    <a:pt x="418569" y="393355"/>
                  </a:lnTo>
                  <a:lnTo>
                    <a:pt x="384482" y="409262"/>
                  </a:lnTo>
                  <a:lnTo>
                    <a:pt x="375392" y="425169"/>
                  </a:lnTo>
                  <a:lnTo>
                    <a:pt x="348122" y="434259"/>
                  </a:lnTo>
                  <a:lnTo>
                    <a:pt x="341305" y="445622"/>
                  </a:lnTo>
                  <a:lnTo>
                    <a:pt x="325398" y="456984"/>
                  </a:lnTo>
                  <a:lnTo>
                    <a:pt x="318594" y="455040"/>
                  </a:lnTo>
                  <a:lnTo>
                    <a:pt x="315873" y="456984"/>
                  </a:lnTo>
                  <a:lnTo>
                    <a:pt x="306984" y="454445"/>
                  </a:lnTo>
                  <a:lnTo>
                    <a:pt x="298128" y="461529"/>
                  </a:lnTo>
                  <a:lnTo>
                    <a:pt x="293583" y="484254"/>
                  </a:lnTo>
                  <a:lnTo>
                    <a:pt x="266314" y="516068"/>
                  </a:lnTo>
                  <a:lnTo>
                    <a:pt x="266314" y="522667"/>
                  </a:lnTo>
                  <a:lnTo>
                    <a:pt x="266314" y="527430"/>
                  </a:lnTo>
                  <a:lnTo>
                    <a:pt x="257224" y="543338"/>
                  </a:lnTo>
                  <a:lnTo>
                    <a:pt x="257224" y="559027"/>
                  </a:lnTo>
                  <a:lnTo>
                    <a:pt x="257224" y="563790"/>
                  </a:lnTo>
                  <a:lnTo>
                    <a:pt x="239044" y="570607"/>
                  </a:lnTo>
                  <a:lnTo>
                    <a:pt x="234499" y="575152"/>
                  </a:lnTo>
                  <a:lnTo>
                    <a:pt x="232844" y="569360"/>
                  </a:lnTo>
                  <a:lnTo>
                    <a:pt x="229519" y="570607"/>
                  </a:lnTo>
                  <a:lnTo>
                    <a:pt x="224974" y="575152"/>
                  </a:lnTo>
                  <a:lnTo>
                    <a:pt x="221406" y="562664"/>
                  </a:lnTo>
                  <a:lnTo>
                    <a:pt x="218592" y="563790"/>
                  </a:lnTo>
                  <a:lnTo>
                    <a:pt x="214047" y="563790"/>
                  </a:lnTo>
                  <a:lnTo>
                    <a:pt x="202685" y="575152"/>
                  </a:lnTo>
                  <a:lnTo>
                    <a:pt x="193160" y="575152"/>
                  </a:lnTo>
                  <a:lnTo>
                    <a:pt x="175415" y="575152"/>
                  </a:lnTo>
                  <a:lnTo>
                    <a:pt x="165890" y="575152"/>
                  </a:lnTo>
                  <a:lnTo>
                    <a:pt x="161345" y="570607"/>
                  </a:lnTo>
                  <a:lnTo>
                    <a:pt x="154528" y="570607"/>
                  </a:lnTo>
                  <a:lnTo>
                    <a:pt x="138621" y="563790"/>
                  </a:lnTo>
                  <a:lnTo>
                    <a:pt x="140345" y="559767"/>
                  </a:lnTo>
                  <a:lnTo>
                    <a:pt x="138621" y="559028"/>
                  </a:lnTo>
                  <a:lnTo>
                    <a:pt x="143397" y="547883"/>
                  </a:lnTo>
                  <a:lnTo>
                    <a:pt x="139056" y="547883"/>
                  </a:lnTo>
                  <a:lnTo>
                    <a:pt x="138621" y="547883"/>
                  </a:lnTo>
                  <a:lnTo>
                    <a:pt x="129531" y="547883"/>
                  </a:lnTo>
                  <a:lnTo>
                    <a:pt x="131436" y="543121"/>
                  </a:lnTo>
                  <a:lnTo>
                    <a:pt x="129531" y="543121"/>
                  </a:lnTo>
                  <a:lnTo>
                    <a:pt x="134076" y="531758"/>
                  </a:lnTo>
                  <a:lnTo>
                    <a:pt x="137034" y="525843"/>
                  </a:lnTo>
                  <a:lnTo>
                    <a:pt x="122713" y="511523"/>
                  </a:lnTo>
                  <a:lnTo>
                    <a:pt x="118168" y="500161"/>
                  </a:lnTo>
                  <a:lnTo>
                    <a:pt x="113219" y="496861"/>
                  </a:lnTo>
                  <a:lnTo>
                    <a:pt x="104969" y="500161"/>
                  </a:lnTo>
                  <a:lnTo>
                    <a:pt x="95879" y="504706"/>
                  </a:lnTo>
                  <a:lnTo>
                    <a:pt x="84517" y="511523"/>
                  </a:lnTo>
                  <a:lnTo>
                    <a:pt x="74992" y="511523"/>
                  </a:lnTo>
                  <a:lnTo>
                    <a:pt x="68609" y="511523"/>
                  </a:lnTo>
                  <a:lnTo>
                    <a:pt x="59084" y="511523"/>
                  </a:lnTo>
                  <a:lnTo>
                    <a:pt x="47722" y="500161"/>
                  </a:lnTo>
                  <a:lnTo>
                    <a:pt x="43177" y="500161"/>
                  </a:lnTo>
                  <a:lnTo>
                    <a:pt x="41340" y="500161"/>
                  </a:lnTo>
                  <a:lnTo>
                    <a:pt x="36795" y="500161"/>
                  </a:lnTo>
                  <a:lnTo>
                    <a:pt x="31815" y="500161"/>
                  </a:lnTo>
                  <a:lnTo>
                    <a:pt x="27270" y="500161"/>
                  </a:lnTo>
                  <a:lnTo>
                    <a:pt x="27270" y="495399"/>
                  </a:lnTo>
                  <a:lnTo>
                    <a:pt x="27270" y="495399"/>
                  </a:lnTo>
                  <a:lnTo>
                    <a:pt x="27270" y="484037"/>
                  </a:lnTo>
                  <a:lnTo>
                    <a:pt x="27270" y="477435"/>
                  </a:lnTo>
                  <a:lnTo>
                    <a:pt x="20452" y="461529"/>
                  </a:lnTo>
                  <a:lnTo>
                    <a:pt x="9090" y="452439"/>
                  </a:lnTo>
                  <a:lnTo>
                    <a:pt x="4545" y="429714"/>
                  </a:lnTo>
                  <a:lnTo>
                    <a:pt x="0" y="409262"/>
                  </a:lnTo>
                  <a:lnTo>
                    <a:pt x="828" y="408227"/>
                  </a:lnTo>
                  <a:lnTo>
                    <a:pt x="0" y="404500"/>
                  </a:lnTo>
                  <a:lnTo>
                    <a:pt x="9090" y="393138"/>
                  </a:lnTo>
                  <a:lnTo>
                    <a:pt x="20452" y="377231"/>
                  </a:lnTo>
                  <a:lnTo>
                    <a:pt x="31815" y="370413"/>
                  </a:lnTo>
                  <a:lnTo>
                    <a:pt x="36760" y="373161"/>
                  </a:lnTo>
                  <a:lnTo>
                    <a:pt x="41340" y="370412"/>
                  </a:lnTo>
                  <a:lnTo>
                    <a:pt x="59595" y="380554"/>
                  </a:lnTo>
                  <a:lnTo>
                    <a:pt x="79537" y="377231"/>
                  </a:lnTo>
                  <a:lnTo>
                    <a:pt x="89059" y="377231"/>
                  </a:lnTo>
                  <a:lnTo>
                    <a:pt x="89062" y="377230"/>
                  </a:lnTo>
                  <a:lnTo>
                    <a:pt x="90899" y="377230"/>
                  </a:lnTo>
                  <a:lnTo>
                    <a:pt x="95444" y="370413"/>
                  </a:lnTo>
                  <a:lnTo>
                    <a:pt x="104969" y="370413"/>
                  </a:lnTo>
                  <a:lnTo>
                    <a:pt x="104969" y="370412"/>
                  </a:lnTo>
                  <a:lnTo>
                    <a:pt x="247699" y="370412"/>
                  </a:lnTo>
                  <a:lnTo>
                    <a:pt x="251564" y="349157"/>
                  </a:lnTo>
                  <a:lnTo>
                    <a:pt x="247699" y="343361"/>
                  </a:lnTo>
                  <a:lnTo>
                    <a:pt x="229519" y="177471"/>
                  </a:lnTo>
                  <a:lnTo>
                    <a:pt x="209067" y="4763"/>
                  </a:lnTo>
                  <a:lnTo>
                    <a:pt x="209631" y="4763"/>
                  </a:lnTo>
                  <a:lnTo>
                    <a:pt x="209067" y="1"/>
                  </a:lnTo>
                  <a:lnTo>
                    <a:pt x="218592" y="1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89" name="Freeform 76">
              <a:extLst>
                <a:ext uri="{FF2B5EF4-FFF2-40B4-BE49-F238E27FC236}">
                  <a16:creationId xmlns:a16="http://schemas.microsoft.com/office/drawing/2014/main" id="{DBF945C7-4F96-E39D-C325-D98FDF777C2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9676" y="2748952"/>
              <a:ext cx="276958" cy="226528"/>
            </a:xfrm>
            <a:custGeom>
              <a:avLst/>
              <a:gdLst>
                <a:gd name="connsiteX0" fmla="*/ 429496 w 584459"/>
                <a:gd name="connsiteY0" fmla="*/ 0 h 471052"/>
                <a:gd name="connsiteX1" fmla="*/ 488581 w 584459"/>
                <a:gd name="connsiteY1" fmla="*/ 22725 h 471052"/>
                <a:gd name="connsiteX2" fmla="*/ 495332 w 584459"/>
                <a:gd name="connsiteY2" fmla="*/ 28801 h 471052"/>
                <a:gd name="connsiteX3" fmla="*/ 498106 w 584459"/>
                <a:gd name="connsiteY3" fmla="*/ 29868 h 471052"/>
                <a:gd name="connsiteX4" fmla="*/ 512157 w 584459"/>
                <a:gd name="connsiteY4" fmla="*/ 42514 h 471052"/>
                <a:gd name="connsiteX5" fmla="*/ 531757 w 584459"/>
                <a:gd name="connsiteY5" fmla="*/ 27270 h 471052"/>
                <a:gd name="connsiteX6" fmla="*/ 534192 w 584459"/>
                <a:gd name="connsiteY6" fmla="*/ 39928 h 471052"/>
                <a:gd name="connsiteX7" fmla="*/ 541282 w 584459"/>
                <a:gd name="connsiteY7" fmla="*/ 34413 h 471052"/>
                <a:gd name="connsiteX8" fmla="*/ 552645 w 584459"/>
                <a:gd name="connsiteY8" fmla="*/ 93497 h 471052"/>
                <a:gd name="connsiteX9" fmla="*/ 564007 w 584459"/>
                <a:gd name="connsiteY9" fmla="*/ 104859 h 471052"/>
                <a:gd name="connsiteX10" fmla="*/ 568430 w 584459"/>
                <a:gd name="connsiteY10" fmla="*/ 120340 h 471052"/>
                <a:gd name="connsiteX11" fmla="*/ 574934 w 584459"/>
                <a:gd name="connsiteY11" fmla="*/ 124986 h 471052"/>
                <a:gd name="connsiteX12" fmla="*/ 574796 w 584459"/>
                <a:gd name="connsiteY12" fmla="*/ 125227 h 471052"/>
                <a:gd name="connsiteX13" fmla="*/ 584459 w 584459"/>
                <a:gd name="connsiteY13" fmla="*/ 132129 h 471052"/>
                <a:gd name="connsiteX14" fmla="*/ 581561 w 584459"/>
                <a:gd name="connsiteY14" fmla="*/ 137201 h 471052"/>
                <a:gd name="connsiteX15" fmla="*/ 584459 w 584459"/>
                <a:gd name="connsiteY15" fmla="*/ 139272 h 471052"/>
                <a:gd name="connsiteX16" fmla="*/ 575369 w 584459"/>
                <a:gd name="connsiteY16" fmla="*/ 155179 h 471052"/>
                <a:gd name="connsiteX17" fmla="*/ 557190 w 584459"/>
                <a:gd name="connsiteY17" fmla="*/ 234716 h 471052"/>
                <a:gd name="connsiteX18" fmla="*/ 557190 w 584459"/>
                <a:gd name="connsiteY18" fmla="*/ 277567 h 471052"/>
                <a:gd name="connsiteX19" fmla="*/ 557190 w 584459"/>
                <a:gd name="connsiteY19" fmla="*/ 284710 h 471052"/>
                <a:gd name="connsiteX20" fmla="*/ 509468 w 584459"/>
                <a:gd name="connsiteY20" fmla="*/ 321069 h 471052"/>
                <a:gd name="connsiteX21" fmla="*/ 495575 w 584459"/>
                <a:gd name="connsiteY21" fmla="*/ 362748 h 471052"/>
                <a:gd name="connsiteX22" fmla="*/ 499943 w 584459"/>
                <a:gd name="connsiteY22" fmla="*/ 365868 h 471052"/>
                <a:gd name="connsiteX23" fmla="*/ 499943 w 584459"/>
                <a:gd name="connsiteY23" fmla="*/ 366207 h 471052"/>
                <a:gd name="connsiteX24" fmla="*/ 509468 w 584459"/>
                <a:gd name="connsiteY24" fmla="*/ 373011 h 471052"/>
                <a:gd name="connsiteX25" fmla="*/ 509468 w 584459"/>
                <a:gd name="connsiteY25" fmla="*/ 380154 h 471052"/>
                <a:gd name="connsiteX26" fmla="*/ 509468 w 584459"/>
                <a:gd name="connsiteY26" fmla="*/ 393137 h 471052"/>
                <a:gd name="connsiteX27" fmla="*/ 522668 w 584459"/>
                <a:gd name="connsiteY27" fmla="*/ 393137 h 471052"/>
                <a:gd name="connsiteX28" fmla="*/ 522668 w 584459"/>
                <a:gd name="connsiteY28" fmla="*/ 400280 h 471052"/>
                <a:gd name="connsiteX29" fmla="*/ 532193 w 584459"/>
                <a:gd name="connsiteY29" fmla="*/ 400280 h 471052"/>
                <a:gd name="connsiteX30" fmla="*/ 532193 w 584459"/>
                <a:gd name="connsiteY30" fmla="*/ 407423 h 471052"/>
                <a:gd name="connsiteX31" fmla="*/ 532193 w 584459"/>
                <a:gd name="connsiteY31" fmla="*/ 420732 h 471052"/>
                <a:gd name="connsiteX32" fmla="*/ 532193 w 584459"/>
                <a:gd name="connsiteY32" fmla="*/ 427875 h 471052"/>
                <a:gd name="connsiteX33" fmla="*/ 520830 w 584459"/>
                <a:gd name="connsiteY33" fmla="*/ 427875 h 471052"/>
                <a:gd name="connsiteX34" fmla="*/ 520830 w 584459"/>
                <a:gd name="connsiteY34" fmla="*/ 432095 h 471052"/>
                <a:gd name="connsiteX35" fmla="*/ 520830 w 584459"/>
                <a:gd name="connsiteY35" fmla="*/ 439238 h 471052"/>
                <a:gd name="connsiteX36" fmla="*/ 514013 w 584459"/>
                <a:gd name="connsiteY36" fmla="*/ 439238 h 471052"/>
                <a:gd name="connsiteX37" fmla="*/ 509877 w 584459"/>
                <a:gd name="connsiteY37" fmla="*/ 432095 h 471052"/>
                <a:gd name="connsiteX38" fmla="*/ 504488 w 584459"/>
                <a:gd name="connsiteY38" fmla="*/ 432095 h 471052"/>
                <a:gd name="connsiteX39" fmla="*/ 483626 w 584459"/>
                <a:gd name="connsiteY39" fmla="*/ 396061 h 471052"/>
                <a:gd name="connsiteX40" fmla="*/ 477653 w 584459"/>
                <a:gd name="connsiteY40" fmla="*/ 396061 h 471052"/>
                <a:gd name="connsiteX41" fmla="*/ 450384 w 584459"/>
                <a:gd name="connsiteY41" fmla="*/ 418785 h 471052"/>
                <a:gd name="connsiteX42" fmla="*/ 418569 w 584459"/>
                <a:gd name="connsiteY42" fmla="*/ 407423 h 471052"/>
                <a:gd name="connsiteX43" fmla="*/ 395845 w 584459"/>
                <a:gd name="connsiteY43" fmla="*/ 407423 h 471052"/>
                <a:gd name="connsiteX44" fmla="*/ 391300 w 584459"/>
                <a:gd name="connsiteY44" fmla="*/ 411968 h 471052"/>
                <a:gd name="connsiteX45" fmla="*/ 370847 w 584459"/>
                <a:gd name="connsiteY45" fmla="*/ 411968 h 471052"/>
                <a:gd name="connsiteX46" fmla="*/ 348123 w 584459"/>
                <a:gd name="connsiteY46" fmla="*/ 427875 h 471052"/>
                <a:gd name="connsiteX47" fmla="*/ 327671 w 584459"/>
                <a:gd name="connsiteY47" fmla="*/ 427875 h 471052"/>
                <a:gd name="connsiteX48" fmla="*/ 284494 w 584459"/>
                <a:gd name="connsiteY48" fmla="*/ 407423 h 471052"/>
                <a:gd name="connsiteX49" fmla="*/ 268586 w 584459"/>
                <a:gd name="connsiteY49" fmla="*/ 418785 h 471052"/>
                <a:gd name="connsiteX50" fmla="*/ 245862 w 584459"/>
                <a:gd name="connsiteY50" fmla="*/ 418785 h 471052"/>
                <a:gd name="connsiteX51" fmla="*/ 240760 w 584459"/>
                <a:gd name="connsiteY51" fmla="*/ 411642 h 471052"/>
                <a:gd name="connsiteX52" fmla="*/ 236337 w 584459"/>
                <a:gd name="connsiteY52" fmla="*/ 411642 h 471052"/>
                <a:gd name="connsiteX53" fmla="*/ 227619 w 584459"/>
                <a:gd name="connsiteY53" fmla="*/ 399438 h 471052"/>
                <a:gd name="connsiteX54" fmla="*/ 198140 w 584459"/>
                <a:gd name="connsiteY54" fmla="*/ 384698 h 471052"/>
                <a:gd name="connsiteX55" fmla="*/ 154963 w 584459"/>
                <a:gd name="connsiteY55" fmla="*/ 391516 h 471052"/>
                <a:gd name="connsiteX56" fmla="*/ 143601 w 584459"/>
                <a:gd name="connsiteY56" fmla="*/ 402878 h 471052"/>
                <a:gd name="connsiteX57" fmla="*/ 139056 w 584459"/>
                <a:gd name="connsiteY57" fmla="*/ 423330 h 471052"/>
                <a:gd name="connsiteX58" fmla="*/ 134511 w 584459"/>
                <a:gd name="connsiteY58" fmla="*/ 434693 h 471052"/>
                <a:gd name="connsiteX59" fmla="*/ 127693 w 584459"/>
                <a:gd name="connsiteY59" fmla="*/ 471052 h 471052"/>
                <a:gd name="connsiteX60" fmla="*/ 118168 w 584459"/>
                <a:gd name="connsiteY60" fmla="*/ 463909 h 471052"/>
                <a:gd name="connsiteX61" fmla="*/ 118168 w 584459"/>
                <a:gd name="connsiteY61" fmla="*/ 463909 h 471052"/>
                <a:gd name="connsiteX62" fmla="*/ 100423 w 584459"/>
                <a:gd name="connsiteY62" fmla="*/ 450600 h 471052"/>
                <a:gd name="connsiteX63" fmla="*/ 84517 w 584459"/>
                <a:gd name="connsiteY63" fmla="*/ 450600 h 471052"/>
                <a:gd name="connsiteX64" fmla="*/ 75427 w 584459"/>
                <a:gd name="connsiteY64" fmla="*/ 461962 h 471052"/>
                <a:gd name="connsiteX65" fmla="*/ 75427 w 584459"/>
                <a:gd name="connsiteY65" fmla="*/ 454819 h 471052"/>
                <a:gd name="connsiteX66" fmla="*/ 75427 w 584459"/>
                <a:gd name="connsiteY66" fmla="*/ 443457 h 471052"/>
                <a:gd name="connsiteX67" fmla="*/ 74992 w 584459"/>
                <a:gd name="connsiteY67" fmla="*/ 443457 h 471052"/>
                <a:gd name="connsiteX68" fmla="*/ 65902 w 584459"/>
                <a:gd name="connsiteY68" fmla="*/ 454819 h 471052"/>
                <a:gd name="connsiteX69" fmla="*/ 65902 w 584459"/>
                <a:gd name="connsiteY69" fmla="*/ 433189 h 471052"/>
                <a:gd name="connsiteX70" fmla="*/ 32250 w 584459"/>
                <a:gd name="connsiteY70" fmla="*/ 427875 h 471052"/>
                <a:gd name="connsiteX71" fmla="*/ 32250 w 584459"/>
                <a:gd name="connsiteY71" fmla="*/ 422236 h 471052"/>
                <a:gd name="connsiteX72" fmla="*/ 22725 w 584459"/>
                <a:gd name="connsiteY72" fmla="*/ 420732 h 471052"/>
                <a:gd name="connsiteX73" fmla="*/ 22725 w 584459"/>
                <a:gd name="connsiteY73" fmla="*/ 400280 h 471052"/>
                <a:gd name="connsiteX74" fmla="*/ 0 w 584459"/>
                <a:gd name="connsiteY74" fmla="*/ 377555 h 471052"/>
                <a:gd name="connsiteX75" fmla="*/ 0 w 584459"/>
                <a:gd name="connsiteY75" fmla="*/ 370412 h 471052"/>
                <a:gd name="connsiteX76" fmla="*/ 0 w 584459"/>
                <a:gd name="connsiteY76" fmla="*/ 357103 h 471052"/>
                <a:gd name="connsiteX77" fmla="*/ 0 w 584459"/>
                <a:gd name="connsiteY77" fmla="*/ 349960 h 471052"/>
                <a:gd name="connsiteX78" fmla="*/ 0 w 584459"/>
                <a:gd name="connsiteY78" fmla="*/ 341196 h 471052"/>
                <a:gd name="connsiteX79" fmla="*/ 0 w 584459"/>
                <a:gd name="connsiteY79" fmla="*/ 334053 h 471052"/>
                <a:gd name="connsiteX80" fmla="*/ 22725 w 584459"/>
                <a:gd name="connsiteY80" fmla="*/ 334053 h 471052"/>
                <a:gd name="connsiteX81" fmla="*/ 38632 w 584459"/>
                <a:gd name="connsiteY81" fmla="*/ 318146 h 471052"/>
                <a:gd name="connsiteX82" fmla="*/ 86354 w 584459"/>
                <a:gd name="connsiteY82" fmla="*/ 318146 h 471052"/>
                <a:gd name="connsiteX83" fmla="*/ 118168 w 584459"/>
                <a:gd name="connsiteY83" fmla="*/ 311328 h 471052"/>
                <a:gd name="connsiteX84" fmla="*/ 124986 w 584459"/>
                <a:gd name="connsiteY84" fmla="*/ 286331 h 471052"/>
                <a:gd name="connsiteX85" fmla="*/ 145438 w 584459"/>
                <a:gd name="connsiteY85" fmla="*/ 259062 h 471052"/>
                <a:gd name="connsiteX86" fmla="*/ 145438 w 584459"/>
                <a:gd name="connsiteY86" fmla="*/ 179851 h 471052"/>
                <a:gd name="connsiteX87" fmla="*/ 145438 w 584459"/>
                <a:gd name="connsiteY87" fmla="*/ 172708 h 471052"/>
                <a:gd name="connsiteX88" fmla="*/ 193160 w 584459"/>
                <a:gd name="connsiteY88" fmla="*/ 156801 h 471052"/>
                <a:gd name="connsiteX89" fmla="*/ 302238 w 584459"/>
                <a:gd name="connsiteY89" fmla="*/ 81809 h 471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584459" h="471052">
                  <a:moveTo>
                    <a:pt x="429496" y="0"/>
                  </a:moveTo>
                  <a:lnTo>
                    <a:pt x="488581" y="22725"/>
                  </a:lnTo>
                  <a:lnTo>
                    <a:pt x="495332" y="28801"/>
                  </a:lnTo>
                  <a:lnTo>
                    <a:pt x="498106" y="29868"/>
                  </a:lnTo>
                  <a:lnTo>
                    <a:pt x="512157" y="42514"/>
                  </a:lnTo>
                  <a:lnTo>
                    <a:pt x="531757" y="27270"/>
                  </a:lnTo>
                  <a:lnTo>
                    <a:pt x="534192" y="39928"/>
                  </a:lnTo>
                  <a:lnTo>
                    <a:pt x="541282" y="34413"/>
                  </a:lnTo>
                  <a:lnTo>
                    <a:pt x="552645" y="93497"/>
                  </a:lnTo>
                  <a:lnTo>
                    <a:pt x="564007" y="104859"/>
                  </a:lnTo>
                  <a:lnTo>
                    <a:pt x="568430" y="120340"/>
                  </a:lnTo>
                  <a:lnTo>
                    <a:pt x="574934" y="124986"/>
                  </a:lnTo>
                  <a:lnTo>
                    <a:pt x="574796" y="125227"/>
                  </a:lnTo>
                  <a:lnTo>
                    <a:pt x="584459" y="132129"/>
                  </a:lnTo>
                  <a:lnTo>
                    <a:pt x="581561" y="137201"/>
                  </a:lnTo>
                  <a:lnTo>
                    <a:pt x="584459" y="139272"/>
                  </a:lnTo>
                  <a:lnTo>
                    <a:pt x="575369" y="155179"/>
                  </a:lnTo>
                  <a:lnTo>
                    <a:pt x="557190" y="234716"/>
                  </a:lnTo>
                  <a:lnTo>
                    <a:pt x="557190" y="277567"/>
                  </a:lnTo>
                  <a:lnTo>
                    <a:pt x="557190" y="284710"/>
                  </a:lnTo>
                  <a:lnTo>
                    <a:pt x="509468" y="321069"/>
                  </a:lnTo>
                  <a:lnTo>
                    <a:pt x="495575" y="362748"/>
                  </a:lnTo>
                  <a:lnTo>
                    <a:pt x="499943" y="365868"/>
                  </a:lnTo>
                  <a:lnTo>
                    <a:pt x="499943" y="366207"/>
                  </a:lnTo>
                  <a:lnTo>
                    <a:pt x="509468" y="373011"/>
                  </a:lnTo>
                  <a:lnTo>
                    <a:pt x="509468" y="380154"/>
                  </a:lnTo>
                  <a:lnTo>
                    <a:pt x="509468" y="393137"/>
                  </a:lnTo>
                  <a:lnTo>
                    <a:pt x="522668" y="393137"/>
                  </a:lnTo>
                  <a:lnTo>
                    <a:pt x="522668" y="400280"/>
                  </a:lnTo>
                  <a:lnTo>
                    <a:pt x="532193" y="400280"/>
                  </a:lnTo>
                  <a:lnTo>
                    <a:pt x="532193" y="407423"/>
                  </a:lnTo>
                  <a:lnTo>
                    <a:pt x="532193" y="420732"/>
                  </a:lnTo>
                  <a:lnTo>
                    <a:pt x="532193" y="427875"/>
                  </a:lnTo>
                  <a:lnTo>
                    <a:pt x="520830" y="427875"/>
                  </a:lnTo>
                  <a:lnTo>
                    <a:pt x="520830" y="432095"/>
                  </a:lnTo>
                  <a:lnTo>
                    <a:pt x="520830" y="439238"/>
                  </a:lnTo>
                  <a:lnTo>
                    <a:pt x="514013" y="439238"/>
                  </a:lnTo>
                  <a:lnTo>
                    <a:pt x="509877" y="432095"/>
                  </a:lnTo>
                  <a:lnTo>
                    <a:pt x="504488" y="432095"/>
                  </a:lnTo>
                  <a:lnTo>
                    <a:pt x="483626" y="396061"/>
                  </a:lnTo>
                  <a:lnTo>
                    <a:pt x="477653" y="396061"/>
                  </a:lnTo>
                  <a:lnTo>
                    <a:pt x="450384" y="418785"/>
                  </a:lnTo>
                  <a:lnTo>
                    <a:pt x="418569" y="407423"/>
                  </a:lnTo>
                  <a:lnTo>
                    <a:pt x="395845" y="407423"/>
                  </a:lnTo>
                  <a:lnTo>
                    <a:pt x="391300" y="411968"/>
                  </a:lnTo>
                  <a:lnTo>
                    <a:pt x="370847" y="411968"/>
                  </a:lnTo>
                  <a:lnTo>
                    <a:pt x="348123" y="427875"/>
                  </a:lnTo>
                  <a:lnTo>
                    <a:pt x="327671" y="427875"/>
                  </a:lnTo>
                  <a:lnTo>
                    <a:pt x="284494" y="407423"/>
                  </a:lnTo>
                  <a:lnTo>
                    <a:pt x="268586" y="418785"/>
                  </a:lnTo>
                  <a:lnTo>
                    <a:pt x="245862" y="418785"/>
                  </a:lnTo>
                  <a:lnTo>
                    <a:pt x="240760" y="411642"/>
                  </a:lnTo>
                  <a:lnTo>
                    <a:pt x="236337" y="411642"/>
                  </a:lnTo>
                  <a:lnTo>
                    <a:pt x="227619" y="399438"/>
                  </a:lnTo>
                  <a:lnTo>
                    <a:pt x="198140" y="384698"/>
                  </a:lnTo>
                  <a:lnTo>
                    <a:pt x="154963" y="391516"/>
                  </a:lnTo>
                  <a:lnTo>
                    <a:pt x="143601" y="402878"/>
                  </a:lnTo>
                  <a:lnTo>
                    <a:pt x="139056" y="423330"/>
                  </a:lnTo>
                  <a:lnTo>
                    <a:pt x="134511" y="434693"/>
                  </a:lnTo>
                  <a:lnTo>
                    <a:pt x="127693" y="471052"/>
                  </a:lnTo>
                  <a:lnTo>
                    <a:pt x="118168" y="463909"/>
                  </a:lnTo>
                  <a:lnTo>
                    <a:pt x="118168" y="463909"/>
                  </a:lnTo>
                  <a:lnTo>
                    <a:pt x="100423" y="450600"/>
                  </a:lnTo>
                  <a:lnTo>
                    <a:pt x="84517" y="450600"/>
                  </a:lnTo>
                  <a:lnTo>
                    <a:pt x="75427" y="461962"/>
                  </a:lnTo>
                  <a:lnTo>
                    <a:pt x="75427" y="454819"/>
                  </a:lnTo>
                  <a:lnTo>
                    <a:pt x="75427" y="443457"/>
                  </a:lnTo>
                  <a:lnTo>
                    <a:pt x="74992" y="443457"/>
                  </a:lnTo>
                  <a:lnTo>
                    <a:pt x="65902" y="454819"/>
                  </a:lnTo>
                  <a:lnTo>
                    <a:pt x="65902" y="433189"/>
                  </a:lnTo>
                  <a:lnTo>
                    <a:pt x="32250" y="427875"/>
                  </a:lnTo>
                  <a:lnTo>
                    <a:pt x="32250" y="422236"/>
                  </a:lnTo>
                  <a:lnTo>
                    <a:pt x="22725" y="420732"/>
                  </a:lnTo>
                  <a:lnTo>
                    <a:pt x="22725" y="400280"/>
                  </a:lnTo>
                  <a:lnTo>
                    <a:pt x="0" y="377555"/>
                  </a:lnTo>
                  <a:lnTo>
                    <a:pt x="0" y="370412"/>
                  </a:lnTo>
                  <a:lnTo>
                    <a:pt x="0" y="357103"/>
                  </a:lnTo>
                  <a:lnTo>
                    <a:pt x="0" y="349960"/>
                  </a:lnTo>
                  <a:lnTo>
                    <a:pt x="0" y="341196"/>
                  </a:lnTo>
                  <a:lnTo>
                    <a:pt x="0" y="334053"/>
                  </a:lnTo>
                  <a:lnTo>
                    <a:pt x="22725" y="334053"/>
                  </a:lnTo>
                  <a:lnTo>
                    <a:pt x="38632" y="318146"/>
                  </a:lnTo>
                  <a:lnTo>
                    <a:pt x="86354" y="318146"/>
                  </a:lnTo>
                  <a:lnTo>
                    <a:pt x="118168" y="311328"/>
                  </a:lnTo>
                  <a:lnTo>
                    <a:pt x="124986" y="286331"/>
                  </a:lnTo>
                  <a:lnTo>
                    <a:pt x="145438" y="259062"/>
                  </a:lnTo>
                  <a:lnTo>
                    <a:pt x="145438" y="179851"/>
                  </a:lnTo>
                  <a:lnTo>
                    <a:pt x="145438" y="172708"/>
                  </a:lnTo>
                  <a:lnTo>
                    <a:pt x="193160" y="156801"/>
                  </a:lnTo>
                  <a:lnTo>
                    <a:pt x="302238" y="81809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90" name="Freeform 77">
              <a:extLst>
                <a:ext uri="{FF2B5EF4-FFF2-40B4-BE49-F238E27FC236}">
                  <a16:creationId xmlns:a16="http://schemas.microsoft.com/office/drawing/2014/main" id="{6470FBB9-454E-2E3C-F2DD-41A99A13DA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9131" y="3522773"/>
              <a:ext cx="153451" cy="157367"/>
            </a:xfrm>
            <a:custGeom>
              <a:avLst/>
              <a:gdLst>
                <a:gd name="connsiteX0" fmla="*/ 68263 w 226218"/>
                <a:gd name="connsiteY0" fmla="*/ 0 h 228600"/>
                <a:gd name="connsiteX1" fmla="*/ 75406 w 226218"/>
                <a:gd name="connsiteY1" fmla="*/ 0 h 228600"/>
                <a:gd name="connsiteX2" fmla="*/ 93663 w 226218"/>
                <a:gd name="connsiteY2" fmla="*/ 0 h 228600"/>
                <a:gd name="connsiteX3" fmla="*/ 100806 w 226218"/>
                <a:gd name="connsiteY3" fmla="*/ 0 h 228600"/>
                <a:gd name="connsiteX4" fmla="*/ 124618 w 226218"/>
                <a:gd name="connsiteY4" fmla="*/ 14288 h 228600"/>
                <a:gd name="connsiteX5" fmla="*/ 124618 w 226218"/>
                <a:gd name="connsiteY5" fmla="*/ 22225 h 228600"/>
                <a:gd name="connsiteX6" fmla="*/ 130968 w 226218"/>
                <a:gd name="connsiteY6" fmla="*/ 36513 h 228600"/>
                <a:gd name="connsiteX7" fmla="*/ 130968 w 226218"/>
                <a:gd name="connsiteY7" fmla="*/ 74613 h 228600"/>
                <a:gd name="connsiteX8" fmla="*/ 152896 w 226218"/>
                <a:gd name="connsiteY8" fmla="*/ 81062 h 228600"/>
                <a:gd name="connsiteX9" fmla="*/ 161925 w 226218"/>
                <a:gd name="connsiteY9" fmla="*/ 74613 h 228600"/>
                <a:gd name="connsiteX10" fmla="*/ 166127 w 226218"/>
                <a:gd name="connsiteY10" fmla="*/ 76714 h 228600"/>
                <a:gd name="connsiteX11" fmla="*/ 169068 w 226218"/>
                <a:gd name="connsiteY11" fmla="*/ 74613 h 228600"/>
                <a:gd name="connsiteX12" fmla="*/ 184943 w 226218"/>
                <a:gd name="connsiteY12" fmla="*/ 82550 h 228600"/>
                <a:gd name="connsiteX13" fmla="*/ 191293 w 226218"/>
                <a:gd name="connsiteY13" fmla="*/ 88900 h 228600"/>
                <a:gd name="connsiteX14" fmla="*/ 191293 w 226218"/>
                <a:gd name="connsiteY14" fmla="*/ 115888 h 228600"/>
                <a:gd name="connsiteX15" fmla="*/ 195969 w 226218"/>
                <a:gd name="connsiteY15" fmla="*/ 126798 h 228600"/>
                <a:gd name="connsiteX16" fmla="*/ 206375 w 226218"/>
                <a:gd name="connsiteY16" fmla="*/ 123825 h 228600"/>
                <a:gd name="connsiteX17" fmla="*/ 210185 w 226218"/>
                <a:gd name="connsiteY17" fmla="*/ 124778 h 228600"/>
                <a:gd name="connsiteX18" fmla="*/ 213518 w 226218"/>
                <a:gd name="connsiteY18" fmla="*/ 123825 h 228600"/>
                <a:gd name="connsiteX19" fmla="*/ 226218 w 226218"/>
                <a:gd name="connsiteY19" fmla="*/ 127000 h 228600"/>
                <a:gd name="connsiteX20" fmla="*/ 226218 w 226218"/>
                <a:gd name="connsiteY20" fmla="*/ 146050 h 228600"/>
                <a:gd name="connsiteX21" fmla="*/ 221456 w 226218"/>
                <a:gd name="connsiteY21" fmla="*/ 160338 h 228600"/>
                <a:gd name="connsiteX22" fmla="*/ 213518 w 226218"/>
                <a:gd name="connsiteY22" fmla="*/ 176213 h 228600"/>
                <a:gd name="connsiteX23" fmla="*/ 210343 w 226218"/>
                <a:gd name="connsiteY23" fmla="*/ 201613 h 228600"/>
                <a:gd name="connsiteX24" fmla="*/ 188118 w 226218"/>
                <a:gd name="connsiteY24" fmla="*/ 225425 h 228600"/>
                <a:gd name="connsiteX25" fmla="*/ 169068 w 226218"/>
                <a:gd name="connsiteY25" fmla="*/ 228600 h 228600"/>
                <a:gd name="connsiteX26" fmla="*/ 164690 w 226218"/>
                <a:gd name="connsiteY26" fmla="*/ 228139 h 228600"/>
                <a:gd name="connsiteX27" fmla="*/ 161925 w 226218"/>
                <a:gd name="connsiteY27" fmla="*/ 228600 h 228600"/>
                <a:gd name="connsiteX28" fmla="*/ 131763 w 226218"/>
                <a:gd name="connsiteY28" fmla="*/ 225425 h 228600"/>
                <a:gd name="connsiteX29" fmla="*/ 106363 w 226218"/>
                <a:gd name="connsiteY29" fmla="*/ 217488 h 228600"/>
                <a:gd name="connsiteX30" fmla="*/ 131763 w 226218"/>
                <a:gd name="connsiteY30" fmla="*/ 171450 h 228600"/>
                <a:gd name="connsiteX31" fmla="*/ 128588 w 226218"/>
                <a:gd name="connsiteY31" fmla="*/ 160338 h 228600"/>
                <a:gd name="connsiteX32" fmla="*/ 101600 w 226218"/>
                <a:gd name="connsiteY32" fmla="*/ 149225 h 228600"/>
                <a:gd name="connsiteX33" fmla="*/ 68263 w 226218"/>
                <a:gd name="connsiteY33" fmla="*/ 130175 h 228600"/>
                <a:gd name="connsiteX34" fmla="*/ 49213 w 226218"/>
                <a:gd name="connsiteY34" fmla="*/ 123825 h 228600"/>
                <a:gd name="connsiteX35" fmla="*/ 0 w 226218"/>
                <a:gd name="connsiteY35" fmla="*/ 82550 h 228600"/>
                <a:gd name="connsiteX36" fmla="*/ 11113 w 226218"/>
                <a:gd name="connsiteY36" fmla="*/ 47625 h 228600"/>
                <a:gd name="connsiteX37" fmla="*/ 11113 w 226218"/>
                <a:gd name="connsiteY37" fmla="*/ 33338 h 228600"/>
                <a:gd name="connsiteX38" fmla="*/ 23813 w 226218"/>
                <a:gd name="connsiteY38" fmla="*/ 6350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26218" h="228600">
                  <a:moveTo>
                    <a:pt x="68263" y="0"/>
                  </a:moveTo>
                  <a:lnTo>
                    <a:pt x="75406" y="0"/>
                  </a:lnTo>
                  <a:lnTo>
                    <a:pt x="93663" y="0"/>
                  </a:lnTo>
                  <a:lnTo>
                    <a:pt x="100806" y="0"/>
                  </a:lnTo>
                  <a:lnTo>
                    <a:pt x="124618" y="14288"/>
                  </a:lnTo>
                  <a:lnTo>
                    <a:pt x="124618" y="22225"/>
                  </a:lnTo>
                  <a:lnTo>
                    <a:pt x="130968" y="36513"/>
                  </a:lnTo>
                  <a:lnTo>
                    <a:pt x="130968" y="74613"/>
                  </a:lnTo>
                  <a:lnTo>
                    <a:pt x="152896" y="81062"/>
                  </a:lnTo>
                  <a:lnTo>
                    <a:pt x="161925" y="74613"/>
                  </a:lnTo>
                  <a:lnTo>
                    <a:pt x="166127" y="76714"/>
                  </a:lnTo>
                  <a:lnTo>
                    <a:pt x="169068" y="74613"/>
                  </a:lnTo>
                  <a:lnTo>
                    <a:pt x="184943" y="82550"/>
                  </a:lnTo>
                  <a:lnTo>
                    <a:pt x="191293" y="88900"/>
                  </a:lnTo>
                  <a:lnTo>
                    <a:pt x="191293" y="115888"/>
                  </a:lnTo>
                  <a:lnTo>
                    <a:pt x="195969" y="126798"/>
                  </a:lnTo>
                  <a:lnTo>
                    <a:pt x="206375" y="123825"/>
                  </a:lnTo>
                  <a:lnTo>
                    <a:pt x="210185" y="124778"/>
                  </a:lnTo>
                  <a:lnTo>
                    <a:pt x="213518" y="123825"/>
                  </a:lnTo>
                  <a:lnTo>
                    <a:pt x="226218" y="127000"/>
                  </a:lnTo>
                  <a:lnTo>
                    <a:pt x="226218" y="146050"/>
                  </a:lnTo>
                  <a:lnTo>
                    <a:pt x="221456" y="160338"/>
                  </a:lnTo>
                  <a:lnTo>
                    <a:pt x="213518" y="176213"/>
                  </a:lnTo>
                  <a:lnTo>
                    <a:pt x="210343" y="201613"/>
                  </a:lnTo>
                  <a:lnTo>
                    <a:pt x="188118" y="225425"/>
                  </a:lnTo>
                  <a:lnTo>
                    <a:pt x="169068" y="228600"/>
                  </a:lnTo>
                  <a:lnTo>
                    <a:pt x="164690" y="228139"/>
                  </a:lnTo>
                  <a:lnTo>
                    <a:pt x="161925" y="228600"/>
                  </a:lnTo>
                  <a:lnTo>
                    <a:pt x="131763" y="225425"/>
                  </a:lnTo>
                  <a:lnTo>
                    <a:pt x="106363" y="217488"/>
                  </a:lnTo>
                  <a:lnTo>
                    <a:pt x="131763" y="171450"/>
                  </a:lnTo>
                  <a:lnTo>
                    <a:pt x="128588" y="160338"/>
                  </a:lnTo>
                  <a:lnTo>
                    <a:pt x="101600" y="149225"/>
                  </a:lnTo>
                  <a:lnTo>
                    <a:pt x="68263" y="130175"/>
                  </a:lnTo>
                  <a:lnTo>
                    <a:pt x="49213" y="123825"/>
                  </a:lnTo>
                  <a:lnTo>
                    <a:pt x="0" y="82550"/>
                  </a:lnTo>
                  <a:lnTo>
                    <a:pt x="11113" y="47625"/>
                  </a:lnTo>
                  <a:lnTo>
                    <a:pt x="11113" y="33338"/>
                  </a:lnTo>
                  <a:lnTo>
                    <a:pt x="23813" y="635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91" name="Freeform 5">
              <a:extLst>
                <a:ext uri="{FF2B5EF4-FFF2-40B4-BE49-F238E27FC236}">
                  <a16:creationId xmlns:a16="http://schemas.microsoft.com/office/drawing/2014/main" id="{C2CB5E68-9F89-C66E-4AEA-02E7FE6EDB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5656" y="2009216"/>
              <a:ext cx="55997" cy="26227"/>
            </a:xfrm>
            <a:custGeom>
              <a:avLst/>
              <a:gdLst>
                <a:gd name="T0" fmla="*/ 43 w 52"/>
                <a:gd name="T1" fmla="*/ 5 h 24"/>
                <a:gd name="T2" fmla="*/ 26 w 52"/>
                <a:gd name="T3" fmla="*/ 0 h 24"/>
                <a:gd name="T4" fmla="*/ 5 w 52"/>
                <a:gd name="T5" fmla="*/ 9 h 24"/>
                <a:gd name="T6" fmla="*/ 0 w 52"/>
                <a:gd name="T7" fmla="*/ 21 h 24"/>
                <a:gd name="T8" fmla="*/ 19 w 52"/>
                <a:gd name="T9" fmla="*/ 24 h 24"/>
                <a:gd name="T10" fmla="*/ 50 w 52"/>
                <a:gd name="T11" fmla="*/ 24 h 24"/>
                <a:gd name="T12" fmla="*/ 50 w 52"/>
                <a:gd name="T13" fmla="*/ 16 h 24"/>
                <a:gd name="T14" fmla="*/ 52 w 52"/>
                <a:gd name="T15" fmla="*/ 9 h 24"/>
                <a:gd name="T16" fmla="*/ 43 w 52"/>
                <a:gd name="T17" fmla="*/ 5 h 24"/>
                <a:gd name="T18" fmla="*/ 43 w 52"/>
                <a:gd name="T19" fmla="*/ 5 h 24"/>
                <a:gd name="T20" fmla="*/ 43 w 52"/>
                <a:gd name="T21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" h="24">
                  <a:moveTo>
                    <a:pt x="43" y="5"/>
                  </a:moveTo>
                  <a:lnTo>
                    <a:pt x="26" y="0"/>
                  </a:lnTo>
                  <a:lnTo>
                    <a:pt x="5" y="9"/>
                  </a:lnTo>
                  <a:lnTo>
                    <a:pt x="0" y="21"/>
                  </a:lnTo>
                  <a:lnTo>
                    <a:pt x="19" y="24"/>
                  </a:lnTo>
                  <a:lnTo>
                    <a:pt x="50" y="24"/>
                  </a:lnTo>
                  <a:lnTo>
                    <a:pt x="50" y="16"/>
                  </a:lnTo>
                  <a:lnTo>
                    <a:pt x="52" y="9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92" name="Freeform 10">
              <a:extLst>
                <a:ext uri="{FF2B5EF4-FFF2-40B4-BE49-F238E27FC236}">
                  <a16:creationId xmlns:a16="http://schemas.microsoft.com/office/drawing/2014/main" id="{B8B2633C-BDA8-C1EB-2DD4-43E3A8F9A76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1349" y="2345805"/>
              <a:ext cx="30153" cy="72125"/>
            </a:xfrm>
            <a:custGeom>
              <a:avLst/>
              <a:gdLst>
                <a:gd name="T0" fmla="*/ 7 w 28"/>
                <a:gd name="T1" fmla="*/ 0 h 66"/>
                <a:gd name="T2" fmla="*/ 7 w 28"/>
                <a:gd name="T3" fmla="*/ 0 h 66"/>
                <a:gd name="T4" fmla="*/ 7 w 28"/>
                <a:gd name="T5" fmla="*/ 4 h 66"/>
                <a:gd name="T6" fmla="*/ 11 w 28"/>
                <a:gd name="T7" fmla="*/ 2 h 66"/>
                <a:gd name="T8" fmla="*/ 14 w 28"/>
                <a:gd name="T9" fmla="*/ 9 h 66"/>
                <a:gd name="T10" fmla="*/ 19 w 28"/>
                <a:gd name="T11" fmla="*/ 9 h 66"/>
                <a:gd name="T12" fmla="*/ 21 w 28"/>
                <a:gd name="T13" fmla="*/ 18 h 66"/>
                <a:gd name="T14" fmla="*/ 19 w 28"/>
                <a:gd name="T15" fmla="*/ 26 h 66"/>
                <a:gd name="T16" fmla="*/ 21 w 28"/>
                <a:gd name="T17" fmla="*/ 35 h 66"/>
                <a:gd name="T18" fmla="*/ 28 w 28"/>
                <a:gd name="T19" fmla="*/ 40 h 66"/>
                <a:gd name="T20" fmla="*/ 28 w 28"/>
                <a:gd name="T21" fmla="*/ 45 h 66"/>
                <a:gd name="T22" fmla="*/ 21 w 28"/>
                <a:gd name="T23" fmla="*/ 49 h 66"/>
                <a:gd name="T24" fmla="*/ 21 w 28"/>
                <a:gd name="T25" fmla="*/ 56 h 66"/>
                <a:gd name="T26" fmla="*/ 11 w 28"/>
                <a:gd name="T27" fmla="*/ 66 h 66"/>
                <a:gd name="T28" fmla="*/ 9 w 28"/>
                <a:gd name="T29" fmla="*/ 63 h 66"/>
                <a:gd name="T30" fmla="*/ 9 w 28"/>
                <a:gd name="T31" fmla="*/ 59 h 66"/>
                <a:gd name="T32" fmla="*/ 0 w 28"/>
                <a:gd name="T33" fmla="*/ 52 h 66"/>
                <a:gd name="T34" fmla="*/ 0 w 28"/>
                <a:gd name="T35" fmla="*/ 42 h 66"/>
                <a:gd name="T36" fmla="*/ 0 w 28"/>
                <a:gd name="T37" fmla="*/ 28 h 66"/>
                <a:gd name="T38" fmla="*/ 2 w 28"/>
                <a:gd name="T39" fmla="*/ 21 h 66"/>
                <a:gd name="T40" fmla="*/ 0 w 28"/>
                <a:gd name="T41" fmla="*/ 16 h 66"/>
                <a:gd name="T42" fmla="*/ 0 w 28"/>
                <a:gd name="T43" fmla="*/ 11 h 66"/>
                <a:gd name="T44" fmla="*/ 7 w 28"/>
                <a:gd name="T45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" h="66">
                  <a:moveTo>
                    <a:pt x="7" y="0"/>
                  </a:moveTo>
                  <a:lnTo>
                    <a:pt x="7" y="0"/>
                  </a:lnTo>
                  <a:lnTo>
                    <a:pt x="7" y="4"/>
                  </a:lnTo>
                  <a:lnTo>
                    <a:pt x="11" y="2"/>
                  </a:lnTo>
                  <a:lnTo>
                    <a:pt x="14" y="9"/>
                  </a:lnTo>
                  <a:lnTo>
                    <a:pt x="19" y="9"/>
                  </a:lnTo>
                  <a:lnTo>
                    <a:pt x="21" y="18"/>
                  </a:lnTo>
                  <a:lnTo>
                    <a:pt x="19" y="26"/>
                  </a:lnTo>
                  <a:lnTo>
                    <a:pt x="21" y="35"/>
                  </a:lnTo>
                  <a:lnTo>
                    <a:pt x="28" y="40"/>
                  </a:lnTo>
                  <a:lnTo>
                    <a:pt x="28" y="45"/>
                  </a:lnTo>
                  <a:lnTo>
                    <a:pt x="21" y="49"/>
                  </a:lnTo>
                  <a:lnTo>
                    <a:pt x="21" y="56"/>
                  </a:lnTo>
                  <a:lnTo>
                    <a:pt x="11" y="66"/>
                  </a:lnTo>
                  <a:lnTo>
                    <a:pt x="9" y="63"/>
                  </a:lnTo>
                  <a:lnTo>
                    <a:pt x="9" y="59"/>
                  </a:lnTo>
                  <a:lnTo>
                    <a:pt x="0" y="52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2" y="21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7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93" name="Freeform 14">
              <a:extLst>
                <a:ext uri="{FF2B5EF4-FFF2-40B4-BE49-F238E27FC236}">
                  <a16:creationId xmlns:a16="http://schemas.microsoft.com/office/drawing/2014/main" id="{B30F86D7-A9FC-EDFB-90B0-24CF3CA62E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73912" y="3568672"/>
              <a:ext cx="343518" cy="775902"/>
            </a:xfrm>
            <a:custGeom>
              <a:avLst/>
              <a:gdLst>
                <a:gd name="T0" fmla="*/ 127 w 319"/>
                <a:gd name="T1" fmla="*/ 710 h 710"/>
                <a:gd name="T2" fmla="*/ 104 w 319"/>
                <a:gd name="T3" fmla="*/ 701 h 710"/>
                <a:gd name="T4" fmla="*/ 78 w 319"/>
                <a:gd name="T5" fmla="*/ 701 h 710"/>
                <a:gd name="T6" fmla="*/ 82 w 319"/>
                <a:gd name="T7" fmla="*/ 651 h 710"/>
                <a:gd name="T8" fmla="*/ 113 w 319"/>
                <a:gd name="T9" fmla="*/ 689 h 710"/>
                <a:gd name="T10" fmla="*/ 127 w 319"/>
                <a:gd name="T11" fmla="*/ 710 h 710"/>
                <a:gd name="T12" fmla="*/ 137 w 319"/>
                <a:gd name="T13" fmla="*/ 5 h 710"/>
                <a:gd name="T14" fmla="*/ 151 w 319"/>
                <a:gd name="T15" fmla="*/ 5 h 710"/>
                <a:gd name="T16" fmla="*/ 172 w 319"/>
                <a:gd name="T17" fmla="*/ 7 h 710"/>
                <a:gd name="T18" fmla="*/ 217 w 319"/>
                <a:gd name="T19" fmla="*/ 40 h 710"/>
                <a:gd name="T20" fmla="*/ 253 w 319"/>
                <a:gd name="T21" fmla="*/ 59 h 710"/>
                <a:gd name="T22" fmla="*/ 239 w 319"/>
                <a:gd name="T23" fmla="*/ 95 h 710"/>
                <a:gd name="T24" fmla="*/ 274 w 319"/>
                <a:gd name="T25" fmla="*/ 102 h 710"/>
                <a:gd name="T26" fmla="*/ 300 w 319"/>
                <a:gd name="T27" fmla="*/ 85 h 710"/>
                <a:gd name="T28" fmla="*/ 312 w 319"/>
                <a:gd name="T29" fmla="*/ 66 h 710"/>
                <a:gd name="T30" fmla="*/ 319 w 319"/>
                <a:gd name="T31" fmla="*/ 90 h 710"/>
                <a:gd name="T32" fmla="*/ 295 w 319"/>
                <a:gd name="T33" fmla="*/ 109 h 710"/>
                <a:gd name="T34" fmla="*/ 255 w 319"/>
                <a:gd name="T35" fmla="*/ 149 h 710"/>
                <a:gd name="T36" fmla="*/ 248 w 319"/>
                <a:gd name="T37" fmla="*/ 185 h 710"/>
                <a:gd name="T38" fmla="*/ 243 w 319"/>
                <a:gd name="T39" fmla="*/ 208 h 710"/>
                <a:gd name="T40" fmla="*/ 241 w 319"/>
                <a:gd name="T41" fmla="*/ 232 h 710"/>
                <a:gd name="T42" fmla="*/ 260 w 319"/>
                <a:gd name="T43" fmla="*/ 260 h 710"/>
                <a:gd name="T44" fmla="*/ 269 w 319"/>
                <a:gd name="T45" fmla="*/ 279 h 710"/>
                <a:gd name="T46" fmla="*/ 229 w 319"/>
                <a:gd name="T47" fmla="*/ 317 h 710"/>
                <a:gd name="T48" fmla="*/ 179 w 319"/>
                <a:gd name="T49" fmla="*/ 320 h 710"/>
                <a:gd name="T50" fmla="*/ 179 w 319"/>
                <a:gd name="T51" fmla="*/ 346 h 710"/>
                <a:gd name="T52" fmla="*/ 172 w 319"/>
                <a:gd name="T53" fmla="*/ 365 h 710"/>
                <a:gd name="T54" fmla="*/ 139 w 319"/>
                <a:gd name="T55" fmla="*/ 360 h 710"/>
                <a:gd name="T56" fmla="*/ 137 w 319"/>
                <a:gd name="T57" fmla="*/ 388 h 710"/>
                <a:gd name="T58" fmla="*/ 156 w 319"/>
                <a:gd name="T59" fmla="*/ 386 h 710"/>
                <a:gd name="T60" fmla="*/ 146 w 319"/>
                <a:gd name="T61" fmla="*/ 405 h 710"/>
                <a:gd name="T62" fmla="*/ 130 w 319"/>
                <a:gd name="T63" fmla="*/ 440 h 710"/>
                <a:gd name="T64" fmla="*/ 111 w 319"/>
                <a:gd name="T65" fmla="*/ 452 h 710"/>
                <a:gd name="T66" fmla="*/ 94 w 319"/>
                <a:gd name="T67" fmla="*/ 483 h 710"/>
                <a:gd name="T68" fmla="*/ 125 w 319"/>
                <a:gd name="T69" fmla="*/ 504 h 710"/>
                <a:gd name="T70" fmla="*/ 101 w 319"/>
                <a:gd name="T71" fmla="*/ 540 h 710"/>
                <a:gd name="T72" fmla="*/ 75 w 319"/>
                <a:gd name="T73" fmla="*/ 578 h 710"/>
                <a:gd name="T74" fmla="*/ 73 w 319"/>
                <a:gd name="T75" fmla="*/ 618 h 710"/>
                <a:gd name="T76" fmla="*/ 78 w 319"/>
                <a:gd name="T77" fmla="*/ 630 h 710"/>
                <a:gd name="T78" fmla="*/ 23 w 319"/>
                <a:gd name="T79" fmla="*/ 623 h 710"/>
                <a:gd name="T80" fmla="*/ 16 w 319"/>
                <a:gd name="T81" fmla="*/ 589 h 710"/>
                <a:gd name="T82" fmla="*/ 2 w 319"/>
                <a:gd name="T83" fmla="*/ 580 h 710"/>
                <a:gd name="T84" fmla="*/ 12 w 319"/>
                <a:gd name="T85" fmla="*/ 545 h 710"/>
                <a:gd name="T86" fmla="*/ 16 w 319"/>
                <a:gd name="T87" fmla="*/ 516 h 710"/>
                <a:gd name="T88" fmla="*/ 30 w 319"/>
                <a:gd name="T89" fmla="*/ 464 h 710"/>
                <a:gd name="T90" fmla="*/ 35 w 319"/>
                <a:gd name="T91" fmla="*/ 447 h 710"/>
                <a:gd name="T92" fmla="*/ 26 w 319"/>
                <a:gd name="T93" fmla="*/ 436 h 710"/>
                <a:gd name="T94" fmla="*/ 23 w 319"/>
                <a:gd name="T95" fmla="*/ 417 h 710"/>
                <a:gd name="T96" fmla="*/ 26 w 319"/>
                <a:gd name="T97" fmla="*/ 388 h 710"/>
                <a:gd name="T98" fmla="*/ 28 w 319"/>
                <a:gd name="T99" fmla="*/ 339 h 710"/>
                <a:gd name="T100" fmla="*/ 42 w 319"/>
                <a:gd name="T101" fmla="*/ 315 h 710"/>
                <a:gd name="T102" fmla="*/ 38 w 319"/>
                <a:gd name="T103" fmla="*/ 275 h 710"/>
                <a:gd name="T104" fmla="*/ 49 w 319"/>
                <a:gd name="T105" fmla="*/ 246 h 710"/>
                <a:gd name="T106" fmla="*/ 59 w 319"/>
                <a:gd name="T107" fmla="*/ 208 h 710"/>
                <a:gd name="T108" fmla="*/ 47 w 319"/>
                <a:gd name="T109" fmla="*/ 173 h 710"/>
                <a:gd name="T110" fmla="*/ 54 w 319"/>
                <a:gd name="T111" fmla="*/ 135 h 710"/>
                <a:gd name="T112" fmla="*/ 71 w 319"/>
                <a:gd name="T113" fmla="*/ 102 h 710"/>
                <a:gd name="T114" fmla="*/ 78 w 319"/>
                <a:gd name="T115" fmla="*/ 83 h 710"/>
                <a:gd name="T116" fmla="*/ 80 w 319"/>
                <a:gd name="T117" fmla="*/ 47 h 710"/>
                <a:gd name="T118" fmla="*/ 104 w 319"/>
                <a:gd name="T119" fmla="*/ 21 h 710"/>
                <a:gd name="T120" fmla="*/ 116 w 319"/>
                <a:gd name="T121" fmla="*/ 0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19" h="710">
                  <a:moveTo>
                    <a:pt x="127" y="710"/>
                  </a:moveTo>
                  <a:lnTo>
                    <a:pt x="127" y="710"/>
                  </a:lnTo>
                  <a:lnTo>
                    <a:pt x="113" y="710"/>
                  </a:lnTo>
                  <a:lnTo>
                    <a:pt x="104" y="701"/>
                  </a:lnTo>
                  <a:lnTo>
                    <a:pt x="94" y="701"/>
                  </a:lnTo>
                  <a:lnTo>
                    <a:pt x="78" y="701"/>
                  </a:lnTo>
                  <a:lnTo>
                    <a:pt x="78" y="639"/>
                  </a:lnTo>
                  <a:lnTo>
                    <a:pt x="82" y="651"/>
                  </a:lnTo>
                  <a:lnTo>
                    <a:pt x="92" y="672"/>
                  </a:lnTo>
                  <a:lnTo>
                    <a:pt x="113" y="689"/>
                  </a:lnTo>
                  <a:lnTo>
                    <a:pt x="134" y="694"/>
                  </a:lnTo>
                  <a:lnTo>
                    <a:pt x="127" y="710"/>
                  </a:lnTo>
                  <a:close/>
                  <a:moveTo>
                    <a:pt x="137" y="5"/>
                  </a:moveTo>
                  <a:lnTo>
                    <a:pt x="137" y="5"/>
                  </a:lnTo>
                  <a:lnTo>
                    <a:pt x="146" y="17"/>
                  </a:lnTo>
                  <a:lnTo>
                    <a:pt x="151" y="5"/>
                  </a:lnTo>
                  <a:lnTo>
                    <a:pt x="170" y="5"/>
                  </a:lnTo>
                  <a:lnTo>
                    <a:pt x="172" y="7"/>
                  </a:lnTo>
                  <a:lnTo>
                    <a:pt x="203" y="36"/>
                  </a:lnTo>
                  <a:lnTo>
                    <a:pt x="217" y="40"/>
                  </a:lnTo>
                  <a:lnTo>
                    <a:pt x="236" y="52"/>
                  </a:lnTo>
                  <a:lnTo>
                    <a:pt x="253" y="59"/>
                  </a:lnTo>
                  <a:lnTo>
                    <a:pt x="255" y="66"/>
                  </a:lnTo>
                  <a:lnTo>
                    <a:pt x="239" y="95"/>
                  </a:lnTo>
                  <a:lnTo>
                    <a:pt x="255" y="100"/>
                  </a:lnTo>
                  <a:lnTo>
                    <a:pt x="274" y="102"/>
                  </a:lnTo>
                  <a:lnTo>
                    <a:pt x="286" y="100"/>
                  </a:lnTo>
                  <a:lnTo>
                    <a:pt x="300" y="85"/>
                  </a:lnTo>
                  <a:lnTo>
                    <a:pt x="305" y="69"/>
                  </a:lnTo>
                  <a:lnTo>
                    <a:pt x="312" y="66"/>
                  </a:lnTo>
                  <a:lnTo>
                    <a:pt x="319" y="76"/>
                  </a:lnTo>
                  <a:lnTo>
                    <a:pt x="319" y="90"/>
                  </a:lnTo>
                  <a:lnTo>
                    <a:pt x="307" y="102"/>
                  </a:lnTo>
                  <a:lnTo>
                    <a:pt x="295" y="109"/>
                  </a:lnTo>
                  <a:lnTo>
                    <a:pt x="276" y="126"/>
                  </a:lnTo>
                  <a:lnTo>
                    <a:pt x="255" y="149"/>
                  </a:lnTo>
                  <a:lnTo>
                    <a:pt x="253" y="166"/>
                  </a:lnTo>
                  <a:lnTo>
                    <a:pt x="248" y="185"/>
                  </a:lnTo>
                  <a:lnTo>
                    <a:pt x="248" y="204"/>
                  </a:lnTo>
                  <a:lnTo>
                    <a:pt x="243" y="208"/>
                  </a:lnTo>
                  <a:lnTo>
                    <a:pt x="243" y="220"/>
                  </a:lnTo>
                  <a:lnTo>
                    <a:pt x="241" y="232"/>
                  </a:lnTo>
                  <a:lnTo>
                    <a:pt x="262" y="249"/>
                  </a:lnTo>
                  <a:lnTo>
                    <a:pt x="260" y="260"/>
                  </a:lnTo>
                  <a:lnTo>
                    <a:pt x="269" y="270"/>
                  </a:lnTo>
                  <a:lnTo>
                    <a:pt x="269" y="279"/>
                  </a:lnTo>
                  <a:lnTo>
                    <a:pt x="253" y="305"/>
                  </a:lnTo>
                  <a:lnTo>
                    <a:pt x="229" y="317"/>
                  </a:lnTo>
                  <a:lnTo>
                    <a:pt x="196" y="322"/>
                  </a:lnTo>
                  <a:lnTo>
                    <a:pt x="179" y="320"/>
                  </a:lnTo>
                  <a:lnTo>
                    <a:pt x="182" y="331"/>
                  </a:lnTo>
                  <a:lnTo>
                    <a:pt x="179" y="346"/>
                  </a:lnTo>
                  <a:lnTo>
                    <a:pt x="182" y="358"/>
                  </a:lnTo>
                  <a:lnTo>
                    <a:pt x="172" y="365"/>
                  </a:lnTo>
                  <a:lnTo>
                    <a:pt x="156" y="367"/>
                  </a:lnTo>
                  <a:lnTo>
                    <a:pt x="139" y="360"/>
                  </a:lnTo>
                  <a:lnTo>
                    <a:pt x="134" y="365"/>
                  </a:lnTo>
                  <a:lnTo>
                    <a:pt x="137" y="388"/>
                  </a:lnTo>
                  <a:lnTo>
                    <a:pt x="149" y="393"/>
                  </a:lnTo>
                  <a:lnTo>
                    <a:pt x="156" y="386"/>
                  </a:lnTo>
                  <a:lnTo>
                    <a:pt x="161" y="398"/>
                  </a:lnTo>
                  <a:lnTo>
                    <a:pt x="146" y="405"/>
                  </a:lnTo>
                  <a:lnTo>
                    <a:pt x="132" y="419"/>
                  </a:lnTo>
                  <a:lnTo>
                    <a:pt x="130" y="440"/>
                  </a:lnTo>
                  <a:lnTo>
                    <a:pt x="127" y="452"/>
                  </a:lnTo>
                  <a:lnTo>
                    <a:pt x="111" y="452"/>
                  </a:lnTo>
                  <a:lnTo>
                    <a:pt x="99" y="464"/>
                  </a:lnTo>
                  <a:lnTo>
                    <a:pt x="94" y="483"/>
                  </a:lnTo>
                  <a:lnTo>
                    <a:pt x="111" y="500"/>
                  </a:lnTo>
                  <a:lnTo>
                    <a:pt x="125" y="504"/>
                  </a:lnTo>
                  <a:lnTo>
                    <a:pt x="120" y="526"/>
                  </a:lnTo>
                  <a:lnTo>
                    <a:pt x="101" y="540"/>
                  </a:lnTo>
                  <a:lnTo>
                    <a:pt x="90" y="568"/>
                  </a:lnTo>
                  <a:lnTo>
                    <a:pt x="75" y="578"/>
                  </a:lnTo>
                  <a:lnTo>
                    <a:pt x="68" y="589"/>
                  </a:lnTo>
                  <a:lnTo>
                    <a:pt x="73" y="618"/>
                  </a:lnTo>
                  <a:lnTo>
                    <a:pt x="85" y="632"/>
                  </a:lnTo>
                  <a:lnTo>
                    <a:pt x="78" y="630"/>
                  </a:lnTo>
                  <a:lnTo>
                    <a:pt x="64" y="627"/>
                  </a:lnTo>
                  <a:lnTo>
                    <a:pt x="23" y="623"/>
                  </a:lnTo>
                  <a:lnTo>
                    <a:pt x="16" y="608"/>
                  </a:lnTo>
                  <a:lnTo>
                    <a:pt x="16" y="589"/>
                  </a:lnTo>
                  <a:lnTo>
                    <a:pt x="7" y="589"/>
                  </a:lnTo>
                  <a:lnTo>
                    <a:pt x="2" y="580"/>
                  </a:lnTo>
                  <a:lnTo>
                    <a:pt x="0" y="554"/>
                  </a:lnTo>
                  <a:lnTo>
                    <a:pt x="12" y="545"/>
                  </a:lnTo>
                  <a:lnTo>
                    <a:pt x="16" y="528"/>
                  </a:lnTo>
                  <a:lnTo>
                    <a:pt x="16" y="516"/>
                  </a:lnTo>
                  <a:lnTo>
                    <a:pt x="23" y="497"/>
                  </a:lnTo>
                  <a:lnTo>
                    <a:pt x="30" y="464"/>
                  </a:lnTo>
                  <a:lnTo>
                    <a:pt x="28" y="452"/>
                  </a:lnTo>
                  <a:lnTo>
                    <a:pt x="35" y="447"/>
                  </a:lnTo>
                  <a:lnTo>
                    <a:pt x="33" y="438"/>
                  </a:lnTo>
                  <a:lnTo>
                    <a:pt x="26" y="436"/>
                  </a:lnTo>
                  <a:lnTo>
                    <a:pt x="30" y="424"/>
                  </a:lnTo>
                  <a:lnTo>
                    <a:pt x="23" y="417"/>
                  </a:lnTo>
                  <a:lnTo>
                    <a:pt x="21" y="391"/>
                  </a:lnTo>
                  <a:lnTo>
                    <a:pt x="26" y="388"/>
                  </a:lnTo>
                  <a:lnTo>
                    <a:pt x="23" y="360"/>
                  </a:lnTo>
                  <a:lnTo>
                    <a:pt x="28" y="339"/>
                  </a:lnTo>
                  <a:lnTo>
                    <a:pt x="33" y="320"/>
                  </a:lnTo>
                  <a:lnTo>
                    <a:pt x="42" y="315"/>
                  </a:lnTo>
                  <a:lnTo>
                    <a:pt x="38" y="294"/>
                  </a:lnTo>
                  <a:lnTo>
                    <a:pt x="38" y="275"/>
                  </a:lnTo>
                  <a:lnTo>
                    <a:pt x="49" y="263"/>
                  </a:lnTo>
                  <a:lnTo>
                    <a:pt x="49" y="246"/>
                  </a:lnTo>
                  <a:lnTo>
                    <a:pt x="59" y="227"/>
                  </a:lnTo>
                  <a:lnTo>
                    <a:pt x="59" y="208"/>
                  </a:lnTo>
                  <a:lnTo>
                    <a:pt x="54" y="206"/>
                  </a:lnTo>
                  <a:lnTo>
                    <a:pt x="47" y="173"/>
                  </a:lnTo>
                  <a:lnTo>
                    <a:pt x="56" y="152"/>
                  </a:lnTo>
                  <a:lnTo>
                    <a:pt x="54" y="135"/>
                  </a:lnTo>
                  <a:lnTo>
                    <a:pt x="61" y="118"/>
                  </a:lnTo>
                  <a:lnTo>
                    <a:pt x="71" y="102"/>
                  </a:lnTo>
                  <a:lnTo>
                    <a:pt x="82" y="90"/>
                  </a:lnTo>
                  <a:lnTo>
                    <a:pt x="78" y="83"/>
                  </a:lnTo>
                  <a:lnTo>
                    <a:pt x="80" y="78"/>
                  </a:lnTo>
                  <a:lnTo>
                    <a:pt x="80" y="47"/>
                  </a:lnTo>
                  <a:lnTo>
                    <a:pt x="99" y="40"/>
                  </a:lnTo>
                  <a:lnTo>
                    <a:pt x="104" y="21"/>
                  </a:lnTo>
                  <a:lnTo>
                    <a:pt x="101" y="17"/>
                  </a:lnTo>
                  <a:lnTo>
                    <a:pt x="116" y="0"/>
                  </a:lnTo>
                  <a:lnTo>
                    <a:pt x="137" y="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94" name="Freeform 18">
              <a:extLst>
                <a:ext uri="{FF2B5EF4-FFF2-40B4-BE49-F238E27FC236}">
                  <a16:creationId xmlns:a16="http://schemas.microsoft.com/office/drawing/2014/main" id="{07CBFB42-9F11-326D-5E40-B1CE42D3CB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29246" y="3366501"/>
              <a:ext cx="702110" cy="662251"/>
            </a:xfrm>
            <a:custGeom>
              <a:avLst/>
              <a:gdLst>
                <a:gd name="T0" fmla="*/ 544 w 652"/>
                <a:gd name="T1" fmla="*/ 550 h 606"/>
                <a:gd name="T2" fmla="*/ 562 w 652"/>
                <a:gd name="T3" fmla="*/ 580 h 606"/>
                <a:gd name="T4" fmla="*/ 539 w 652"/>
                <a:gd name="T5" fmla="*/ 606 h 606"/>
                <a:gd name="T6" fmla="*/ 508 w 652"/>
                <a:gd name="T7" fmla="*/ 554 h 606"/>
                <a:gd name="T8" fmla="*/ 489 w 652"/>
                <a:gd name="T9" fmla="*/ 50 h 606"/>
                <a:gd name="T10" fmla="*/ 520 w 652"/>
                <a:gd name="T11" fmla="*/ 69 h 606"/>
                <a:gd name="T12" fmla="*/ 527 w 652"/>
                <a:gd name="T13" fmla="*/ 102 h 606"/>
                <a:gd name="T14" fmla="*/ 553 w 652"/>
                <a:gd name="T15" fmla="*/ 145 h 606"/>
                <a:gd name="T16" fmla="*/ 584 w 652"/>
                <a:gd name="T17" fmla="*/ 176 h 606"/>
                <a:gd name="T18" fmla="*/ 605 w 652"/>
                <a:gd name="T19" fmla="*/ 197 h 606"/>
                <a:gd name="T20" fmla="*/ 641 w 652"/>
                <a:gd name="T21" fmla="*/ 247 h 606"/>
                <a:gd name="T22" fmla="*/ 652 w 652"/>
                <a:gd name="T23" fmla="*/ 296 h 606"/>
                <a:gd name="T24" fmla="*/ 645 w 652"/>
                <a:gd name="T25" fmla="*/ 348 h 606"/>
                <a:gd name="T26" fmla="*/ 617 w 652"/>
                <a:gd name="T27" fmla="*/ 405 h 606"/>
                <a:gd name="T28" fmla="*/ 596 w 652"/>
                <a:gd name="T29" fmla="*/ 455 h 606"/>
                <a:gd name="T30" fmla="*/ 567 w 652"/>
                <a:gd name="T31" fmla="*/ 483 h 606"/>
                <a:gd name="T32" fmla="*/ 520 w 652"/>
                <a:gd name="T33" fmla="*/ 500 h 606"/>
                <a:gd name="T34" fmla="*/ 492 w 652"/>
                <a:gd name="T35" fmla="*/ 505 h 606"/>
                <a:gd name="T36" fmla="*/ 442 w 652"/>
                <a:gd name="T37" fmla="*/ 488 h 606"/>
                <a:gd name="T38" fmla="*/ 418 w 652"/>
                <a:gd name="T39" fmla="*/ 443 h 606"/>
                <a:gd name="T40" fmla="*/ 395 w 652"/>
                <a:gd name="T41" fmla="*/ 429 h 606"/>
                <a:gd name="T42" fmla="*/ 397 w 652"/>
                <a:gd name="T43" fmla="*/ 401 h 606"/>
                <a:gd name="T44" fmla="*/ 369 w 652"/>
                <a:gd name="T45" fmla="*/ 427 h 606"/>
                <a:gd name="T46" fmla="*/ 338 w 652"/>
                <a:gd name="T47" fmla="*/ 386 h 606"/>
                <a:gd name="T48" fmla="*/ 290 w 652"/>
                <a:gd name="T49" fmla="*/ 360 h 606"/>
                <a:gd name="T50" fmla="*/ 208 w 652"/>
                <a:gd name="T51" fmla="*/ 374 h 606"/>
                <a:gd name="T52" fmla="*/ 167 w 652"/>
                <a:gd name="T53" fmla="*/ 405 h 606"/>
                <a:gd name="T54" fmla="*/ 118 w 652"/>
                <a:gd name="T55" fmla="*/ 408 h 606"/>
                <a:gd name="T56" fmla="*/ 85 w 652"/>
                <a:gd name="T57" fmla="*/ 422 h 606"/>
                <a:gd name="T58" fmla="*/ 35 w 652"/>
                <a:gd name="T59" fmla="*/ 415 h 606"/>
                <a:gd name="T60" fmla="*/ 37 w 652"/>
                <a:gd name="T61" fmla="*/ 393 h 606"/>
                <a:gd name="T62" fmla="*/ 30 w 652"/>
                <a:gd name="T63" fmla="*/ 344 h 606"/>
                <a:gd name="T64" fmla="*/ 21 w 652"/>
                <a:gd name="T65" fmla="*/ 306 h 606"/>
                <a:gd name="T66" fmla="*/ 0 w 652"/>
                <a:gd name="T67" fmla="*/ 261 h 606"/>
                <a:gd name="T68" fmla="*/ 14 w 652"/>
                <a:gd name="T69" fmla="*/ 266 h 606"/>
                <a:gd name="T70" fmla="*/ 2 w 652"/>
                <a:gd name="T71" fmla="*/ 230 h 606"/>
                <a:gd name="T72" fmla="*/ 7 w 652"/>
                <a:gd name="T73" fmla="*/ 197 h 606"/>
                <a:gd name="T74" fmla="*/ 35 w 652"/>
                <a:gd name="T75" fmla="*/ 180 h 606"/>
                <a:gd name="T76" fmla="*/ 66 w 652"/>
                <a:gd name="T77" fmla="*/ 166 h 606"/>
                <a:gd name="T78" fmla="*/ 97 w 652"/>
                <a:gd name="T79" fmla="*/ 154 h 606"/>
                <a:gd name="T80" fmla="*/ 134 w 652"/>
                <a:gd name="T81" fmla="*/ 133 h 606"/>
                <a:gd name="T82" fmla="*/ 158 w 652"/>
                <a:gd name="T83" fmla="*/ 93 h 606"/>
                <a:gd name="T84" fmla="*/ 170 w 652"/>
                <a:gd name="T85" fmla="*/ 88 h 606"/>
                <a:gd name="T86" fmla="*/ 191 w 652"/>
                <a:gd name="T87" fmla="*/ 64 h 606"/>
                <a:gd name="T88" fmla="*/ 208 w 652"/>
                <a:gd name="T89" fmla="*/ 55 h 606"/>
                <a:gd name="T90" fmla="*/ 243 w 652"/>
                <a:gd name="T91" fmla="*/ 69 h 606"/>
                <a:gd name="T92" fmla="*/ 269 w 652"/>
                <a:gd name="T93" fmla="*/ 48 h 606"/>
                <a:gd name="T94" fmla="*/ 290 w 652"/>
                <a:gd name="T95" fmla="*/ 24 h 606"/>
                <a:gd name="T96" fmla="*/ 300 w 652"/>
                <a:gd name="T97" fmla="*/ 10 h 606"/>
                <a:gd name="T98" fmla="*/ 343 w 652"/>
                <a:gd name="T99" fmla="*/ 22 h 606"/>
                <a:gd name="T100" fmla="*/ 371 w 652"/>
                <a:gd name="T101" fmla="*/ 22 h 606"/>
                <a:gd name="T102" fmla="*/ 371 w 652"/>
                <a:gd name="T103" fmla="*/ 43 h 606"/>
                <a:gd name="T104" fmla="*/ 359 w 652"/>
                <a:gd name="T105" fmla="*/ 64 h 606"/>
                <a:gd name="T106" fmla="*/ 392 w 652"/>
                <a:gd name="T107" fmla="*/ 90 h 606"/>
                <a:gd name="T108" fmla="*/ 421 w 652"/>
                <a:gd name="T109" fmla="*/ 109 h 606"/>
                <a:gd name="T110" fmla="*/ 454 w 652"/>
                <a:gd name="T111" fmla="*/ 93 h 606"/>
                <a:gd name="T112" fmla="*/ 458 w 652"/>
                <a:gd name="T113" fmla="*/ 60 h 606"/>
                <a:gd name="T114" fmla="*/ 458 w 652"/>
                <a:gd name="T115" fmla="*/ 27 h 606"/>
                <a:gd name="T116" fmla="*/ 473 w 652"/>
                <a:gd name="T117" fmla="*/ 0 h 606"/>
                <a:gd name="T118" fmla="*/ 482 w 652"/>
                <a:gd name="T119" fmla="*/ 27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52" h="606">
                  <a:moveTo>
                    <a:pt x="520" y="545"/>
                  </a:moveTo>
                  <a:lnTo>
                    <a:pt x="520" y="545"/>
                  </a:lnTo>
                  <a:lnTo>
                    <a:pt x="536" y="552"/>
                  </a:lnTo>
                  <a:lnTo>
                    <a:pt x="544" y="550"/>
                  </a:lnTo>
                  <a:lnTo>
                    <a:pt x="558" y="547"/>
                  </a:lnTo>
                  <a:lnTo>
                    <a:pt x="565" y="547"/>
                  </a:lnTo>
                  <a:lnTo>
                    <a:pt x="567" y="573"/>
                  </a:lnTo>
                  <a:lnTo>
                    <a:pt x="562" y="580"/>
                  </a:lnTo>
                  <a:lnTo>
                    <a:pt x="560" y="597"/>
                  </a:lnTo>
                  <a:lnTo>
                    <a:pt x="555" y="592"/>
                  </a:lnTo>
                  <a:lnTo>
                    <a:pt x="544" y="606"/>
                  </a:lnTo>
                  <a:lnTo>
                    <a:pt x="539" y="606"/>
                  </a:lnTo>
                  <a:lnTo>
                    <a:pt x="529" y="606"/>
                  </a:lnTo>
                  <a:lnTo>
                    <a:pt x="520" y="587"/>
                  </a:lnTo>
                  <a:lnTo>
                    <a:pt x="518" y="573"/>
                  </a:lnTo>
                  <a:lnTo>
                    <a:pt x="508" y="554"/>
                  </a:lnTo>
                  <a:lnTo>
                    <a:pt x="508" y="545"/>
                  </a:lnTo>
                  <a:lnTo>
                    <a:pt x="520" y="545"/>
                  </a:lnTo>
                  <a:close/>
                  <a:moveTo>
                    <a:pt x="489" y="50"/>
                  </a:moveTo>
                  <a:lnTo>
                    <a:pt x="489" y="50"/>
                  </a:lnTo>
                  <a:lnTo>
                    <a:pt x="496" y="62"/>
                  </a:lnTo>
                  <a:lnTo>
                    <a:pt x="506" y="57"/>
                  </a:lnTo>
                  <a:lnTo>
                    <a:pt x="510" y="64"/>
                  </a:lnTo>
                  <a:lnTo>
                    <a:pt x="520" y="69"/>
                  </a:lnTo>
                  <a:lnTo>
                    <a:pt x="518" y="79"/>
                  </a:lnTo>
                  <a:lnTo>
                    <a:pt x="520" y="93"/>
                  </a:lnTo>
                  <a:lnTo>
                    <a:pt x="522" y="100"/>
                  </a:lnTo>
                  <a:lnTo>
                    <a:pt x="527" y="102"/>
                  </a:lnTo>
                  <a:lnTo>
                    <a:pt x="532" y="116"/>
                  </a:lnTo>
                  <a:lnTo>
                    <a:pt x="532" y="126"/>
                  </a:lnTo>
                  <a:lnTo>
                    <a:pt x="536" y="138"/>
                  </a:lnTo>
                  <a:lnTo>
                    <a:pt x="553" y="145"/>
                  </a:lnTo>
                  <a:lnTo>
                    <a:pt x="565" y="154"/>
                  </a:lnTo>
                  <a:lnTo>
                    <a:pt x="577" y="161"/>
                  </a:lnTo>
                  <a:lnTo>
                    <a:pt x="574" y="166"/>
                  </a:lnTo>
                  <a:lnTo>
                    <a:pt x="584" y="176"/>
                  </a:lnTo>
                  <a:lnTo>
                    <a:pt x="588" y="195"/>
                  </a:lnTo>
                  <a:lnTo>
                    <a:pt x="596" y="192"/>
                  </a:lnTo>
                  <a:lnTo>
                    <a:pt x="603" y="199"/>
                  </a:lnTo>
                  <a:lnTo>
                    <a:pt x="605" y="197"/>
                  </a:lnTo>
                  <a:lnTo>
                    <a:pt x="610" y="214"/>
                  </a:lnTo>
                  <a:lnTo>
                    <a:pt x="619" y="225"/>
                  </a:lnTo>
                  <a:lnTo>
                    <a:pt x="629" y="232"/>
                  </a:lnTo>
                  <a:lnTo>
                    <a:pt x="641" y="247"/>
                  </a:lnTo>
                  <a:lnTo>
                    <a:pt x="645" y="261"/>
                  </a:lnTo>
                  <a:lnTo>
                    <a:pt x="645" y="270"/>
                  </a:lnTo>
                  <a:lnTo>
                    <a:pt x="645" y="282"/>
                  </a:lnTo>
                  <a:lnTo>
                    <a:pt x="652" y="296"/>
                  </a:lnTo>
                  <a:lnTo>
                    <a:pt x="650" y="313"/>
                  </a:lnTo>
                  <a:lnTo>
                    <a:pt x="648" y="322"/>
                  </a:lnTo>
                  <a:lnTo>
                    <a:pt x="645" y="339"/>
                  </a:lnTo>
                  <a:lnTo>
                    <a:pt x="645" y="348"/>
                  </a:lnTo>
                  <a:lnTo>
                    <a:pt x="641" y="363"/>
                  </a:lnTo>
                  <a:lnTo>
                    <a:pt x="633" y="382"/>
                  </a:lnTo>
                  <a:lnTo>
                    <a:pt x="622" y="389"/>
                  </a:lnTo>
                  <a:lnTo>
                    <a:pt x="617" y="405"/>
                  </a:lnTo>
                  <a:lnTo>
                    <a:pt x="610" y="415"/>
                  </a:lnTo>
                  <a:lnTo>
                    <a:pt x="605" y="431"/>
                  </a:lnTo>
                  <a:lnTo>
                    <a:pt x="598" y="441"/>
                  </a:lnTo>
                  <a:lnTo>
                    <a:pt x="596" y="455"/>
                  </a:lnTo>
                  <a:lnTo>
                    <a:pt x="593" y="469"/>
                  </a:lnTo>
                  <a:lnTo>
                    <a:pt x="593" y="476"/>
                  </a:lnTo>
                  <a:lnTo>
                    <a:pt x="584" y="483"/>
                  </a:lnTo>
                  <a:lnTo>
                    <a:pt x="567" y="483"/>
                  </a:lnTo>
                  <a:lnTo>
                    <a:pt x="551" y="493"/>
                  </a:lnTo>
                  <a:lnTo>
                    <a:pt x="544" y="500"/>
                  </a:lnTo>
                  <a:lnTo>
                    <a:pt x="534" y="509"/>
                  </a:lnTo>
                  <a:lnTo>
                    <a:pt x="520" y="500"/>
                  </a:lnTo>
                  <a:lnTo>
                    <a:pt x="510" y="495"/>
                  </a:lnTo>
                  <a:lnTo>
                    <a:pt x="513" y="486"/>
                  </a:lnTo>
                  <a:lnTo>
                    <a:pt x="506" y="490"/>
                  </a:lnTo>
                  <a:lnTo>
                    <a:pt x="492" y="505"/>
                  </a:lnTo>
                  <a:lnTo>
                    <a:pt x="477" y="498"/>
                  </a:lnTo>
                  <a:lnTo>
                    <a:pt x="468" y="495"/>
                  </a:lnTo>
                  <a:lnTo>
                    <a:pt x="458" y="493"/>
                  </a:lnTo>
                  <a:lnTo>
                    <a:pt x="442" y="488"/>
                  </a:lnTo>
                  <a:lnTo>
                    <a:pt x="432" y="474"/>
                  </a:lnTo>
                  <a:lnTo>
                    <a:pt x="430" y="460"/>
                  </a:lnTo>
                  <a:lnTo>
                    <a:pt x="425" y="450"/>
                  </a:lnTo>
                  <a:lnTo>
                    <a:pt x="418" y="443"/>
                  </a:lnTo>
                  <a:lnTo>
                    <a:pt x="402" y="441"/>
                  </a:lnTo>
                  <a:lnTo>
                    <a:pt x="406" y="429"/>
                  </a:lnTo>
                  <a:lnTo>
                    <a:pt x="402" y="415"/>
                  </a:lnTo>
                  <a:lnTo>
                    <a:pt x="395" y="429"/>
                  </a:lnTo>
                  <a:lnTo>
                    <a:pt x="380" y="431"/>
                  </a:lnTo>
                  <a:lnTo>
                    <a:pt x="390" y="422"/>
                  </a:lnTo>
                  <a:lnTo>
                    <a:pt x="392" y="410"/>
                  </a:lnTo>
                  <a:lnTo>
                    <a:pt x="397" y="401"/>
                  </a:lnTo>
                  <a:lnTo>
                    <a:pt x="397" y="386"/>
                  </a:lnTo>
                  <a:lnTo>
                    <a:pt x="383" y="403"/>
                  </a:lnTo>
                  <a:lnTo>
                    <a:pt x="373" y="410"/>
                  </a:lnTo>
                  <a:lnTo>
                    <a:pt x="369" y="427"/>
                  </a:lnTo>
                  <a:lnTo>
                    <a:pt x="354" y="417"/>
                  </a:lnTo>
                  <a:lnTo>
                    <a:pt x="354" y="408"/>
                  </a:lnTo>
                  <a:lnTo>
                    <a:pt x="345" y="393"/>
                  </a:lnTo>
                  <a:lnTo>
                    <a:pt x="338" y="386"/>
                  </a:lnTo>
                  <a:lnTo>
                    <a:pt x="340" y="382"/>
                  </a:lnTo>
                  <a:lnTo>
                    <a:pt x="319" y="370"/>
                  </a:lnTo>
                  <a:lnTo>
                    <a:pt x="307" y="370"/>
                  </a:lnTo>
                  <a:lnTo>
                    <a:pt x="290" y="360"/>
                  </a:lnTo>
                  <a:lnTo>
                    <a:pt x="262" y="363"/>
                  </a:lnTo>
                  <a:lnTo>
                    <a:pt x="241" y="370"/>
                  </a:lnTo>
                  <a:lnTo>
                    <a:pt x="224" y="374"/>
                  </a:lnTo>
                  <a:lnTo>
                    <a:pt x="208" y="374"/>
                  </a:lnTo>
                  <a:lnTo>
                    <a:pt x="191" y="384"/>
                  </a:lnTo>
                  <a:lnTo>
                    <a:pt x="177" y="389"/>
                  </a:lnTo>
                  <a:lnTo>
                    <a:pt x="175" y="398"/>
                  </a:lnTo>
                  <a:lnTo>
                    <a:pt x="167" y="405"/>
                  </a:lnTo>
                  <a:lnTo>
                    <a:pt x="153" y="408"/>
                  </a:lnTo>
                  <a:lnTo>
                    <a:pt x="144" y="408"/>
                  </a:lnTo>
                  <a:lnTo>
                    <a:pt x="130" y="405"/>
                  </a:lnTo>
                  <a:lnTo>
                    <a:pt x="118" y="408"/>
                  </a:lnTo>
                  <a:lnTo>
                    <a:pt x="106" y="408"/>
                  </a:lnTo>
                  <a:lnTo>
                    <a:pt x="97" y="417"/>
                  </a:lnTo>
                  <a:lnTo>
                    <a:pt x="92" y="417"/>
                  </a:lnTo>
                  <a:lnTo>
                    <a:pt x="85" y="422"/>
                  </a:lnTo>
                  <a:lnTo>
                    <a:pt x="75" y="429"/>
                  </a:lnTo>
                  <a:lnTo>
                    <a:pt x="63" y="429"/>
                  </a:lnTo>
                  <a:lnTo>
                    <a:pt x="54" y="429"/>
                  </a:lnTo>
                  <a:lnTo>
                    <a:pt x="35" y="415"/>
                  </a:lnTo>
                  <a:lnTo>
                    <a:pt x="28" y="412"/>
                  </a:lnTo>
                  <a:lnTo>
                    <a:pt x="28" y="401"/>
                  </a:lnTo>
                  <a:lnTo>
                    <a:pt x="35" y="398"/>
                  </a:lnTo>
                  <a:lnTo>
                    <a:pt x="37" y="393"/>
                  </a:lnTo>
                  <a:lnTo>
                    <a:pt x="37" y="386"/>
                  </a:lnTo>
                  <a:lnTo>
                    <a:pt x="40" y="374"/>
                  </a:lnTo>
                  <a:lnTo>
                    <a:pt x="37" y="363"/>
                  </a:lnTo>
                  <a:lnTo>
                    <a:pt x="30" y="344"/>
                  </a:lnTo>
                  <a:lnTo>
                    <a:pt x="28" y="332"/>
                  </a:lnTo>
                  <a:lnTo>
                    <a:pt x="28" y="322"/>
                  </a:lnTo>
                  <a:lnTo>
                    <a:pt x="21" y="311"/>
                  </a:lnTo>
                  <a:lnTo>
                    <a:pt x="21" y="306"/>
                  </a:lnTo>
                  <a:lnTo>
                    <a:pt x="14" y="299"/>
                  </a:lnTo>
                  <a:lnTo>
                    <a:pt x="11" y="285"/>
                  </a:lnTo>
                  <a:lnTo>
                    <a:pt x="2" y="268"/>
                  </a:lnTo>
                  <a:lnTo>
                    <a:pt x="0" y="261"/>
                  </a:lnTo>
                  <a:lnTo>
                    <a:pt x="7" y="268"/>
                  </a:lnTo>
                  <a:lnTo>
                    <a:pt x="2" y="254"/>
                  </a:lnTo>
                  <a:lnTo>
                    <a:pt x="9" y="258"/>
                  </a:lnTo>
                  <a:lnTo>
                    <a:pt x="14" y="266"/>
                  </a:lnTo>
                  <a:lnTo>
                    <a:pt x="14" y="256"/>
                  </a:lnTo>
                  <a:lnTo>
                    <a:pt x="7" y="242"/>
                  </a:lnTo>
                  <a:lnTo>
                    <a:pt x="4" y="237"/>
                  </a:lnTo>
                  <a:lnTo>
                    <a:pt x="2" y="230"/>
                  </a:lnTo>
                  <a:lnTo>
                    <a:pt x="2" y="221"/>
                  </a:lnTo>
                  <a:lnTo>
                    <a:pt x="7" y="216"/>
                  </a:lnTo>
                  <a:lnTo>
                    <a:pt x="9" y="206"/>
                  </a:lnTo>
                  <a:lnTo>
                    <a:pt x="7" y="197"/>
                  </a:lnTo>
                  <a:lnTo>
                    <a:pt x="14" y="185"/>
                  </a:lnTo>
                  <a:lnTo>
                    <a:pt x="14" y="199"/>
                  </a:lnTo>
                  <a:lnTo>
                    <a:pt x="21" y="185"/>
                  </a:lnTo>
                  <a:lnTo>
                    <a:pt x="35" y="180"/>
                  </a:lnTo>
                  <a:lnTo>
                    <a:pt x="42" y="173"/>
                  </a:lnTo>
                  <a:lnTo>
                    <a:pt x="54" y="166"/>
                  </a:lnTo>
                  <a:lnTo>
                    <a:pt x="63" y="166"/>
                  </a:lnTo>
                  <a:lnTo>
                    <a:pt x="66" y="166"/>
                  </a:lnTo>
                  <a:lnTo>
                    <a:pt x="80" y="161"/>
                  </a:lnTo>
                  <a:lnTo>
                    <a:pt x="89" y="159"/>
                  </a:lnTo>
                  <a:lnTo>
                    <a:pt x="92" y="154"/>
                  </a:lnTo>
                  <a:lnTo>
                    <a:pt x="97" y="154"/>
                  </a:lnTo>
                  <a:lnTo>
                    <a:pt x="106" y="154"/>
                  </a:lnTo>
                  <a:lnTo>
                    <a:pt x="123" y="150"/>
                  </a:lnTo>
                  <a:lnTo>
                    <a:pt x="130" y="143"/>
                  </a:lnTo>
                  <a:lnTo>
                    <a:pt x="134" y="133"/>
                  </a:lnTo>
                  <a:lnTo>
                    <a:pt x="144" y="124"/>
                  </a:lnTo>
                  <a:lnTo>
                    <a:pt x="146" y="116"/>
                  </a:lnTo>
                  <a:lnTo>
                    <a:pt x="146" y="107"/>
                  </a:lnTo>
                  <a:lnTo>
                    <a:pt x="158" y="93"/>
                  </a:lnTo>
                  <a:lnTo>
                    <a:pt x="163" y="107"/>
                  </a:lnTo>
                  <a:lnTo>
                    <a:pt x="170" y="105"/>
                  </a:lnTo>
                  <a:lnTo>
                    <a:pt x="165" y="98"/>
                  </a:lnTo>
                  <a:lnTo>
                    <a:pt x="170" y="88"/>
                  </a:lnTo>
                  <a:lnTo>
                    <a:pt x="177" y="93"/>
                  </a:lnTo>
                  <a:lnTo>
                    <a:pt x="179" y="81"/>
                  </a:lnTo>
                  <a:lnTo>
                    <a:pt x="189" y="71"/>
                  </a:lnTo>
                  <a:lnTo>
                    <a:pt x="191" y="64"/>
                  </a:lnTo>
                  <a:lnTo>
                    <a:pt x="201" y="62"/>
                  </a:lnTo>
                  <a:lnTo>
                    <a:pt x="201" y="57"/>
                  </a:lnTo>
                  <a:lnTo>
                    <a:pt x="208" y="60"/>
                  </a:lnTo>
                  <a:lnTo>
                    <a:pt x="208" y="55"/>
                  </a:lnTo>
                  <a:lnTo>
                    <a:pt x="215" y="53"/>
                  </a:lnTo>
                  <a:lnTo>
                    <a:pt x="222" y="50"/>
                  </a:lnTo>
                  <a:lnTo>
                    <a:pt x="234" y="60"/>
                  </a:lnTo>
                  <a:lnTo>
                    <a:pt x="243" y="69"/>
                  </a:lnTo>
                  <a:lnTo>
                    <a:pt x="255" y="69"/>
                  </a:lnTo>
                  <a:lnTo>
                    <a:pt x="264" y="69"/>
                  </a:lnTo>
                  <a:lnTo>
                    <a:pt x="260" y="62"/>
                  </a:lnTo>
                  <a:lnTo>
                    <a:pt x="269" y="48"/>
                  </a:lnTo>
                  <a:lnTo>
                    <a:pt x="276" y="43"/>
                  </a:lnTo>
                  <a:lnTo>
                    <a:pt x="274" y="38"/>
                  </a:lnTo>
                  <a:lnTo>
                    <a:pt x="281" y="29"/>
                  </a:lnTo>
                  <a:lnTo>
                    <a:pt x="290" y="24"/>
                  </a:lnTo>
                  <a:lnTo>
                    <a:pt x="298" y="27"/>
                  </a:lnTo>
                  <a:lnTo>
                    <a:pt x="312" y="22"/>
                  </a:lnTo>
                  <a:lnTo>
                    <a:pt x="312" y="15"/>
                  </a:lnTo>
                  <a:lnTo>
                    <a:pt x="300" y="10"/>
                  </a:lnTo>
                  <a:lnTo>
                    <a:pt x="309" y="8"/>
                  </a:lnTo>
                  <a:lnTo>
                    <a:pt x="319" y="10"/>
                  </a:lnTo>
                  <a:lnTo>
                    <a:pt x="328" y="17"/>
                  </a:lnTo>
                  <a:lnTo>
                    <a:pt x="343" y="22"/>
                  </a:lnTo>
                  <a:lnTo>
                    <a:pt x="345" y="19"/>
                  </a:lnTo>
                  <a:lnTo>
                    <a:pt x="357" y="24"/>
                  </a:lnTo>
                  <a:lnTo>
                    <a:pt x="366" y="19"/>
                  </a:lnTo>
                  <a:lnTo>
                    <a:pt x="371" y="22"/>
                  </a:lnTo>
                  <a:lnTo>
                    <a:pt x="376" y="19"/>
                  </a:lnTo>
                  <a:lnTo>
                    <a:pt x="383" y="27"/>
                  </a:lnTo>
                  <a:lnTo>
                    <a:pt x="378" y="36"/>
                  </a:lnTo>
                  <a:lnTo>
                    <a:pt x="371" y="43"/>
                  </a:lnTo>
                  <a:lnTo>
                    <a:pt x="366" y="43"/>
                  </a:lnTo>
                  <a:lnTo>
                    <a:pt x="369" y="50"/>
                  </a:lnTo>
                  <a:lnTo>
                    <a:pt x="364" y="57"/>
                  </a:lnTo>
                  <a:lnTo>
                    <a:pt x="359" y="64"/>
                  </a:lnTo>
                  <a:lnTo>
                    <a:pt x="359" y="71"/>
                  </a:lnTo>
                  <a:lnTo>
                    <a:pt x="371" y="81"/>
                  </a:lnTo>
                  <a:lnTo>
                    <a:pt x="385" y="86"/>
                  </a:lnTo>
                  <a:lnTo>
                    <a:pt x="392" y="90"/>
                  </a:lnTo>
                  <a:lnTo>
                    <a:pt x="404" y="100"/>
                  </a:lnTo>
                  <a:lnTo>
                    <a:pt x="409" y="100"/>
                  </a:lnTo>
                  <a:lnTo>
                    <a:pt x="418" y="105"/>
                  </a:lnTo>
                  <a:lnTo>
                    <a:pt x="421" y="109"/>
                  </a:lnTo>
                  <a:lnTo>
                    <a:pt x="435" y="116"/>
                  </a:lnTo>
                  <a:lnTo>
                    <a:pt x="447" y="109"/>
                  </a:lnTo>
                  <a:lnTo>
                    <a:pt x="449" y="102"/>
                  </a:lnTo>
                  <a:lnTo>
                    <a:pt x="454" y="93"/>
                  </a:lnTo>
                  <a:lnTo>
                    <a:pt x="454" y="83"/>
                  </a:lnTo>
                  <a:lnTo>
                    <a:pt x="458" y="71"/>
                  </a:lnTo>
                  <a:lnTo>
                    <a:pt x="456" y="62"/>
                  </a:lnTo>
                  <a:lnTo>
                    <a:pt x="458" y="60"/>
                  </a:lnTo>
                  <a:lnTo>
                    <a:pt x="456" y="48"/>
                  </a:lnTo>
                  <a:lnTo>
                    <a:pt x="458" y="36"/>
                  </a:lnTo>
                  <a:lnTo>
                    <a:pt x="463" y="34"/>
                  </a:lnTo>
                  <a:lnTo>
                    <a:pt x="458" y="27"/>
                  </a:lnTo>
                  <a:lnTo>
                    <a:pt x="463" y="19"/>
                  </a:lnTo>
                  <a:lnTo>
                    <a:pt x="468" y="10"/>
                  </a:lnTo>
                  <a:lnTo>
                    <a:pt x="468" y="5"/>
                  </a:lnTo>
                  <a:lnTo>
                    <a:pt x="473" y="0"/>
                  </a:lnTo>
                  <a:lnTo>
                    <a:pt x="477" y="8"/>
                  </a:lnTo>
                  <a:lnTo>
                    <a:pt x="480" y="17"/>
                  </a:lnTo>
                  <a:lnTo>
                    <a:pt x="482" y="19"/>
                  </a:lnTo>
                  <a:lnTo>
                    <a:pt x="482" y="27"/>
                  </a:lnTo>
                  <a:lnTo>
                    <a:pt x="489" y="34"/>
                  </a:lnTo>
                  <a:lnTo>
                    <a:pt x="489" y="43"/>
                  </a:lnTo>
                  <a:lnTo>
                    <a:pt x="489" y="5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95" name="Freeform 20">
              <a:extLst>
                <a:ext uri="{FF2B5EF4-FFF2-40B4-BE49-F238E27FC236}">
                  <a16:creationId xmlns:a16="http://schemas.microsoft.com/office/drawing/2014/main" id="{76A7D5D9-F506-4D3F-1470-07C9A5B5C703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7974" y="2185161"/>
              <a:ext cx="132453" cy="66663"/>
            </a:xfrm>
            <a:custGeom>
              <a:avLst/>
              <a:gdLst>
                <a:gd name="T0" fmla="*/ 94 w 123"/>
                <a:gd name="T1" fmla="*/ 0 h 61"/>
                <a:gd name="T2" fmla="*/ 94 w 123"/>
                <a:gd name="T3" fmla="*/ 0 h 61"/>
                <a:gd name="T4" fmla="*/ 109 w 123"/>
                <a:gd name="T5" fmla="*/ 7 h 61"/>
                <a:gd name="T6" fmla="*/ 113 w 123"/>
                <a:gd name="T7" fmla="*/ 7 h 61"/>
                <a:gd name="T8" fmla="*/ 123 w 123"/>
                <a:gd name="T9" fmla="*/ 12 h 61"/>
                <a:gd name="T10" fmla="*/ 120 w 123"/>
                <a:gd name="T11" fmla="*/ 14 h 61"/>
                <a:gd name="T12" fmla="*/ 123 w 123"/>
                <a:gd name="T13" fmla="*/ 23 h 61"/>
                <a:gd name="T14" fmla="*/ 120 w 123"/>
                <a:gd name="T15" fmla="*/ 33 h 61"/>
                <a:gd name="T16" fmla="*/ 113 w 123"/>
                <a:gd name="T17" fmla="*/ 33 h 61"/>
                <a:gd name="T18" fmla="*/ 116 w 123"/>
                <a:gd name="T19" fmla="*/ 38 h 61"/>
                <a:gd name="T20" fmla="*/ 111 w 123"/>
                <a:gd name="T21" fmla="*/ 52 h 61"/>
                <a:gd name="T22" fmla="*/ 106 w 123"/>
                <a:gd name="T23" fmla="*/ 57 h 61"/>
                <a:gd name="T24" fmla="*/ 92 w 123"/>
                <a:gd name="T25" fmla="*/ 57 h 61"/>
                <a:gd name="T26" fmla="*/ 85 w 123"/>
                <a:gd name="T27" fmla="*/ 61 h 61"/>
                <a:gd name="T28" fmla="*/ 71 w 123"/>
                <a:gd name="T29" fmla="*/ 61 h 61"/>
                <a:gd name="T30" fmla="*/ 47 w 123"/>
                <a:gd name="T31" fmla="*/ 54 h 61"/>
                <a:gd name="T32" fmla="*/ 45 w 123"/>
                <a:gd name="T33" fmla="*/ 47 h 61"/>
                <a:gd name="T34" fmla="*/ 28 w 123"/>
                <a:gd name="T35" fmla="*/ 52 h 61"/>
                <a:gd name="T36" fmla="*/ 26 w 123"/>
                <a:gd name="T37" fmla="*/ 57 h 61"/>
                <a:gd name="T38" fmla="*/ 16 w 123"/>
                <a:gd name="T39" fmla="*/ 52 h 61"/>
                <a:gd name="T40" fmla="*/ 9 w 123"/>
                <a:gd name="T41" fmla="*/ 52 h 61"/>
                <a:gd name="T42" fmla="*/ 0 w 123"/>
                <a:gd name="T43" fmla="*/ 47 h 61"/>
                <a:gd name="T44" fmla="*/ 2 w 123"/>
                <a:gd name="T45" fmla="*/ 40 h 61"/>
                <a:gd name="T46" fmla="*/ 2 w 123"/>
                <a:gd name="T47" fmla="*/ 38 h 61"/>
                <a:gd name="T48" fmla="*/ 7 w 123"/>
                <a:gd name="T49" fmla="*/ 35 h 61"/>
                <a:gd name="T50" fmla="*/ 16 w 123"/>
                <a:gd name="T51" fmla="*/ 42 h 61"/>
                <a:gd name="T52" fmla="*/ 19 w 123"/>
                <a:gd name="T53" fmla="*/ 35 h 61"/>
                <a:gd name="T54" fmla="*/ 33 w 123"/>
                <a:gd name="T55" fmla="*/ 38 h 61"/>
                <a:gd name="T56" fmla="*/ 45 w 123"/>
                <a:gd name="T57" fmla="*/ 33 h 61"/>
                <a:gd name="T58" fmla="*/ 52 w 123"/>
                <a:gd name="T59" fmla="*/ 33 h 61"/>
                <a:gd name="T60" fmla="*/ 57 w 123"/>
                <a:gd name="T61" fmla="*/ 38 h 61"/>
                <a:gd name="T62" fmla="*/ 59 w 123"/>
                <a:gd name="T63" fmla="*/ 35 h 61"/>
                <a:gd name="T64" fmla="*/ 57 w 123"/>
                <a:gd name="T65" fmla="*/ 19 h 61"/>
                <a:gd name="T66" fmla="*/ 61 w 123"/>
                <a:gd name="T67" fmla="*/ 14 h 61"/>
                <a:gd name="T68" fmla="*/ 68 w 123"/>
                <a:gd name="T69" fmla="*/ 5 h 61"/>
                <a:gd name="T70" fmla="*/ 80 w 123"/>
                <a:gd name="T71" fmla="*/ 12 h 61"/>
                <a:gd name="T72" fmla="*/ 90 w 123"/>
                <a:gd name="T73" fmla="*/ 2 h 61"/>
                <a:gd name="T74" fmla="*/ 94 w 123"/>
                <a:gd name="T7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61">
                  <a:moveTo>
                    <a:pt x="94" y="0"/>
                  </a:moveTo>
                  <a:lnTo>
                    <a:pt x="94" y="0"/>
                  </a:lnTo>
                  <a:lnTo>
                    <a:pt x="109" y="7"/>
                  </a:lnTo>
                  <a:lnTo>
                    <a:pt x="113" y="7"/>
                  </a:lnTo>
                  <a:lnTo>
                    <a:pt x="123" y="12"/>
                  </a:lnTo>
                  <a:lnTo>
                    <a:pt x="120" y="14"/>
                  </a:lnTo>
                  <a:lnTo>
                    <a:pt x="123" y="23"/>
                  </a:lnTo>
                  <a:lnTo>
                    <a:pt x="120" y="33"/>
                  </a:lnTo>
                  <a:lnTo>
                    <a:pt x="113" y="33"/>
                  </a:lnTo>
                  <a:lnTo>
                    <a:pt x="116" y="38"/>
                  </a:lnTo>
                  <a:lnTo>
                    <a:pt x="111" y="52"/>
                  </a:lnTo>
                  <a:lnTo>
                    <a:pt x="106" y="57"/>
                  </a:lnTo>
                  <a:lnTo>
                    <a:pt x="92" y="57"/>
                  </a:lnTo>
                  <a:lnTo>
                    <a:pt x="85" y="61"/>
                  </a:lnTo>
                  <a:lnTo>
                    <a:pt x="71" y="61"/>
                  </a:lnTo>
                  <a:lnTo>
                    <a:pt x="47" y="54"/>
                  </a:lnTo>
                  <a:lnTo>
                    <a:pt x="45" y="47"/>
                  </a:lnTo>
                  <a:lnTo>
                    <a:pt x="28" y="52"/>
                  </a:lnTo>
                  <a:lnTo>
                    <a:pt x="26" y="57"/>
                  </a:lnTo>
                  <a:lnTo>
                    <a:pt x="16" y="52"/>
                  </a:lnTo>
                  <a:lnTo>
                    <a:pt x="9" y="52"/>
                  </a:lnTo>
                  <a:lnTo>
                    <a:pt x="0" y="47"/>
                  </a:lnTo>
                  <a:lnTo>
                    <a:pt x="2" y="40"/>
                  </a:lnTo>
                  <a:lnTo>
                    <a:pt x="2" y="38"/>
                  </a:lnTo>
                  <a:lnTo>
                    <a:pt x="7" y="35"/>
                  </a:lnTo>
                  <a:lnTo>
                    <a:pt x="16" y="42"/>
                  </a:lnTo>
                  <a:lnTo>
                    <a:pt x="19" y="35"/>
                  </a:lnTo>
                  <a:lnTo>
                    <a:pt x="33" y="38"/>
                  </a:lnTo>
                  <a:lnTo>
                    <a:pt x="45" y="33"/>
                  </a:lnTo>
                  <a:lnTo>
                    <a:pt x="52" y="33"/>
                  </a:lnTo>
                  <a:lnTo>
                    <a:pt x="57" y="38"/>
                  </a:lnTo>
                  <a:lnTo>
                    <a:pt x="59" y="35"/>
                  </a:lnTo>
                  <a:lnTo>
                    <a:pt x="57" y="19"/>
                  </a:lnTo>
                  <a:lnTo>
                    <a:pt x="61" y="14"/>
                  </a:lnTo>
                  <a:lnTo>
                    <a:pt x="68" y="5"/>
                  </a:lnTo>
                  <a:lnTo>
                    <a:pt x="80" y="12"/>
                  </a:lnTo>
                  <a:lnTo>
                    <a:pt x="90" y="2"/>
                  </a:lnTo>
                  <a:lnTo>
                    <a:pt x="94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96" name="Freeform 26">
              <a:extLst>
                <a:ext uri="{FF2B5EF4-FFF2-40B4-BE49-F238E27FC236}">
                  <a16:creationId xmlns:a16="http://schemas.microsoft.com/office/drawing/2014/main" id="{54EDD796-3B65-2EF3-2EF5-E8F34640D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8444" y="2117406"/>
              <a:ext cx="60304" cy="54640"/>
            </a:xfrm>
            <a:custGeom>
              <a:avLst/>
              <a:gdLst>
                <a:gd name="T0" fmla="*/ 40 w 56"/>
                <a:gd name="T1" fmla="*/ 0 h 50"/>
                <a:gd name="T2" fmla="*/ 40 w 56"/>
                <a:gd name="T3" fmla="*/ 0 h 50"/>
                <a:gd name="T4" fmla="*/ 49 w 56"/>
                <a:gd name="T5" fmla="*/ 12 h 50"/>
                <a:gd name="T6" fmla="*/ 56 w 56"/>
                <a:gd name="T7" fmla="*/ 17 h 50"/>
                <a:gd name="T8" fmla="*/ 56 w 56"/>
                <a:gd name="T9" fmla="*/ 36 h 50"/>
                <a:gd name="T10" fmla="*/ 52 w 56"/>
                <a:gd name="T11" fmla="*/ 36 h 50"/>
                <a:gd name="T12" fmla="*/ 49 w 56"/>
                <a:gd name="T13" fmla="*/ 50 h 50"/>
                <a:gd name="T14" fmla="*/ 35 w 56"/>
                <a:gd name="T15" fmla="*/ 38 h 50"/>
                <a:gd name="T16" fmla="*/ 28 w 56"/>
                <a:gd name="T17" fmla="*/ 40 h 50"/>
                <a:gd name="T18" fmla="*/ 16 w 56"/>
                <a:gd name="T19" fmla="*/ 29 h 50"/>
                <a:gd name="T20" fmla="*/ 9 w 56"/>
                <a:gd name="T21" fmla="*/ 19 h 50"/>
                <a:gd name="T22" fmla="*/ 2 w 56"/>
                <a:gd name="T23" fmla="*/ 19 h 50"/>
                <a:gd name="T24" fmla="*/ 0 w 56"/>
                <a:gd name="T25" fmla="*/ 10 h 50"/>
                <a:gd name="T26" fmla="*/ 11 w 56"/>
                <a:gd name="T27" fmla="*/ 5 h 50"/>
                <a:gd name="T28" fmla="*/ 23 w 56"/>
                <a:gd name="T29" fmla="*/ 7 h 50"/>
                <a:gd name="T30" fmla="*/ 40 w 56"/>
                <a:gd name="T3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6" h="50">
                  <a:moveTo>
                    <a:pt x="40" y="0"/>
                  </a:moveTo>
                  <a:lnTo>
                    <a:pt x="40" y="0"/>
                  </a:lnTo>
                  <a:lnTo>
                    <a:pt x="49" y="12"/>
                  </a:lnTo>
                  <a:lnTo>
                    <a:pt x="56" y="17"/>
                  </a:lnTo>
                  <a:lnTo>
                    <a:pt x="56" y="36"/>
                  </a:lnTo>
                  <a:lnTo>
                    <a:pt x="52" y="36"/>
                  </a:lnTo>
                  <a:lnTo>
                    <a:pt x="49" y="50"/>
                  </a:lnTo>
                  <a:lnTo>
                    <a:pt x="35" y="38"/>
                  </a:lnTo>
                  <a:lnTo>
                    <a:pt x="28" y="40"/>
                  </a:lnTo>
                  <a:lnTo>
                    <a:pt x="16" y="29"/>
                  </a:lnTo>
                  <a:lnTo>
                    <a:pt x="9" y="19"/>
                  </a:lnTo>
                  <a:lnTo>
                    <a:pt x="2" y="19"/>
                  </a:lnTo>
                  <a:lnTo>
                    <a:pt x="0" y="10"/>
                  </a:lnTo>
                  <a:lnTo>
                    <a:pt x="11" y="5"/>
                  </a:lnTo>
                  <a:lnTo>
                    <a:pt x="23" y="7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97" name="Freeform 34">
              <a:extLst>
                <a:ext uri="{FF2B5EF4-FFF2-40B4-BE49-F238E27FC236}">
                  <a16:creationId xmlns:a16="http://schemas.microsoft.com/office/drawing/2014/main" id="{86B51C60-8247-D969-3264-134BD3EBA09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4115" y="2308650"/>
              <a:ext cx="107685" cy="69941"/>
            </a:xfrm>
            <a:custGeom>
              <a:avLst/>
              <a:gdLst>
                <a:gd name="T0" fmla="*/ 5 w 100"/>
                <a:gd name="T1" fmla="*/ 0 h 64"/>
                <a:gd name="T2" fmla="*/ 5 w 100"/>
                <a:gd name="T3" fmla="*/ 0 h 64"/>
                <a:gd name="T4" fmla="*/ 10 w 100"/>
                <a:gd name="T5" fmla="*/ 10 h 64"/>
                <a:gd name="T6" fmla="*/ 15 w 100"/>
                <a:gd name="T7" fmla="*/ 8 h 64"/>
                <a:gd name="T8" fmla="*/ 26 w 100"/>
                <a:gd name="T9" fmla="*/ 10 h 64"/>
                <a:gd name="T10" fmla="*/ 50 w 100"/>
                <a:gd name="T11" fmla="*/ 12 h 64"/>
                <a:gd name="T12" fmla="*/ 59 w 100"/>
                <a:gd name="T13" fmla="*/ 8 h 64"/>
                <a:gd name="T14" fmla="*/ 78 w 100"/>
                <a:gd name="T15" fmla="*/ 0 h 64"/>
                <a:gd name="T16" fmla="*/ 90 w 100"/>
                <a:gd name="T17" fmla="*/ 10 h 64"/>
                <a:gd name="T18" fmla="*/ 100 w 100"/>
                <a:gd name="T19" fmla="*/ 12 h 64"/>
                <a:gd name="T20" fmla="*/ 90 w 100"/>
                <a:gd name="T21" fmla="*/ 22 h 64"/>
                <a:gd name="T22" fmla="*/ 85 w 100"/>
                <a:gd name="T23" fmla="*/ 36 h 64"/>
                <a:gd name="T24" fmla="*/ 90 w 100"/>
                <a:gd name="T25" fmla="*/ 48 h 64"/>
                <a:gd name="T26" fmla="*/ 76 w 100"/>
                <a:gd name="T27" fmla="*/ 45 h 64"/>
                <a:gd name="T28" fmla="*/ 59 w 100"/>
                <a:gd name="T29" fmla="*/ 52 h 64"/>
                <a:gd name="T30" fmla="*/ 59 w 100"/>
                <a:gd name="T31" fmla="*/ 62 h 64"/>
                <a:gd name="T32" fmla="*/ 45 w 100"/>
                <a:gd name="T33" fmla="*/ 64 h 64"/>
                <a:gd name="T34" fmla="*/ 33 w 100"/>
                <a:gd name="T35" fmla="*/ 57 h 64"/>
                <a:gd name="T36" fmla="*/ 22 w 100"/>
                <a:gd name="T37" fmla="*/ 62 h 64"/>
                <a:gd name="T38" fmla="*/ 10 w 100"/>
                <a:gd name="T39" fmla="*/ 62 h 64"/>
                <a:gd name="T40" fmla="*/ 7 w 100"/>
                <a:gd name="T41" fmla="*/ 48 h 64"/>
                <a:gd name="T42" fmla="*/ 0 w 100"/>
                <a:gd name="T43" fmla="*/ 43 h 64"/>
                <a:gd name="T44" fmla="*/ 3 w 100"/>
                <a:gd name="T45" fmla="*/ 38 h 64"/>
                <a:gd name="T46" fmla="*/ 0 w 100"/>
                <a:gd name="T47" fmla="*/ 36 h 64"/>
                <a:gd name="T48" fmla="*/ 3 w 100"/>
                <a:gd name="T49" fmla="*/ 29 h 64"/>
                <a:gd name="T50" fmla="*/ 10 w 100"/>
                <a:gd name="T51" fmla="*/ 22 h 64"/>
                <a:gd name="T52" fmla="*/ 0 w 100"/>
                <a:gd name="T53" fmla="*/ 12 h 64"/>
                <a:gd name="T54" fmla="*/ 0 w 100"/>
                <a:gd name="T55" fmla="*/ 5 h 64"/>
                <a:gd name="T56" fmla="*/ 5 w 100"/>
                <a:gd name="T5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0" h="64">
                  <a:moveTo>
                    <a:pt x="5" y="0"/>
                  </a:moveTo>
                  <a:lnTo>
                    <a:pt x="5" y="0"/>
                  </a:lnTo>
                  <a:lnTo>
                    <a:pt x="10" y="10"/>
                  </a:lnTo>
                  <a:lnTo>
                    <a:pt x="15" y="8"/>
                  </a:lnTo>
                  <a:lnTo>
                    <a:pt x="26" y="10"/>
                  </a:lnTo>
                  <a:lnTo>
                    <a:pt x="50" y="12"/>
                  </a:lnTo>
                  <a:lnTo>
                    <a:pt x="59" y="8"/>
                  </a:lnTo>
                  <a:lnTo>
                    <a:pt x="78" y="0"/>
                  </a:lnTo>
                  <a:lnTo>
                    <a:pt x="90" y="10"/>
                  </a:lnTo>
                  <a:lnTo>
                    <a:pt x="100" y="12"/>
                  </a:lnTo>
                  <a:lnTo>
                    <a:pt x="90" y="22"/>
                  </a:lnTo>
                  <a:lnTo>
                    <a:pt x="85" y="36"/>
                  </a:lnTo>
                  <a:lnTo>
                    <a:pt x="90" y="48"/>
                  </a:lnTo>
                  <a:lnTo>
                    <a:pt x="76" y="45"/>
                  </a:lnTo>
                  <a:lnTo>
                    <a:pt x="59" y="52"/>
                  </a:lnTo>
                  <a:lnTo>
                    <a:pt x="59" y="62"/>
                  </a:lnTo>
                  <a:lnTo>
                    <a:pt x="45" y="64"/>
                  </a:lnTo>
                  <a:lnTo>
                    <a:pt x="33" y="57"/>
                  </a:lnTo>
                  <a:lnTo>
                    <a:pt x="22" y="62"/>
                  </a:lnTo>
                  <a:lnTo>
                    <a:pt x="10" y="62"/>
                  </a:lnTo>
                  <a:lnTo>
                    <a:pt x="7" y="48"/>
                  </a:lnTo>
                  <a:lnTo>
                    <a:pt x="0" y="43"/>
                  </a:lnTo>
                  <a:lnTo>
                    <a:pt x="3" y="38"/>
                  </a:lnTo>
                  <a:lnTo>
                    <a:pt x="0" y="36"/>
                  </a:lnTo>
                  <a:lnTo>
                    <a:pt x="3" y="29"/>
                  </a:lnTo>
                  <a:lnTo>
                    <a:pt x="10" y="22"/>
                  </a:lnTo>
                  <a:lnTo>
                    <a:pt x="0" y="12"/>
                  </a:lnTo>
                  <a:lnTo>
                    <a:pt x="0" y="5"/>
                  </a:lnTo>
                  <a:lnTo>
                    <a:pt x="5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98" name="Freeform 36">
              <a:extLst>
                <a:ext uri="{FF2B5EF4-FFF2-40B4-BE49-F238E27FC236}">
                  <a16:creationId xmlns:a16="http://schemas.microsoft.com/office/drawing/2014/main" id="{C59560E8-062C-D4F7-16B6-386D13FF38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6995" y="2684581"/>
              <a:ext cx="33383" cy="61198"/>
            </a:xfrm>
            <a:custGeom>
              <a:avLst/>
              <a:gdLst>
                <a:gd name="T0" fmla="*/ 23 w 31"/>
                <a:gd name="T1" fmla="*/ 56 h 56"/>
                <a:gd name="T2" fmla="*/ 23 w 31"/>
                <a:gd name="T3" fmla="*/ 56 h 56"/>
                <a:gd name="T4" fmla="*/ 19 w 31"/>
                <a:gd name="T5" fmla="*/ 56 h 56"/>
                <a:gd name="T6" fmla="*/ 14 w 31"/>
                <a:gd name="T7" fmla="*/ 47 h 56"/>
                <a:gd name="T8" fmla="*/ 9 w 31"/>
                <a:gd name="T9" fmla="*/ 42 h 56"/>
                <a:gd name="T10" fmla="*/ 12 w 31"/>
                <a:gd name="T11" fmla="*/ 30 h 56"/>
                <a:gd name="T12" fmla="*/ 16 w 31"/>
                <a:gd name="T13" fmla="*/ 33 h 56"/>
                <a:gd name="T14" fmla="*/ 23 w 31"/>
                <a:gd name="T15" fmla="*/ 47 h 56"/>
                <a:gd name="T16" fmla="*/ 23 w 31"/>
                <a:gd name="T17" fmla="*/ 56 h 56"/>
                <a:gd name="T18" fmla="*/ 19 w 31"/>
                <a:gd name="T19" fmla="*/ 7 h 56"/>
                <a:gd name="T20" fmla="*/ 19 w 31"/>
                <a:gd name="T21" fmla="*/ 7 h 56"/>
                <a:gd name="T22" fmla="*/ 0 w 31"/>
                <a:gd name="T23" fmla="*/ 9 h 56"/>
                <a:gd name="T24" fmla="*/ 0 w 31"/>
                <a:gd name="T25" fmla="*/ 2 h 56"/>
                <a:gd name="T26" fmla="*/ 7 w 31"/>
                <a:gd name="T27" fmla="*/ 2 h 56"/>
                <a:gd name="T28" fmla="*/ 16 w 31"/>
                <a:gd name="T29" fmla="*/ 2 h 56"/>
                <a:gd name="T30" fmla="*/ 19 w 31"/>
                <a:gd name="T31" fmla="*/ 7 h 56"/>
                <a:gd name="T32" fmla="*/ 31 w 31"/>
                <a:gd name="T33" fmla="*/ 7 h 56"/>
                <a:gd name="T34" fmla="*/ 31 w 31"/>
                <a:gd name="T35" fmla="*/ 7 h 56"/>
                <a:gd name="T36" fmla="*/ 28 w 31"/>
                <a:gd name="T37" fmla="*/ 19 h 56"/>
                <a:gd name="T38" fmla="*/ 26 w 31"/>
                <a:gd name="T39" fmla="*/ 16 h 56"/>
                <a:gd name="T40" fmla="*/ 26 w 31"/>
                <a:gd name="T41" fmla="*/ 7 h 56"/>
                <a:gd name="T42" fmla="*/ 19 w 31"/>
                <a:gd name="T43" fmla="*/ 0 h 56"/>
                <a:gd name="T44" fmla="*/ 19 w 31"/>
                <a:gd name="T45" fmla="*/ 0 h 56"/>
                <a:gd name="T46" fmla="*/ 31 w 31"/>
                <a:gd name="T47" fmla="*/ 7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" h="56">
                  <a:moveTo>
                    <a:pt x="23" y="56"/>
                  </a:moveTo>
                  <a:lnTo>
                    <a:pt x="23" y="56"/>
                  </a:lnTo>
                  <a:lnTo>
                    <a:pt x="19" y="56"/>
                  </a:lnTo>
                  <a:lnTo>
                    <a:pt x="14" y="47"/>
                  </a:lnTo>
                  <a:lnTo>
                    <a:pt x="9" y="42"/>
                  </a:lnTo>
                  <a:lnTo>
                    <a:pt x="12" y="30"/>
                  </a:lnTo>
                  <a:lnTo>
                    <a:pt x="16" y="33"/>
                  </a:lnTo>
                  <a:lnTo>
                    <a:pt x="23" y="47"/>
                  </a:lnTo>
                  <a:lnTo>
                    <a:pt x="23" y="56"/>
                  </a:lnTo>
                  <a:close/>
                  <a:moveTo>
                    <a:pt x="19" y="7"/>
                  </a:moveTo>
                  <a:lnTo>
                    <a:pt x="19" y="7"/>
                  </a:lnTo>
                  <a:lnTo>
                    <a:pt x="0" y="9"/>
                  </a:lnTo>
                  <a:lnTo>
                    <a:pt x="0" y="2"/>
                  </a:lnTo>
                  <a:lnTo>
                    <a:pt x="7" y="2"/>
                  </a:lnTo>
                  <a:lnTo>
                    <a:pt x="16" y="2"/>
                  </a:lnTo>
                  <a:lnTo>
                    <a:pt x="19" y="7"/>
                  </a:lnTo>
                  <a:close/>
                  <a:moveTo>
                    <a:pt x="31" y="7"/>
                  </a:moveTo>
                  <a:lnTo>
                    <a:pt x="31" y="7"/>
                  </a:lnTo>
                  <a:lnTo>
                    <a:pt x="28" y="19"/>
                  </a:lnTo>
                  <a:lnTo>
                    <a:pt x="26" y="16"/>
                  </a:lnTo>
                  <a:lnTo>
                    <a:pt x="26" y="7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31" y="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99" name="Freeform 38">
              <a:extLst>
                <a:ext uri="{FF2B5EF4-FFF2-40B4-BE49-F238E27FC236}">
                  <a16:creationId xmlns:a16="http://schemas.microsoft.com/office/drawing/2014/main" id="{BE42701E-B41B-183F-1A3C-26267E8BA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7815" y="2283516"/>
              <a:ext cx="67844" cy="62291"/>
            </a:xfrm>
            <a:custGeom>
              <a:avLst/>
              <a:gdLst>
                <a:gd name="T0" fmla="*/ 21 w 63"/>
                <a:gd name="T1" fmla="*/ 0 h 57"/>
                <a:gd name="T2" fmla="*/ 21 w 63"/>
                <a:gd name="T3" fmla="*/ 0 h 57"/>
                <a:gd name="T4" fmla="*/ 35 w 63"/>
                <a:gd name="T5" fmla="*/ 4 h 57"/>
                <a:gd name="T6" fmla="*/ 44 w 63"/>
                <a:gd name="T7" fmla="*/ 4 h 57"/>
                <a:gd name="T8" fmla="*/ 52 w 63"/>
                <a:gd name="T9" fmla="*/ 9 h 57"/>
                <a:gd name="T10" fmla="*/ 59 w 63"/>
                <a:gd name="T11" fmla="*/ 9 h 57"/>
                <a:gd name="T12" fmla="*/ 54 w 63"/>
                <a:gd name="T13" fmla="*/ 19 h 57"/>
                <a:gd name="T14" fmla="*/ 63 w 63"/>
                <a:gd name="T15" fmla="*/ 28 h 57"/>
                <a:gd name="T16" fmla="*/ 61 w 63"/>
                <a:gd name="T17" fmla="*/ 38 h 57"/>
                <a:gd name="T18" fmla="*/ 56 w 63"/>
                <a:gd name="T19" fmla="*/ 38 h 57"/>
                <a:gd name="T20" fmla="*/ 54 w 63"/>
                <a:gd name="T21" fmla="*/ 40 h 57"/>
                <a:gd name="T22" fmla="*/ 47 w 63"/>
                <a:gd name="T23" fmla="*/ 45 h 57"/>
                <a:gd name="T24" fmla="*/ 44 w 63"/>
                <a:gd name="T25" fmla="*/ 57 h 57"/>
                <a:gd name="T26" fmla="*/ 30 w 63"/>
                <a:gd name="T27" fmla="*/ 49 h 57"/>
                <a:gd name="T28" fmla="*/ 26 w 63"/>
                <a:gd name="T29" fmla="*/ 40 h 57"/>
                <a:gd name="T30" fmla="*/ 18 w 63"/>
                <a:gd name="T31" fmla="*/ 35 h 57"/>
                <a:gd name="T32" fmla="*/ 11 w 63"/>
                <a:gd name="T33" fmla="*/ 28 h 57"/>
                <a:gd name="T34" fmla="*/ 9 w 63"/>
                <a:gd name="T35" fmla="*/ 21 h 57"/>
                <a:gd name="T36" fmla="*/ 0 w 63"/>
                <a:gd name="T37" fmla="*/ 9 h 57"/>
                <a:gd name="T38" fmla="*/ 4 w 63"/>
                <a:gd name="T39" fmla="*/ 0 h 57"/>
                <a:gd name="T40" fmla="*/ 9 w 63"/>
                <a:gd name="T41" fmla="*/ 4 h 57"/>
                <a:gd name="T42" fmla="*/ 14 w 63"/>
                <a:gd name="T43" fmla="*/ 0 h 57"/>
                <a:gd name="T44" fmla="*/ 21 w 63"/>
                <a:gd name="T4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3" h="57">
                  <a:moveTo>
                    <a:pt x="21" y="0"/>
                  </a:moveTo>
                  <a:lnTo>
                    <a:pt x="21" y="0"/>
                  </a:lnTo>
                  <a:lnTo>
                    <a:pt x="35" y="4"/>
                  </a:lnTo>
                  <a:lnTo>
                    <a:pt x="44" y="4"/>
                  </a:lnTo>
                  <a:lnTo>
                    <a:pt x="52" y="9"/>
                  </a:lnTo>
                  <a:lnTo>
                    <a:pt x="59" y="9"/>
                  </a:lnTo>
                  <a:lnTo>
                    <a:pt x="54" y="19"/>
                  </a:lnTo>
                  <a:lnTo>
                    <a:pt x="63" y="28"/>
                  </a:lnTo>
                  <a:lnTo>
                    <a:pt x="61" y="38"/>
                  </a:lnTo>
                  <a:lnTo>
                    <a:pt x="56" y="38"/>
                  </a:lnTo>
                  <a:lnTo>
                    <a:pt x="54" y="40"/>
                  </a:lnTo>
                  <a:lnTo>
                    <a:pt x="47" y="45"/>
                  </a:lnTo>
                  <a:lnTo>
                    <a:pt x="44" y="57"/>
                  </a:lnTo>
                  <a:lnTo>
                    <a:pt x="30" y="49"/>
                  </a:lnTo>
                  <a:lnTo>
                    <a:pt x="26" y="40"/>
                  </a:lnTo>
                  <a:lnTo>
                    <a:pt x="18" y="35"/>
                  </a:lnTo>
                  <a:lnTo>
                    <a:pt x="11" y="28"/>
                  </a:lnTo>
                  <a:lnTo>
                    <a:pt x="9" y="21"/>
                  </a:lnTo>
                  <a:lnTo>
                    <a:pt x="0" y="9"/>
                  </a:lnTo>
                  <a:lnTo>
                    <a:pt x="4" y="0"/>
                  </a:lnTo>
                  <a:lnTo>
                    <a:pt x="9" y="4"/>
                  </a:lnTo>
                  <a:lnTo>
                    <a:pt x="14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00" name="Freeform 42">
              <a:extLst>
                <a:ext uri="{FF2B5EF4-FFF2-40B4-BE49-F238E27FC236}">
                  <a16:creationId xmlns:a16="http://schemas.microsoft.com/office/drawing/2014/main" id="{9835A3B4-2845-B482-FFB4-298B041DEEF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8237" y="2844132"/>
              <a:ext cx="20461" cy="49178"/>
            </a:xfrm>
            <a:custGeom>
              <a:avLst/>
              <a:gdLst>
                <a:gd name="T0" fmla="*/ 17 w 19"/>
                <a:gd name="T1" fmla="*/ 7 h 45"/>
                <a:gd name="T2" fmla="*/ 17 w 19"/>
                <a:gd name="T3" fmla="*/ 7 h 45"/>
                <a:gd name="T4" fmla="*/ 14 w 19"/>
                <a:gd name="T5" fmla="*/ 17 h 45"/>
                <a:gd name="T6" fmla="*/ 17 w 19"/>
                <a:gd name="T7" fmla="*/ 17 h 45"/>
                <a:gd name="T8" fmla="*/ 14 w 19"/>
                <a:gd name="T9" fmla="*/ 24 h 45"/>
                <a:gd name="T10" fmla="*/ 17 w 19"/>
                <a:gd name="T11" fmla="*/ 26 h 45"/>
                <a:gd name="T12" fmla="*/ 14 w 19"/>
                <a:gd name="T13" fmla="*/ 34 h 45"/>
                <a:gd name="T14" fmla="*/ 10 w 19"/>
                <a:gd name="T15" fmla="*/ 38 h 45"/>
                <a:gd name="T16" fmla="*/ 7 w 19"/>
                <a:gd name="T17" fmla="*/ 41 h 45"/>
                <a:gd name="T18" fmla="*/ 5 w 19"/>
                <a:gd name="T19" fmla="*/ 45 h 45"/>
                <a:gd name="T20" fmla="*/ 0 w 19"/>
                <a:gd name="T21" fmla="*/ 45 h 45"/>
                <a:gd name="T22" fmla="*/ 0 w 19"/>
                <a:gd name="T23" fmla="*/ 26 h 45"/>
                <a:gd name="T24" fmla="*/ 0 w 19"/>
                <a:gd name="T25" fmla="*/ 12 h 45"/>
                <a:gd name="T26" fmla="*/ 0 w 19"/>
                <a:gd name="T27" fmla="*/ 10 h 45"/>
                <a:gd name="T28" fmla="*/ 3 w 19"/>
                <a:gd name="T29" fmla="*/ 10 h 45"/>
                <a:gd name="T30" fmla="*/ 5 w 19"/>
                <a:gd name="T31" fmla="*/ 12 h 45"/>
                <a:gd name="T32" fmla="*/ 12 w 19"/>
                <a:gd name="T33" fmla="*/ 0 h 45"/>
                <a:gd name="T34" fmla="*/ 14 w 19"/>
                <a:gd name="T35" fmla="*/ 0 h 45"/>
                <a:gd name="T36" fmla="*/ 14 w 19"/>
                <a:gd name="T37" fmla="*/ 3 h 45"/>
                <a:gd name="T38" fmla="*/ 19 w 19"/>
                <a:gd name="T39" fmla="*/ 3 h 45"/>
                <a:gd name="T40" fmla="*/ 17 w 19"/>
                <a:gd name="T41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" h="45">
                  <a:moveTo>
                    <a:pt x="17" y="7"/>
                  </a:moveTo>
                  <a:lnTo>
                    <a:pt x="17" y="7"/>
                  </a:lnTo>
                  <a:lnTo>
                    <a:pt x="14" y="17"/>
                  </a:lnTo>
                  <a:lnTo>
                    <a:pt x="17" y="17"/>
                  </a:lnTo>
                  <a:lnTo>
                    <a:pt x="14" y="24"/>
                  </a:lnTo>
                  <a:lnTo>
                    <a:pt x="17" y="26"/>
                  </a:lnTo>
                  <a:lnTo>
                    <a:pt x="14" y="34"/>
                  </a:lnTo>
                  <a:lnTo>
                    <a:pt x="10" y="38"/>
                  </a:lnTo>
                  <a:lnTo>
                    <a:pt x="7" y="41"/>
                  </a:lnTo>
                  <a:lnTo>
                    <a:pt x="5" y="45"/>
                  </a:lnTo>
                  <a:lnTo>
                    <a:pt x="0" y="45"/>
                  </a:lnTo>
                  <a:lnTo>
                    <a:pt x="0" y="26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5" y="12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4" y="3"/>
                  </a:lnTo>
                  <a:lnTo>
                    <a:pt x="19" y="3"/>
                  </a:lnTo>
                  <a:lnTo>
                    <a:pt x="17" y="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01" name="Freeform 88">
              <a:extLst>
                <a:ext uri="{FF2B5EF4-FFF2-40B4-BE49-F238E27FC236}">
                  <a16:creationId xmlns:a16="http://schemas.microsoft.com/office/drawing/2014/main" id="{BD381C38-D45B-54B5-E845-E604520672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439599" y="3347375"/>
              <a:ext cx="211064" cy="243698"/>
            </a:xfrm>
            <a:custGeom>
              <a:avLst/>
              <a:gdLst>
                <a:gd name="connsiteX0" fmla="*/ 109538 w 311150"/>
                <a:gd name="connsiteY0" fmla="*/ 0 h 354012"/>
                <a:gd name="connsiteX1" fmla="*/ 108320 w 311150"/>
                <a:gd name="connsiteY1" fmla="*/ 4873 h 354012"/>
                <a:gd name="connsiteX2" fmla="*/ 109538 w 311150"/>
                <a:gd name="connsiteY2" fmla="*/ 4762 h 354012"/>
                <a:gd name="connsiteX3" fmla="*/ 105527 w 311150"/>
                <a:gd name="connsiteY3" fmla="*/ 20805 h 354012"/>
                <a:gd name="connsiteX4" fmla="*/ 109538 w 311150"/>
                <a:gd name="connsiteY4" fmla="*/ 30163 h 354012"/>
                <a:gd name="connsiteX5" fmla="*/ 109538 w 311150"/>
                <a:gd name="connsiteY5" fmla="*/ 34925 h 354012"/>
                <a:gd name="connsiteX6" fmla="*/ 109538 w 311150"/>
                <a:gd name="connsiteY6" fmla="*/ 44450 h 354012"/>
                <a:gd name="connsiteX7" fmla="*/ 134938 w 311150"/>
                <a:gd name="connsiteY7" fmla="*/ 68263 h 354012"/>
                <a:gd name="connsiteX8" fmla="*/ 165100 w 311150"/>
                <a:gd name="connsiteY8" fmla="*/ 74613 h 354012"/>
                <a:gd name="connsiteX9" fmla="*/ 173038 w 311150"/>
                <a:gd name="connsiteY9" fmla="*/ 82550 h 354012"/>
                <a:gd name="connsiteX10" fmla="*/ 192088 w 311150"/>
                <a:gd name="connsiteY10" fmla="*/ 90488 h 354012"/>
                <a:gd name="connsiteX11" fmla="*/ 203200 w 311150"/>
                <a:gd name="connsiteY11" fmla="*/ 96838 h 354012"/>
                <a:gd name="connsiteX12" fmla="*/ 217488 w 311150"/>
                <a:gd name="connsiteY12" fmla="*/ 93663 h 354012"/>
                <a:gd name="connsiteX13" fmla="*/ 233363 w 311150"/>
                <a:gd name="connsiteY13" fmla="*/ 104775 h 354012"/>
                <a:gd name="connsiteX14" fmla="*/ 236538 w 311150"/>
                <a:gd name="connsiteY14" fmla="*/ 120650 h 354012"/>
                <a:gd name="connsiteX15" fmla="*/ 241300 w 311150"/>
                <a:gd name="connsiteY15" fmla="*/ 127000 h 354012"/>
                <a:gd name="connsiteX16" fmla="*/ 241300 w 311150"/>
                <a:gd name="connsiteY16" fmla="*/ 131762 h 354012"/>
                <a:gd name="connsiteX17" fmla="*/ 241300 w 311150"/>
                <a:gd name="connsiteY17" fmla="*/ 138113 h 354012"/>
                <a:gd name="connsiteX18" fmla="*/ 241300 w 311150"/>
                <a:gd name="connsiteY18" fmla="*/ 142875 h 354012"/>
                <a:gd name="connsiteX19" fmla="*/ 234616 w 311150"/>
                <a:gd name="connsiteY19" fmla="*/ 142875 h 354012"/>
                <a:gd name="connsiteX20" fmla="*/ 241300 w 311150"/>
                <a:gd name="connsiteY20" fmla="*/ 168275 h 354012"/>
                <a:gd name="connsiteX21" fmla="*/ 288925 w 311150"/>
                <a:gd name="connsiteY21" fmla="*/ 168275 h 354012"/>
                <a:gd name="connsiteX22" fmla="*/ 288925 w 311150"/>
                <a:gd name="connsiteY22" fmla="*/ 173037 h 354012"/>
                <a:gd name="connsiteX23" fmla="*/ 288925 w 311150"/>
                <a:gd name="connsiteY23" fmla="*/ 187325 h 354012"/>
                <a:gd name="connsiteX24" fmla="*/ 288925 w 311150"/>
                <a:gd name="connsiteY24" fmla="*/ 192087 h 354012"/>
                <a:gd name="connsiteX25" fmla="*/ 288925 w 311150"/>
                <a:gd name="connsiteY25" fmla="*/ 195263 h 354012"/>
                <a:gd name="connsiteX26" fmla="*/ 304800 w 311150"/>
                <a:gd name="connsiteY26" fmla="*/ 203200 h 354012"/>
                <a:gd name="connsiteX27" fmla="*/ 311150 w 311150"/>
                <a:gd name="connsiteY27" fmla="*/ 222250 h 354012"/>
                <a:gd name="connsiteX28" fmla="*/ 310590 w 311150"/>
                <a:gd name="connsiteY28" fmla="*/ 225332 h 354012"/>
                <a:gd name="connsiteX29" fmla="*/ 311150 w 311150"/>
                <a:gd name="connsiteY29" fmla="*/ 227012 h 354012"/>
                <a:gd name="connsiteX30" fmla="*/ 307975 w 311150"/>
                <a:gd name="connsiteY30" fmla="*/ 244475 h 354012"/>
                <a:gd name="connsiteX31" fmla="*/ 300038 w 311150"/>
                <a:gd name="connsiteY31" fmla="*/ 260350 h 354012"/>
                <a:gd name="connsiteX32" fmla="*/ 300038 w 311150"/>
                <a:gd name="connsiteY32" fmla="*/ 269875 h 354012"/>
                <a:gd name="connsiteX33" fmla="*/ 300038 w 311150"/>
                <a:gd name="connsiteY33" fmla="*/ 274637 h 354012"/>
                <a:gd name="connsiteX34" fmla="*/ 293688 w 311150"/>
                <a:gd name="connsiteY34" fmla="*/ 279400 h 354012"/>
                <a:gd name="connsiteX35" fmla="*/ 293688 w 311150"/>
                <a:gd name="connsiteY35" fmla="*/ 274638 h 354012"/>
                <a:gd name="connsiteX36" fmla="*/ 293688 w 311150"/>
                <a:gd name="connsiteY36" fmla="*/ 271462 h 354012"/>
                <a:gd name="connsiteX37" fmla="*/ 269875 w 311150"/>
                <a:gd name="connsiteY37" fmla="*/ 257175 h 354012"/>
                <a:gd name="connsiteX38" fmla="*/ 244475 w 311150"/>
                <a:gd name="connsiteY38" fmla="*/ 257175 h 354012"/>
                <a:gd name="connsiteX39" fmla="*/ 200025 w 311150"/>
                <a:gd name="connsiteY39" fmla="*/ 263525 h 354012"/>
                <a:gd name="connsiteX40" fmla="*/ 187325 w 311150"/>
                <a:gd name="connsiteY40" fmla="*/ 290512 h 354012"/>
                <a:gd name="connsiteX41" fmla="*/ 187325 w 311150"/>
                <a:gd name="connsiteY41" fmla="*/ 296863 h 354012"/>
                <a:gd name="connsiteX42" fmla="*/ 187325 w 311150"/>
                <a:gd name="connsiteY42" fmla="*/ 301625 h 354012"/>
                <a:gd name="connsiteX43" fmla="*/ 176213 w 311150"/>
                <a:gd name="connsiteY43" fmla="*/ 334962 h 354012"/>
                <a:gd name="connsiteX44" fmla="*/ 173038 w 311150"/>
                <a:gd name="connsiteY44" fmla="*/ 331787 h 354012"/>
                <a:gd name="connsiteX45" fmla="*/ 142875 w 311150"/>
                <a:gd name="connsiteY45" fmla="*/ 327025 h 354012"/>
                <a:gd name="connsiteX46" fmla="*/ 134938 w 311150"/>
                <a:gd name="connsiteY46" fmla="*/ 350837 h 354012"/>
                <a:gd name="connsiteX47" fmla="*/ 115888 w 311150"/>
                <a:gd name="connsiteY47" fmla="*/ 331787 h 354012"/>
                <a:gd name="connsiteX48" fmla="*/ 87313 w 311150"/>
                <a:gd name="connsiteY48" fmla="*/ 323850 h 354012"/>
                <a:gd name="connsiteX49" fmla="*/ 63500 w 311150"/>
                <a:gd name="connsiteY49" fmla="*/ 350837 h 354012"/>
                <a:gd name="connsiteX50" fmla="*/ 46038 w 311150"/>
                <a:gd name="connsiteY50" fmla="*/ 354012 h 354012"/>
                <a:gd name="connsiteX51" fmla="*/ 33338 w 311150"/>
                <a:gd name="connsiteY51" fmla="*/ 315912 h 354012"/>
                <a:gd name="connsiteX52" fmla="*/ 19050 w 311150"/>
                <a:gd name="connsiteY52" fmla="*/ 285750 h 354012"/>
                <a:gd name="connsiteX53" fmla="*/ 20133 w 311150"/>
                <a:gd name="connsiteY53" fmla="*/ 283274 h 354012"/>
                <a:gd name="connsiteX54" fmla="*/ 19050 w 311150"/>
                <a:gd name="connsiteY54" fmla="*/ 280988 h 354012"/>
                <a:gd name="connsiteX55" fmla="*/ 28761 w 311150"/>
                <a:gd name="connsiteY55" fmla="*/ 258792 h 354012"/>
                <a:gd name="connsiteX56" fmla="*/ 15875 w 311150"/>
                <a:gd name="connsiteY56" fmla="*/ 244475 h 354012"/>
                <a:gd name="connsiteX57" fmla="*/ 11113 w 311150"/>
                <a:gd name="connsiteY57" fmla="*/ 227012 h 354012"/>
                <a:gd name="connsiteX58" fmla="*/ 0 w 311150"/>
                <a:gd name="connsiteY58" fmla="*/ 211137 h 354012"/>
                <a:gd name="connsiteX59" fmla="*/ 1431 w 311150"/>
                <a:gd name="connsiteY59" fmla="*/ 208419 h 354012"/>
                <a:gd name="connsiteX60" fmla="*/ 0 w 311150"/>
                <a:gd name="connsiteY60" fmla="*/ 206375 h 354012"/>
                <a:gd name="connsiteX61" fmla="*/ 14654 w 311150"/>
                <a:gd name="connsiteY61" fmla="*/ 178533 h 354012"/>
                <a:gd name="connsiteX62" fmla="*/ 4763 w 311150"/>
                <a:gd name="connsiteY62" fmla="*/ 158750 h 354012"/>
                <a:gd name="connsiteX63" fmla="*/ 6032 w 311150"/>
                <a:gd name="connsiteY63" fmla="*/ 156527 h 354012"/>
                <a:gd name="connsiteX64" fmla="*/ 4763 w 311150"/>
                <a:gd name="connsiteY64" fmla="*/ 153988 h 354012"/>
                <a:gd name="connsiteX65" fmla="*/ 9992 w 311150"/>
                <a:gd name="connsiteY65" fmla="*/ 144836 h 354012"/>
                <a:gd name="connsiteX66" fmla="*/ 7938 w 311150"/>
                <a:gd name="connsiteY66" fmla="*/ 139700 h 354012"/>
                <a:gd name="connsiteX67" fmla="*/ 9045 w 311150"/>
                <a:gd name="connsiteY67" fmla="*/ 137706 h 354012"/>
                <a:gd name="connsiteX68" fmla="*/ 7938 w 311150"/>
                <a:gd name="connsiteY68" fmla="*/ 134938 h 354012"/>
                <a:gd name="connsiteX69" fmla="*/ 15875 w 311150"/>
                <a:gd name="connsiteY69" fmla="*/ 120650 h 354012"/>
                <a:gd name="connsiteX70" fmla="*/ 15875 w 311150"/>
                <a:gd name="connsiteY70" fmla="*/ 101600 h 354012"/>
                <a:gd name="connsiteX71" fmla="*/ 15875 w 311150"/>
                <a:gd name="connsiteY71" fmla="*/ 96838 h 354012"/>
                <a:gd name="connsiteX72" fmla="*/ 19050 w 311150"/>
                <a:gd name="connsiteY72" fmla="*/ 82550 h 354012"/>
                <a:gd name="connsiteX73" fmla="*/ 21336 w 311150"/>
                <a:gd name="connsiteY73" fmla="*/ 74549 h 354012"/>
                <a:gd name="connsiteX74" fmla="*/ 0 w 311150"/>
                <a:gd name="connsiteY74" fmla="*/ 34925 h 354012"/>
                <a:gd name="connsiteX75" fmla="*/ 2817 w 311150"/>
                <a:gd name="connsiteY75" fmla="*/ 35394 h 354012"/>
                <a:gd name="connsiteX76" fmla="*/ 0 w 311150"/>
                <a:gd name="connsiteY76" fmla="*/ 30163 h 354012"/>
                <a:gd name="connsiteX77" fmla="*/ 19050 w 311150"/>
                <a:gd name="connsiteY77" fmla="*/ 33338 h 354012"/>
                <a:gd name="connsiteX78" fmla="*/ 33338 w 311150"/>
                <a:gd name="connsiteY78" fmla="*/ 30163 h 354012"/>
                <a:gd name="connsiteX79" fmla="*/ 38100 w 311150"/>
                <a:gd name="connsiteY79" fmla="*/ 25400 h 354012"/>
                <a:gd name="connsiteX80" fmla="*/ 60325 w 311150"/>
                <a:gd name="connsiteY80" fmla="*/ 14288 h 354012"/>
                <a:gd name="connsiteX81" fmla="*/ 74613 w 311150"/>
                <a:gd name="connsiteY81" fmla="*/ 3175 h 354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311150" h="354012">
                  <a:moveTo>
                    <a:pt x="109538" y="0"/>
                  </a:moveTo>
                  <a:lnTo>
                    <a:pt x="108320" y="4873"/>
                  </a:lnTo>
                  <a:lnTo>
                    <a:pt x="109538" y="4762"/>
                  </a:lnTo>
                  <a:lnTo>
                    <a:pt x="105527" y="20805"/>
                  </a:lnTo>
                  <a:lnTo>
                    <a:pt x="109538" y="30163"/>
                  </a:lnTo>
                  <a:lnTo>
                    <a:pt x="109538" y="34925"/>
                  </a:lnTo>
                  <a:lnTo>
                    <a:pt x="109538" y="44450"/>
                  </a:lnTo>
                  <a:lnTo>
                    <a:pt x="134938" y="68263"/>
                  </a:lnTo>
                  <a:lnTo>
                    <a:pt x="165100" y="74613"/>
                  </a:lnTo>
                  <a:lnTo>
                    <a:pt x="173038" y="82550"/>
                  </a:lnTo>
                  <a:lnTo>
                    <a:pt x="192088" y="90488"/>
                  </a:lnTo>
                  <a:lnTo>
                    <a:pt x="203200" y="96838"/>
                  </a:lnTo>
                  <a:lnTo>
                    <a:pt x="217488" y="93663"/>
                  </a:lnTo>
                  <a:lnTo>
                    <a:pt x="233363" y="104775"/>
                  </a:lnTo>
                  <a:lnTo>
                    <a:pt x="236538" y="120650"/>
                  </a:lnTo>
                  <a:lnTo>
                    <a:pt x="241300" y="127000"/>
                  </a:lnTo>
                  <a:lnTo>
                    <a:pt x="241300" y="131762"/>
                  </a:lnTo>
                  <a:lnTo>
                    <a:pt x="241300" y="138113"/>
                  </a:lnTo>
                  <a:lnTo>
                    <a:pt x="241300" y="142875"/>
                  </a:lnTo>
                  <a:lnTo>
                    <a:pt x="234616" y="142875"/>
                  </a:lnTo>
                  <a:lnTo>
                    <a:pt x="241300" y="168275"/>
                  </a:lnTo>
                  <a:lnTo>
                    <a:pt x="288925" y="168275"/>
                  </a:lnTo>
                  <a:lnTo>
                    <a:pt x="288925" y="173037"/>
                  </a:lnTo>
                  <a:lnTo>
                    <a:pt x="288925" y="187325"/>
                  </a:lnTo>
                  <a:lnTo>
                    <a:pt x="288925" y="192087"/>
                  </a:lnTo>
                  <a:lnTo>
                    <a:pt x="288925" y="195263"/>
                  </a:lnTo>
                  <a:lnTo>
                    <a:pt x="304800" y="203200"/>
                  </a:lnTo>
                  <a:lnTo>
                    <a:pt x="311150" y="222250"/>
                  </a:lnTo>
                  <a:lnTo>
                    <a:pt x="310590" y="225332"/>
                  </a:lnTo>
                  <a:lnTo>
                    <a:pt x="311150" y="227012"/>
                  </a:lnTo>
                  <a:lnTo>
                    <a:pt x="307975" y="244475"/>
                  </a:lnTo>
                  <a:lnTo>
                    <a:pt x="300038" y="260350"/>
                  </a:lnTo>
                  <a:lnTo>
                    <a:pt x="300038" y="269875"/>
                  </a:lnTo>
                  <a:lnTo>
                    <a:pt x="300038" y="274637"/>
                  </a:lnTo>
                  <a:lnTo>
                    <a:pt x="293688" y="279400"/>
                  </a:lnTo>
                  <a:lnTo>
                    <a:pt x="293688" y="274638"/>
                  </a:lnTo>
                  <a:lnTo>
                    <a:pt x="293688" y="271462"/>
                  </a:lnTo>
                  <a:lnTo>
                    <a:pt x="269875" y="257175"/>
                  </a:lnTo>
                  <a:lnTo>
                    <a:pt x="244475" y="257175"/>
                  </a:lnTo>
                  <a:lnTo>
                    <a:pt x="200025" y="263525"/>
                  </a:lnTo>
                  <a:lnTo>
                    <a:pt x="187325" y="290512"/>
                  </a:lnTo>
                  <a:lnTo>
                    <a:pt x="187325" y="296863"/>
                  </a:lnTo>
                  <a:lnTo>
                    <a:pt x="187325" y="301625"/>
                  </a:lnTo>
                  <a:lnTo>
                    <a:pt x="176213" y="334962"/>
                  </a:lnTo>
                  <a:lnTo>
                    <a:pt x="173038" y="331787"/>
                  </a:lnTo>
                  <a:lnTo>
                    <a:pt x="142875" y="327025"/>
                  </a:lnTo>
                  <a:lnTo>
                    <a:pt x="134938" y="350837"/>
                  </a:lnTo>
                  <a:lnTo>
                    <a:pt x="115888" y="331787"/>
                  </a:lnTo>
                  <a:lnTo>
                    <a:pt x="87313" y="323850"/>
                  </a:lnTo>
                  <a:lnTo>
                    <a:pt x="63500" y="350837"/>
                  </a:lnTo>
                  <a:lnTo>
                    <a:pt x="46038" y="354012"/>
                  </a:lnTo>
                  <a:lnTo>
                    <a:pt x="33338" y="315912"/>
                  </a:lnTo>
                  <a:lnTo>
                    <a:pt x="19050" y="285750"/>
                  </a:lnTo>
                  <a:lnTo>
                    <a:pt x="20133" y="283274"/>
                  </a:lnTo>
                  <a:lnTo>
                    <a:pt x="19050" y="280988"/>
                  </a:lnTo>
                  <a:lnTo>
                    <a:pt x="28761" y="258792"/>
                  </a:lnTo>
                  <a:lnTo>
                    <a:pt x="15875" y="244475"/>
                  </a:lnTo>
                  <a:lnTo>
                    <a:pt x="11113" y="227012"/>
                  </a:lnTo>
                  <a:lnTo>
                    <a:pt x="0" y="211137"/>
                  </a:lnTo>
                  <a:lnTo>
                    <a:pt x="1431" y="208419"/>
                  </a:lnTo>
                  <a:lnTo>
                    <a:pt x="0" y="206375"/>
                  </a:lnTo>
                  <a:lnTo>
                    <a:pt x="14654" y="178533"/>
                  </a:lnTo>
                  <a:lnTo>
                    <a:pt x="4763" y="158750"/>
                  </a:lnTo>
                  <a:lnTo>
                    <a:pt x="6032" y="156527"/>
                  </a:lnTo>
                  <a:lnTo>
                    <a:pt x="4763" y="153988"/>
                  </a:lnTo>
                  <a:lnTo>
                    <a:pt x="9992" y="144836"/>
                  </a:lnTo>
                  <a:lnTo>
                    <a:pt x="7938" y="139700"/>
                  </a:lnTo>
                  <a:lnTo>
                    <a:pt x="9045" y="137706"/>
                  </a:lnTo>
                  <a:lnTo>
                    <a:pt x="7938" y="134938"/>
                  </a:lnTo>
                  <a:lnTo>
                    <a:pt x="15875" y="120650"/>
                  </a:lnTo>
                  <a:lnTo>
                    <a:pt x="15875" y="101600"/>
                  </a:lnTo>
                  <a:lnTo>
                    <a:pt x="15875" y="96838"/>
                  </a:lnTo>
                  <a:lnTo>
                    <a:pt x="19050" y="82550"/>
                  </a:lnTo>
                  <a:lnTo>
                    <a:pt x="21336" y="74549"/>
                  </a:lnTo>
                  <a:lnTo>
                    <a:pt x="0" y="34925"/>
                  </a:lnTo>
                  <a:lnTo>
                    <a:pt x="2817" y="35394"/>
                  </a:lnTo>
                  <a:lnTo>
                    <a:pt x="0" y="30163"/>
                  </a:lnTo>
                  <a:lnTo>
                    <a:pt x="19050" y="33338"/>
                  </a:lnTo>
                  <a:lnTo>
                    <a:pt x="33338" y="30163"/>
                  </a:lnTo>
                  <a:lnTo>
                    <a:pt x="38100" y="25400"/>
                  </a:lnTo>
                  <a:lnTo>
                    <a:pt x="60325" y="14288"/>
                  </a:lnTo>
                  <a:lnTo>
                    <a:pt x="74613" y="317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02" name="Freeform 46">
              <a:extLst>
                <a:ext uri="{FF2B5EF4-FFF2-40B4-BE49-F238E27FC236}">
                  <a16:creationId xmlns:a16="http://schemas.microsoft.com/office/drawing/2014/main" id="{AAAEC611-A134-7BEC-C0B5-9A9C5EB4E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3144" y="3084554"/>
              <a:ext cx="684879" cy="722355"/>
            </a:xfrm>
            <a:custGeom>
              <a:avLst/>
              <a:gdLst>
                <a:gd name="T0" fmla="*/ 227 w 636"/>
                <a:gd name="T1" fmla="*/ 41 h 661"/>
                <a:gd name="T2" fmla="*/ 251 w 636"/>
                <a:gd name="T3" fmla="*/ 64 h 661"/>
                <a:gd name="T4" fmla="*/ 270 w 636"/>
                <a:gd name="T5" fmla="*/ 53 h 661"/>
                <a:gd name="T6" fmla="*/ 294 w 636"/>
                <a:gd name="T7" fmla="*/ 50 h 661"/>
                <a:gd name="T8" fmla="*/ 305 w 636"/>
                <a:gd name="T9" fmla="*/ 43 h 661"/>
                <a:gd name="T10" fmla="*/ 331 w 636"/>
                <a:gd name="T11" fmla="*/ 45 h 661"/>
                <a:gd name="T12" fmla="*/ 353 w 636"/>
                <a:gd name="T13" fmla="*/ 31 h 661"/>
                <a:gd name="T14" fmla="*/ 381 w 636"/>
                <a:gd name="T15" fmla="*/ 53 h 661"/>
                <a:gd name="T16" fmla="*/ 383 w 636"/>
                <a:gd name="T17" fmla="*/ 86 h 661"/>
                <a:gd name="T18" fmla="*/ 445 w 636"/>
                <a:gd name="T19" fmla="*/ 100 h 661"/>
                <a:gd name="T20" fmla="*/ 495 w 636"/>
                <a:gd name="T21" fmla="*/ 121 h 661"/>
                <a:gd name="T22" fmla="*/ 596 w 636"/>
                <a:gd name="T23" fmla="*/ 161 h 661"/>
                <a:gd name="T24" fmla="*/ 634 w 636"/>
                <a:gd name="T25" fmla="*/ 192 h 661"/>
                <a:gd name="T26" fmla="*/ 599 w 636"/>
                <a:gd name="T27" fmla="*/ 263 h 661"/>
                <a:gd name="T28" fmla="*/ 568 w 636"/>
                <a:gd name="T29" fmla="*/ 308 h 661"/>
                <a:gd name="T30" fmla="*/ 558 w 636"/>
                <a:gd name="T31" fmla="*/ 382 h 661"/>
                <a:gd name="T32" fmla="*/ 523 w 636"/>
                <a:gd name="T33" fmla="*/ 453 h 661"/>
                <a:gd name="T34" fmla="*/ 464 w 636"/>
                <a:gd name="T35" fmla="*/ 479 h 661"/>
                <a:gd name="T36" fmla="*/ 409 w 636"/>
                <a:gd name="T37" fmla="*/ 528 h 661"/>
                <a:gd name="T38" fmla="*/ 395 w 636"/>
                <a:gd name="T39" fmla="*/ 576 h 661"/>
                <a:gd name="T40" fmla="*/ 346 w 636"/>
                <a:gd name="T41" fmla="*/ 651 h 661"/>
                <a:gd name="T42" fmla="*/ 327 w 636"/>
                <a:gd name="T43" fmla="*/ 628 h 661"/>
                <a:gd name="T44" fmla="*/ 275 w 636"/>
                <a:gd name="T45" fmla="*/ 592 h 661"/>
                <a:gd name="T46" fmla="*/ 317 w 636"/>
                <a:gd name="T47" fmla="*/ 545 h 661"/>
                <a:gd name="T48" fmla="*/ 315 w 636"/>
                <a:gd name="T49" fmla="*/ 512 h 661"/>
                <a:gd name="T50" fmla="*/ 312 w 636"/>
                <a:gd name="T51" fmla="*/ 479 h 661"/>
                <a:gd name="T52" fmla="*/ 298 w 636"/>
                <a:gd name="T53" fmla="*/ 460 h 661"/>
                <a:gd name="T54" fmla="*/ 260 w 636"/>
                <a:gd name="T55" fmla="*/ 448 h 661"/>
                <a:gd name="T56" fmla="*/ 260 w 636"/>
                <a:gd name="T57" fmla="*/ 403 h 661"/>
                <a:gd name="T58" fmla="*/ 256 w 636"/>
                <a:gd name="T59" fmla="*/ 365 h 661"/>
                <a:gd name="T60" fmla="*/ 218 w 636"/>
                <a:gd name="T61" fmla="*/ 329 h 661"/>
                <a:gd name="T62" fmla="*/ 218 w 636"/>
                <a:gd name="T63" fmla="*/ 308 h 661"/>
                <a:gd name="T64" fmla="*/ 182 w 636"/>
                <a:gd name="T65" fmla="*/ 294 h 661"/>
                <a:gd name="T66" fmla="*/ 140 w 636"/>
                <a:gd name="T67" fmla="*/ 261 h 661"/>
                <a:gd name="T68" fmla="*/ 111 w 636"/>
                <a:gd name="T69" fmla="*/ 251 h 661"/>
                <a:gd name="T70" fmla="*/ 74 w 636"/>
                <a:gd name="T71" fmla="*/ 261 h 661"/>
                <a:gd name="T72" fmla="*/ 45 w 636"/>
                <a:gd name="T73" fmla="*/ 247 h 661"/>
                <a:gd name="T74" fmla="*/ 17 w 636"/>
                <a:gd name="T75" fmla="*/ 230 h 661"/>
                <a:gd name="T76" fmla="*/ 5 w 636"/>
                <a:gd name="T77" fmla="*/ 197 h 661"/>
                <a:gd name="T78" fmla="*/ 19 w 636"/>
                <a:gd name="T79" fmla="*/ 169 h 661"/>
                <a:gd name="T80" fmla="*/ 66 w 636"/>
                <a:gd name="T81" fmla="*/ 154 h 661"/>
                <a:gd name="T82" fmla="*/ 64 w 636"/>
                <a:gd name="T83" fmla="*/ 88 h 661"/>
                <a:gd name="T84" fmla="*/ 78 w 636"/>
                <a:gd name="T85" fmla="*/ 67 h 661"/>
                <a:gd name="T86" fmla="*/ 104 w 636"/>
                <a:gd name="T87" fmla="*/ 50 h 661"/>
                <a:gd name="T88" fmla="*/ 126 w 636"/>
                <a:gd name="T89" fmla="*/ 71 h 661"/>
                <a:gd name="T90" fmla="*/ 159 w 636"/>
                <a:gd name="T91" fmla="*/ 60 h 661"/>
                <a:gd name="T92" fmla="*/ 159 w 636"/>
                <a:gd name="T93" fmla="*/ 43 h 661"/>
                <a:gd name="T94" fmla="*/ 152 w 636"/>
                <a:gd name="T95" fmla="*/ 17 h 661"/>
                <a:gd name="T96" fmla="*/ 194 w 636"/>
                <a:gd name="T97" fmla="*/ 17 h 661"/>
                <a:gd name="T98" fmla="*/ 223 w 636"/>
                <a:gd name="T99" fmla="*/ 0 h 661"/>
                <a:gd name="T100" fmla="*/ 234 w 636"/>
                <a:gd name="T101" fmla="*/ 19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36" h="661">
                  <a:moveTo>
                    <a:pt x="234" y="19"/>
                  </a:moveTo>
                  <a:lnTo>
                    <a:pt x="234" y="19"/>
                  </a:lnTo>
                  <a:lnTo>
                    <a:pt x="230" y="24"/>
                  </a:lnTo>
                  <a:lnTo>
                    <a:pt x="227" y="41"/>
                  </a:lnTo>
                  <a:lnTo>
                    <a:pt x="232" y="48"/>
                  </a:lnTo>
                  <a:lnTo>
                    <a:pt x="232" y="55"/>
                  </a:lnTo>
                  <a:lnTo>
                    <a:pt x="244" y="62"/>
                  </a:lnTo>
                  <a:lnTo>
                    <a:pt x="251" y="64"/>
                  </a:lnTo>
                  <a:lnTo>
                    <a:pt x="253" y="60"/>
                  </a:lnTo>
                  <a:lnTo>
                    <a:pt x="258" y="60"/>
                  </a:lnTo>
                  <a:lnTo>
                    <a:pt x="265" y="57"/>
                  </a:lnTo>
                  <a:lnTo>
                    <a:pt x="270" y="53"/>
                  </a:lnTo>
                  <a:lnTo>
                    <a:pt x="279" y="55"/>
                  </a:lnTo>
                  <a:lnTo>
                    <a:pt x="284" y="53"/>
                  </a:lnTo>
                  <a:lnTo>
                    <a:pt x="291" y="55"/>
                  </a:lnTo>
                  <a:lnTo>
                    <a:pt x="294" y="50"/>
                  </a:lnTo>
                  <a:lnTo>
                    <a:pt x="291" y="48"/>
                  </a:lnTo>
                  <a:lnTo>
                    <a:pt x="294" y="43"/>
                  </a:lnTo>
                  <a:lnTo>
                    <a:pt x="298" y="45"/>
                  </a:lnTo>
                  <a:lnTo>
                    <a:pt x="305" y="43"/>
                  </a:lnTo>
                  <a:lnTo>
                    <a:pt x="315" y="45"/>
                  </a:lnTo>
                  <a:lnTo>
                    <a:pt x="324" y="50"/>
                  </a:lnTo>
                  <a:lnTo>
                    <a:pt x="327" y="45"/>
                  </a:lnTo>
                  <a:lnTo>
                    <a:pt x="331" y="45"/>
                  </a:lnTo>
                  <a:lnTo>
                    <a:pt x="334" y="50"/>
                  </a:lnTo>
                  <a:lnTo>
                    <a:pt x="341" y="50"/>
                  </a:lnTo>
                  <a:lnTo>
                    <a:pt x="348" y="43"/>
                  </a:lnTo>
                  <a:lnTo>
                    <a:pt x="353" y="31"/>
                  </a:lnTo>
                  <a:lnTo>
                    <a:pt x="362" y="17"/>
                  </a:lnTo>
                  <a:lnTo>
                    <a:pt x="367" y="17"/>
                  </a:lnTo>
                  <a:lnTo>
                    <a:pt x="372" y="24"/>
                  </a:lnTo>
                  <a:lnTo>
                    <a:pt x="381" y="53"/>
                  </a:lnTo>
                  <a:lnTo>
                    <a:pt x="390" y="55"/>
                  </a:lnTo>
                  <a:lnTo>
                    <a:pt x="390" y="67"/>
                  </a:lnTo>
                  <a:lnTo>
                    <a:pt x="379" y="81"/>
                  </a:lnTo>
                  <a:lnTo>
                    <a:pt x="383" y="86"/>
                  </a:lnTo>
                  <a:lnTo>
                    <a:pt x="412" y="88"/>
                  </a:lnTo>
                  <a:lnTo>
                    <a:pt x="412" y="105"/>
                  </a:lnTo>
                  <a:lnTo>
                    <a:pt x="424" y="93"/>
                  </a:lnTo>
                  <a:lnTo>
                    <a:pt x="445" y="100"/>
                  </a:lnTo>
                  <a:lnTo>
                    <a:pt x="471" y="109"/>
                  </a:lnTo>
                  <a:lnTo>
                    <a:pt x="480" y="119"/>
                  </a:lnTo>
                  <a:lnTo>
                    <a:pt x="476" y="128"/>
                  </a:lnTo>
                  <a:lnTo>
                    <a:pt x="495" y="121"/>
                  </a:lnTo>
                  <a:lnTo>
                    <a:pt x="528" y="131"/>
                  </a:lnTo>
                  <a:lnTo>
                    <a:pt x="551" y="131"/>
                  </a:lnTo>
                  <a:lnTo>
                    <a:pt x="575" y="143"/>
                  </a:lnTo>
                  <a:lnTo>
                    <a:pt x="596" y="161"/>
                  </a:lnTo>
                  <a:lnTo>
                    <a:pt x="608" y="166"/>
                  </a:lnTo>
                  <a:lnTo>
                    <a:pt x="622" y="166"/>
                  </a:lnTo>
                  <a:lnTo>
                    <a:pt x="627" y="173"/>
                  </a:lnTo>
                  <a:lnTo>
                    <a:pt x="634" y="192"/>
                  </a:lnTo>
                  <a:lnTo>
                    <a:pt x="636" y="202"/>
                  </a:lnTo>
                  <a:lnTo>
                    <a:pt x="629" y="230"/>
                  </a:lnTo>
                  <a:lnTo>
                    <a:pt x="622" y="240"/>
                  </a:lnTo>
                  <a:lnTo>
                    <a:pt x="599" y="263"/>
                  </a:lnTo>
                  <a:lnTo>
                    <a:pt x="589" y="282"/>
                  </a:lnTo>
                  <a:lnTo>
                    <a:pt x="577" y="296"/>
                  </a:lnTo>
                  <a:lnTo>
                    <a:pt x="573" y="296"/>
                  </a:lnTo>
                  <a:lnTo>
                    <a:pt x="568" y="308"/>
                  </a:lnTo>
                  <a:lnTo>
                    <a:pt x="568" y="339"/>
                  </a:lnTo>
                  <a:lnTo>
                    <a:pt x="566" y="365"/>
                  </a:lnTo>
                  <a:lnTo>
                    <a:pt x="563" y="377"/>
                  </a:lnTo>
                  <a:lnTo>
                    <a:pt x="558" y="382"/>
                  </a:lnTo>
                  <a:lnTo>
                    <a:pt x="554" y="405"/>
                  </a:lnTo>
                  <a:lnTo>
                    <a:pt x="540" y="429"/>
                  </a:lnTo>
                  <a:lnTo>
                    <a:pt x="535" y="445"/>
                  </a:lnTo>
                  <a:lnTo>
                    <a:pt x="523" y="453"/>
                  </a:lnTo>
                  <a:lnTo>
                    <a:pt x="518" y="464"/>
                  </a:lnTo>
                  <a:lnTo>
                    <a:pt x="502" y="464"/>
                  </a:lnTo>
                  <a:lnTo>
                    <a:pt x="476" y="472"/>
                  </a:lnTo>
                  <a:lnTo>
                    <a:pt x="464" y="479"/>
                  </a:lnTo>
                  <a:lnTo>
                    <a:pt x="445" y="483"/>
                  </a:lnTo>
                  <a:lnTo>
                    <a:pt x="426" y="498"/>
                  </a:lnTo>
                  <a:lnTo>
                    <a:pt x="414" y="516"/>
                  </a:lnTo>
                  <a:lnTo>
                    <a:pt x="409" y="528"/>
                  </a:lnTo>
                  <a:lnTo>
                    <a:pt x="414" y="538"/>
                  </a:lnTo>
                  <a:lnTo>
                    <a:pt x="409" y="557"/>
                  </a:lnTo>
                  <a:lnTo>
                    <a:pt x="407" y="566"/>
                  </a:lnTo>
                  <a:lnTo>
                    <a:pt x="395" y="576"/>
                  </a:lnTo>
                  <a:lnTo>
                    <a:pt x="379" y="609"/>
                  </a:lnTo>
                  <a:lnTo>
                    <a:pt x="362" y="623"/>
                  </a:lnTo>
                  <a:lnTo>
                    <a:pt x="353" y="632"/>
                  </a:lnTo>
                  <a:lnTo>
                    <a:pt x="346" y="651"/>
                  </a:lnTo>
                  <a:lnTo>
                    <a:pt x="334" y="661"/>
                  </a:lnTo>
                  <a:lnTo>
                    <a:pt x="329" y="651"/>
                  </a:lnTo>
                  <a:lnTo>
                    <a:pt x="336" y="642"/>
                  </a:lnTo>
                  <a:lnTo>
                    <a:pt x="327" y="628"/>
                  </a:lnTo>
                  <a:lnTo>
                    <a:pt x="315" y="618"/>
                  </a:lnTo>
                  <a:lnTo>
                    <a:pt x="298" y="606"/>
                  </a:lnTo>
                  <a:lnTo>
                    <a:pt x="294" y="606"/>
                  </a:lnTo>
                  <a:lnTo>
                    <a:pt x="275" y="592"/>
                  </a:lnTo>
                  <a:lnTo>
                    <a:pt x="265" y="595"/>
                  </a:lnTo>
                  <a:lnTo>
                    <a:pt x="286" y="569"/>
                  </a:lnTo>
                  <a:lnTo>
                    <a:pt x="305" y="552"/>
                  </a:lnTo>
                  <a:lnTo>
                    <a:pt x="317" y="545"/>
                  </a:lnTo>
                  <a:lnTo>
                    <a:pt x="329" y="533"/>
                  </a:lnTo>
                  <a:lnTo>
                    <a:pt x="329" y="519"/>
                  </a:lnTo>
                  <a:lnTo>
                    <a:pt x="322" y="509"/>
                  </a:lnTo>
                  <a:lnTo>
                    <a:pt x="315" y="512"/>
                  </a:lnTo>
                  <a:lnTo>
                    <a:pt x="317" y="502"/>
                  </a:lnTo>
                  <a:lnTo>
                    <a:pt x="320" y="493"/>
                  </a:lnTo>
                  <a:lnTo>
                    <a:pt x="320" y="481"/>
                  </a:lnTo>
                  <a:lnTo>
                    <a:pt x="312" y="479"/>
                  </a:lnTo>
                  <a:lnTo>
                    <a:pt x="308" y="481"/>
                  </a:lnTo>
                  <a:lnTo>
                    <a:pt x="301" y="481"/>
                  </a:lnTo>
                  <a:lnTo>
                    <a:pt x="298" y="474"/>
                  </a:lnTo>
                  <a:lnTo>
                    <a:pt x="298" y="460"/>
                  </a:lnTo>
                  <a:lnTo>
                    <a:pt x="296" y="453"/>
                  </a:lnTo>
                  <a:lnTo>
                    <a:pt x="284" y="448"/>
                  </a:lnTo>
                  <a:lnTo>
                    <a:pt x="277" y="453"/>
                  </a:lnTo>
                  <a:lnTo>
                    <a:pt x="260" y="448"/>
                  </a:lnTo>
                  <a:lnTo>
                    <a:pt x="263" y="424"/>
                  </a:lnTo>
                  <a:lnTo>
                    <a:pt x="256" y="415"/>
                  </a:lnTo>
                  <a:lnTo>
                    <a:pt x="263" y="412"/>
                  </a:lnTo>
                  <a:lnTo>
                    <a:pt x="260" y="403"/>
                  </a:lnTo>
                  <a:lnTo>
                    <a:pt x="265" y="393"/>
                  </a:lnTo>
                  <a:lnTo>
                    <a:pt x="267" y="382"/>
                  </a:lnTo>
                  <a:lnTo>
                    <a:pt x="263" y="372"/>
                  </a:lnTo>
                  <a:lnTo>
                    <a:pt x="256" y="365"/>
                  </a:lnTo>
                  <a:lnTo>
                    <a:pt x="253" y="360"/>
                  </a:lnTo>
                  <a:lnTo>
                    <a:pt x="256" y="351"/>
                  </a:lnTo>
                  <a:lnTo>
                    <a:pt x="225" y="351"/>
                  </a:lnTo>
                  <a:lnTo>
                    <a:pt x="218" y="329"/>
                  </a:lnTo>
                  <a:lnTo>
                    <a:pt x="223" y="329"/>
                  </a:lnTo>
                  <a:lnTo>
                    <a:pt x="223" y="322"/>
                  </a:lnTo>
                  <a:lnTo>
                    <a:pt x="220" y="318"/>
                  </a:lnTo>
                  <a:lnTo>
                    <a:pt x="218" y="308"/>
                  </a:lnTo>
                  <a:lnTo>
                    <a:pt x="211" y="303"/>
                  </a:lnTo>
                  <a:lnTo>
                    <a:pt x="199" y="303"/>
                  </a:lnTo>
                  <a:lnTo>
                    <a:pt x="192" y="299"/>
                  </a:lnTo>
                  <a:lnTo>
                    <a:pt x="182" y="294"/>
                  </a:lnTo>
                  <a:lnTo>
                    <a:pt x="175" y="289"/>
                  </a:lnTo>
                  <a:lnTo>
                    <a:pt x="156" y="285"/>
                  </a:lnTo>
                  <a:lnTo>
                    <a:pt x="140" y="270"/>
                  </a:lnTo>
                  <a:lnTo>
                    <a:pt x="140" y="261"/>
                  </a:lnTo>
                  <a:lnTo>
                    <a:pt x="137" y="254"/>
                  </a:lnTo>
                  <a:lnTo>
                    <a:pt x="140" y="242"/>
                  </a:lnTo>
                  <a:lnTo>
                    <a:pt x="118" y="244"/>
                  </a:lnTo>
                  <a:lnTo>
                    <a:pt x="111" y="251"/>
                  </a:lnTo>
                  <a:lnTo>
                    <a:pt x="97" y="258"/>
                  </a:lnTo>
                  <a:lnTo>
                    <a:pt x="92" y="263"/>
                  </a:lnTo>
                  <a:lnTo>
                    <a:pt x="85" y="263"/>
                  </a:lnTo>
                  <a:lnTo>
                    <a:pt x="74" y="261"/>
                  </a:lnTo>
                  <a:lnTo>
                    <a:pt x="64" y="263"/>
                  </a:lnTo>
                  <a:lnTo>
                    <a:pt x="57" y="263"/>
                  </a:lnTo>
                  <a:lnTo>
                    <a:pt x="57" y="237"/>
                  </a:lnTo>
                  <a:lnTo>
                    <a:pt x="45" y="247"/>
                  </a:lnTo>
                  <a:lnTo>
                    <a:pt x="29" y="247"/>
                  </a:lnTo>
                  <a:lnTo>
                    <a:pt x="24" y="237"/>
                  </a:lnTo>
                  <a:lnTo>
                    <a:pt x="12" y="237"/>
                  </a:lnTo>
                  <a:lnTo>
                    <a:pt x="17" y="230"/>
                  </a:lnTo>
                  <a:lnTo>
                    <a:pt x="7" y="221"/>
                  </a:lnTo>
                  <a:lnTo>
                    <a:pt x="0" y="206"/>
                  </a:lnTo>
                  <a:lnTo>
                    <a:pt x="5" y="202"/>
                  </a:lnTo>
                  <a:lnTo>
                    <a:pt x="5" y="197"/>
                  </a:lnTo>
                  <a:lnTo>
                    <a:pt x="14" y="192"/>
                  </a:lnTo>
                  <a:lnTo>
                    <a:pt x="12" y="183"/>
                  </a:lnTo>
                  <a:lnTo>
                    <a:pt x="17" y="176"/>
                  </a:lnTo>
                  <a:lnTo>
                    <a:pt x="19" y="169"/>
                  </a:lnTo>
                  <a:lnTo>
                    <a:pt x="36" y="157"/>
                  </a:lnTo>
                  <a:lnTo>
                    <a:pt x="50" y="154"/>
                  </a:lnTo>
                  <a:lnTo>
                    <a:pt x="52" y="152"/>
                  </a:lnTo>
                  <a:lnTo>
                    <a:pt x="66" y="154"/>
                  </a:lnTo>
                  <a:lnTo>
                    <a:pt x="74" y="109"/>
                  </a:lnTo>
                  <a:lnTo>
                    <a:pt x="74" y="102"/>
                  </a:lnTo>
                  <a:lnTo>
                    <a:pt x="71" y="93"/>
                  </a:lnTo>
                  <a:lnTo>
                    <a:pt x="64" y="88"/>
                  </a:lnTo>
                  <a:lnTo>
                    <a:pt x="64" y="74"/>
                  </a:lnTo>
                  <a:lnTo>
                    <a:pt x="74" y="71"/>
                  </a:lnTo>
                  <a:lnTo>
                    <a:pt x="78" y="74"/>
                  </a:lnTo>
                  <a:lnTo>
                    <a:pt x="78" y="67"/>
                  </a:lnTo>
                  <a:lnTo>
                    <a:pt x="69" y="67"/>
                  </a:lnTo>
                  <a:lnTo>
                    <a:pt x="69" y="55"/>
                  </a:lnTo>
                  <a:lnTo>
                    <a:pt x="100" y="57"/>
                  </a:lnTo>
                  <a:lnTo>
                    <a:pt x="104" y="50"/>
                  </a:lnTo>
                  <a:lnTo>
                    <a:pt x="109" y="55"/>
                  </a:lnTo>
                  <a:lnTo>
                    <a:pt x="111" y="67"/>
                  </a:lnTo>
                  <a:lnTo>
                    <a:pt x="116" y="64"/>
                  </a:lnTo>
                  <a:lnTo>
                    <a:pt x="126" y="71"/>
                  </a:lnTo>
                  <a:lnTo>
                    <a:pt x="137" y="71"/>
                  </a:lnTo>
                  <a:lnTo>
                    <a:pt x="140" y="67"/>
                  </a:lnTo>
                  <a:lnTo>
                    <a:pt x="152" y="62"/>
                  </a:lnTo>
                  <a:lnTo>
                    <a:pt x="159" y="60"/>
                  </a:lnTo>
                  <a:lnTo>
                    <a:pt x="161" y="53"/>
                  </a:lnTo>
                  <a:lnTo>
                    <a:pt x="173" y="48"/>
                  </a:lnTo>
                  <a:lnTo>
                    <a:pt x="171" y="45"/>
                  </a:lnTo>
                  <a:lnTo>
                    <a:pt x="159" y="43"/>
                  </a:lnTo>
                  <a:lnTo>
                    <a:pt x="156" y="34"/>
                  </a:lnTo>
                  <a:lnTo>
                    <a:pt x="156" y="24"/>
                  </a:lnTo>
                  <a:lnTo>
                    <a:pt x="149" y="19"/>
                  </a:lnTo>
                  <a:lnTo>
                    <a:pt x="152" y="17"/>
                  </a:lnTo>
                  <a:lnTo>
                    <a:pt x="163" y="19"/>
                  </a:lnTo>
                  <a:lnTo>
                    <a:pt x="178" y="24"/>
                  </a:lnTo>
                  <a:lnTo>
                    <a:pt x="182" y="19"/>
                  </a:lnTo>
                  <a:lnTo>
                    <a:pt x="194" y="17"/>
                  </a:lnTo>
                  <a:lnTo>
                    <a:pt x="211" y="10"/>
                  </a:lnTo>
                  <a:lnTo>
                    <a:pt x="218" y="5"/>
                  </a:lnTo>
                  <a:lnTo>
                    <a:pt x="215" y="0"/>
                  </a:lnTo>
                  <a:lnTo>
                    <a:pt x="223" y="0"/>
                  </a:lnTo>
                  <a:lnTo>
                    <a:pt x="227" y="3"/>
                  </a:lnTo>
                  <a:lnTo>
                    <a:pt x="225" y="10"/>
                  </a:lnTo>
                  <a:lnTo>
                    <a:pt x="230" y="12"/>
                  </a:lnTo>
                  <a:lnTo>
                    <a:pt x="234" y="19"/>
                  </a:lnTo>
                  <a:lnTo>
                    <a:pt x="234" y="19"/>
                  </a:lnTo>
                  <a:lnTo>
                    <a:pt x="234" y="19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03" name="Freeform 53">
              <a:extLst>
                <a:ext uri="{FF2B5EF4-FFF2-40B4-BE49-F238E27FC236}">
                  <a16:creationId xmlns:a16="http://schemas.microsoft.com/office/drawing/2014/main" id="{07CB40CA-0277-FD84-2B9A-539232F717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94757" y="330642"/>
              <a:ext cx="1540980" cy="2040298"/>
            </a:xfrm>
            <a:custGeom>
              <a:avLst/>
              <a:gdLst>
                <a:gd name="T0" fmla="*/ 1282 w 1431"/>
                <a:gd name="T1" fmla="*/ 1697 h 1867"/>
                <a:gd name="T2" fmla="*/ 243 w 1431"/>
                <a:gd name="T3" fmla="*/ 1694 h 1867"/>
                <a:gd name="T4" fmla="*/ 283 w 1431"/>
                <a:gd name="T5" fmla="*/ 1711 h 1867"/>
                <a:gd name="T6" fmla="*/ 1423 w 1431"/>
                <a:gd name="T7" fmla="*/ 1756 h 1867"/>
                <a:gd name="T8" fmla="*/ 1338 w 1431"/>
                <a:gd name="T9" fmla="*/ 1697 h 1867"/>
                <a:gd name="T10" fmla="*/ 149 w 1431"/>
                <a:gd name="T11" fmla="*/ 1567 h 1867"/>
                <a:gd name="T12" fmla="*/ 993 w 1431"/>
                <a:gd name="T13" fmla="*/ 1337 h 1867"/>
                <a:gd name="T14" fmla="*/ 936 w 1431"/>
                <a:gd name="T15" fmla="*/ 1294 h 1867"/>
                <a:gd name="T16" fmla="*/ 986 w 1431"/>
                <a:gd name="T17" fmla="*/ 1264 h 1867"/>
                <a:gd name="T18" fmla="*/ 1054 w 1431"/>
                <a:gd name="T19" fmla="*/ 1131 h 1867"/>
                <a:gd name="T20" fmla="*/ 723 w 1431"/>
                <a:gd name="T21" fmla="*/ 1062 h 1867"/>
                <a:gd name="T22" fmla="*/ 818 w 1431"/>
                <a:gd name="T23" fmla="*/ 1074 h 1867"/>
                <a:gd name="T24" fmla="*/ 965 w 1431"/>
                <a:gd name="T25" fmla="*/ 1133 h 1867"/>
                <a:gd name="T26" fmla="*/ 752 w 1431"/>
                <a:gd name="T27" fmla="*/ 1387 h 1867"/>
                <a:gd name="T28" fmla="*/ 953 w 1431"/>
                <a:gd name="T29" fmla="*/ 1588 h 1867"/>
                <a:gd name="T30" fmla="*/ 1024 w 1431"/>
                <a:gd name="T31" fmla="*/ 1368 h 1867"/>
                <a:gd name="T32" fmla="*/ 1211 w 1431"/>
                <a:gd name="T33" fmla="*/ 1429 h 1867"/>
                <a:gd name="T34" fmla="*/ 1381 w 1431"/>
                <a:gd name="T35" fmla="*/ 1619 h 1867"/>
                <a:gd name="T36" fmla="*/ 1173 w 1431"/>
                <a:gd name="T37" fmla="*/ 1716 h 1867"/>
                <a:gd name="T38" fmla="*/ 1244 w 1431"/>
                <a:gd name="T39" fmla="*/ 1808 h 1867"/>
                <a:gd name="T40" fmla="*/ 1140 w 1431"/>
                <a:gd name="T41" fmla="*/ 1782 h 1867"/>
                <a:gd name="T42" fmla="*/ 1005 w 1431"/>
                <a:gd name="T43" fmla="*/ 1839 h 1867"/>
                <a:gd name="T44" fmla="*/ 929 w 1431"/>
                <a:gd name="T45" fmla="*/ 1775 h 1867"/>
                <a:gd name="T46" fmla="*/ 853 w 1431"/>
                <a:gd name="T47" fmla="*/ 1716 h 1867"/>
                <a:gd name="T48" fmla="*/ 598 w 1431"/>
                <a:gd name="T49" fmla="*/ 1699 h 1867"/>
                <a:gd name="T50" fmla="*/ 191 w 1431"/>
                <a:gd name="T51" fmla="*/ 1602 h 1867"/>
                <a:gd name="T52" fmla="*/ 42 w 1431"/>
                <a:gd name="T53" fmla="*/ 1406 h 1867"/>
                <a:gd name="T54" fmla="*/ 193 w 1431"/>
                <a:gd name="T55" fmla="*/ 1017 h 1867"/>
                <a:gd name="T56" fmla="*/ 439 w 1431"/>
                <a:gd name="T57" fmla="*/ 1079 h 1867"/>
                <a:gd name="T58" fmla="*/ 641 w 1431"/>
                <a:gd name="T59" fmla="*/ 1110 h 1867"/>
                <a:gd name="T60" fmla="*/ 764 w 1431"/>
                <a:gd name="T61" fmla="*/ 920 h 1867"/>
                <a:gd name="T62" fmla="*/ 532 w 1431"/>
                <a:gd name="T63" fmla="*/ 925 h 1867"/>
                <a:gd name="T64" fmla="*/ 596 w 1431"/>
                <a:gd name="T65" fmla="*/ 1055 h 1867"/>
                <a:gd name="T66" fmla="*/ 432 w 1431"/>
                <a:gd name="T67" fmla="*/ 977 h 1867"/>
                <a:gd name="T68" fmla="*/ 591 w 1431"/>
                <a:gd name="T69" fmla="*/ 830 h 1867"/>
                <a:gd name="T70" fmla="*/ 991 w 1431"/>
                <a:gd name="T71" fmla="*/ 864 h 1867"/>
                <a:gd name="T72" fmla="*/ 976 w 1431"/>
                <a:gd name="T73" fmla="*/ 904 h 1867"/>
                <a:gd name="T74" fmla="*/ 1256 w 1431"/>
                <a:gd name="T75" fmla="*/ 1141 h 1867"/>
                <a:gd name="T76" fmla="*/ 1170 w 1431"/>
                <a:gd name="T77" fmla="*/ 1264 h 1867"/>
                <a:gd name="T78" fmla="*/ 1052 w 1431"/>
                <a:gd name="T79" fmla="*/ 1204 h 1867"/>
                <a:gd name="T80" fmla="*/ 967 w 1431"/>
                <a:gd name="T81" fmla="*/ 1017 h 1867"/>
                <a:gd name="T82" fmla="*/ 659 w 1431"/>
                <a:gd name="T83" fmla="*/ 807 h 1867"/>
                <a:gd name="T84" fmla="*/ 638 w 1431"/>
                <a:gd name="T85" fmla="*/ 833 h 1867"/>
                <a:gd name="T86" fmla="*/ 794 w 1431"/>
                <a:gd name="T87" fmla="*/ 854 h 1867"/>
                <a:gd name="T88" fmla="*/ 338 w 1431"/>
                <a:gd name="T89" fmla="*/ 783 h 1867"/>
                <a:gd name="T90" fmla="*/ 716 w 1431"/>
                <a:gd name="T91" fmla="*/ 741 h 1867"/>
                <a:gd name="T92" fmla="*/ 650 w 1431"/>
                <a:gd name="T93" fmla="*/ 696 h 1867"/>
                <a:gd name="T94" fmla="*/ 572 w 1431"/>
                <a:gd name="T95" fmla="*/ 707 h 1867"/>
                <a:gd name="T96" fmla="*/ 494 w 1431"/>
                <a:gd name="T97" fmla="*/ 643 h 1867"/>
                <a:gd name="T98" fmla="*/ 861 w 1431"/>
                <a:gd name="T99" fmla="*/ 703 h 1867"/>
                <a:gd name="T100" fmla="*/ 780 w 1431"/>
                <a:gd name="T101" fmla="*/ 712 h 1867"/>
                <a:gd name="T102" fmla="*/ 340 w 1431"/>
                <a:gd name="T103" fmla="*/ 670 h 1867"/>
                <a:gd name="T104" fmla="*/ 721 w 1431"/>
                <a:gd name="T105" fmla="*/ 542 h 1867"/>
                <a:gd name="T106" fmla="*/ 499 w 1431"/>
                <a:gd name="T107" fmla="*/ 554 h 1867"/>
                <a:gd name="T108" fmla="*/ 707 w 1431"/>
                <a:gd name="T109" fmla="*/ 542 h 1867"/>
                <a:gd name="T110" fmla="*/ 617 w 1431"/>
                <a:gd name="T111" fmla="*/ 501 h 1867"/>
                <a:gd name="T112" fmla="*/ 842 w 1431"/>
                <a:gd name="T113" fmla="*/ 506 h 1867"/>
                <a:gd name="T114" fmla="*/ 806 w 1431"/>
                <a:gd name="T115" fmla="*/ 291 h 1867"/>
                <a:gd name="T116" fmla="*/ 1187 w 1431"/>
                <a:gd name="T117" fmla="*/ 210 h 1867"/>
                <a:gd name="T118" fmla="*/ 991 w 1431"/>
                <a:gd name="T119" fmla="*/ 589 h 1867"/>
                <a:gd name="T120" fmla="*/ 884 w 1431"/>
                <a:gd name="T121" fmla="*/ 516 h 1867"/>
                <a:gd name="T122" fmla="*/ 804 w 1431"/>
                <a:gd name="T123" fmla="*/ 203 h 1867"/>
                <a:gd name="T124" fmla="*/ 1140 w 1431"/>
                <a:gd name="T125" fmla="*/ 9 h 1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31" h="1867">
                  <a:moveTo>
                    <a:pt x="1253" y="1756"/>
                  </a:moveTo>
                  <a:lnTo>
                    <a:pt x="1253" y="1756"/>
                  </a:lnTo>
                  <a:lnTo>
                    <a:pt x="1263" y="1761"/>
                  </a:lnTo>
                  <a:lnTo>
                    <a:pt x="1279" y="1761"/>
                  </a:lnTo>
                  <a:lnTo>
                    <a:pt x="1272" y="1770"/>
                  </a:lnTo>
                  <a:lnTo>
                    <a:pt x="1265" y="1770"/>
                  </a:lnTo>
                  <a:lnTo>
                    <a:pt x="1244" y="1761"/>
                  </a:lnTo>
                  <a:lnTo>
                    <a:pt x="1241" y="1754"/>
                  </a:lnTo>
                  <a:lnTo>
                    <a:pt x="1246" y="1746"/>
                  </a:lnTo>
                  <a:lnTo>
                    <a:pt x="1253" y="1756"/>
                  </a:lnTo>
                  <a:lnTo>
                    <a:pt x="1253" y="1756"/>
                  </a:lnTo>
                  <a:lnTo>
                    <a:pt x="1253" y="1756"/>
                  </a:lnTo>
                  <a:close/>
                  <a:moveTo>
                    <a:pt x="1282" y="1697"/>
                  </a:moveTo>
                  <a:lnTo>
                    <a:pt x="1282" y="1697"/>
                  </a:lnTo>
                  <a:lnTo>
                    <a:pt x="1274" y="1697"/>
                  </a:lnTo>
                  <a:lnTo>
                    <a:pt x="1253" y="1690"/>
                  </a:lnTo>
                  <a:lnTo>
                    <a:pt x="1239" y="1678"/>
                  </a:lnTo>
                  <a:lnTo>
                    <a:pt x="1244" y="1675"/>
                  </a:lnTo>
                  <a:lnTo>
                    <a:pt x="1265" y="1680"/>
                  </a:lnTo>
                  <a:lnTo>
                    <a:pt x="1282" y="1692"/>
                  </a:lnTo>
                  <a:lnTo>
                    <a:pt x="1282" y="1697"/>
                  </a:lnTo>
                  <a:lnTo>
                    <a:pt x="1282" y="1697"/>
                  </a:lnTo>
                  <a:lnTo>
                    <a:pt x="1282" y="1697"/>
                  </a:lnTo>
                  <a:close/>
                  <a:moveTo>
                    <a:pt x="283" y="1711"/>
                  </a:moveTo>
                  <a:lnTo>
                    <a:pt x="283" y="1711"/>
                  </a:lnTo>
                  <a:lnTo>
                    <a:pt x="274" y="1713"/>
                  </a:lnTo>
                  <a:lnTo>
                    <a:pt x="248" y="1702"/>
                  </a:lnTo>
                  <a:lnTo>
                    <a:pt x="243" y="1694"/>
                  </a:lnTo>
                  <a:lnTo>
                    <a:pt x="229" y="1685"/>
                  </a:lnTo>
                  <a:lnTo>
                    <a:pt x="227" y="1678"/>
                  </a:lnTo>
                  <a:lnTo>
                    <a:pt x="210" y="1673"/>
                  </a:lnTo>
                  <a:lnTo>
                    <a:pt x="203" y="1659"/>
                  </a:lnTo>
                  <a:lnTo>
                    <a:pt x="205" y="1654"/>
                  </a:lnTo>
                  <a:lnTo>
                    <a:pt x="222" y="1659"/>
                  </a:lnTo>
                  <a:lnTo>
                    <a:pt x="231" y="1664"/>
                  </a:lnTo>
                  <a:lnTo>
                    <a:pt x="248" y="1666"/>
                  </a:lnTo>
                  <a:lnTo>
                    <a:pt x="253" y="1675"/>
                  </a:lnTo>
                  <a:lnTo>
                    <a:pt x="260" y="1687"/>
                  </a:lnTo>
                  <a:lnTo>
                    <a:pt x="276" y="1697"/>
                  </a:lnTo>
                  <a:lnTo>
                    <a:pt x="283" y="1711"/>
                  </a:lnTo>
                  <a:lnTo>
                    <a:pt x="283" y="1711"/>
                  </a:lnTo>
                  <a:lnTo>
                    <a:pt x="283" y="1711"/>
                  </a:lnTo>
                  <a:close/>
                  <a:moveTo>
                    <a:pt x="1374" y="1657"/>
                  </a:moveTo>
                  <a:lnTo>
                    <a:pt x="1374" y="1657"/>
                  </a:lnTo>
                  <a:lnTo>
                    <a:pt x="1364" y="1678"/>
                  </a:lnTo>
                  <a:lnTo>
                    <a:pt x="1374" y="1671"/>
                  </a:lnTo>
                  <a:lnTo>
                    <a:pt x="1386" y="1675"/>
                  </a:lnTo>
                  <a:lnTo>
                    <a:pt x="1379" y="1683"/>
                  </a:lnTo>
                  <a:lnTo>
                    <a:pt x="1395" y="1692"/>
                  </a:lnTo>
                  <a:lnTo>
                    <a:pt x="1400" y="1685"/>
                  </a:lnTo>
                  <a:lnTo>
                    <a:pt x="1416" y="1692"/>
                  </a:lnTo>
                  <a:lnTo>
                    <a:pt x="1412" y="1711"/>
                  </a:lnTo>
                  <a:lnTo>
                    <a:pt x="1423" y="1706"/>
                  </a:lnTo>
                  <a:lnTo>
                    <a:pt x="1426" y="1718"/>
                  </a:lnTo>
                  <a:lnTo>
                    <a:pt x="1431" y="1735"/>
                  </a:lnTo>
                  <a:lnTo>
                    <a:pt x="1423" y="1756"/>
                  </a:lnTo>
                  <a:lnTo>
                    <a:pt x="1416" y="1756"/>
                  </a:lnTo>
                  <a:lnTo>
                    <a:pt x="1407" y="1751"/>
                  </a:lnTo>
                  <a:lnTo>
                    <a:pt x="1409" y="1732"/>
                  </a:lnTo>
                  <a:lnTo>
                    <a:pt x="1405" y="1728"/>
                  </a:lnTo>
                  <a:lnTo>
                    <a:pt x="1386" y="1749"/>
                  </a:lnTo>
                  <a:lnTo>
                    <a:pt x="1376" y="1749"/>
                  </a:lnTo>
                  <a:lnTo>
                    <a:pt x="1388" y="1737"/>
                  </a:lnTo>
                  <a:lnTo>
                    <a:pt x="1371" y="1732"/>
                  </a:lnTo>
                  <a:lnTo>
                    <a:pt x="1355" y="1732"/>
                  </a:lnTo>
                  <a:lnTo>
                    <a:pt x="1324" y="1732"/>
                  </a:lnTo>
                  <a:lnTo>
                    <a:pt x="1322" y="1725"/>
                  </a:lnTo>
                  <a:lnTo>
                    <a:pt x="1331" y="1716"/>
                  </a:lnTo>
                  <a:lnTo>
                    <a:pt x="1324" y="1709"/>
                  </a:lnTo>
                  <a:lnTo>
                    <a:pt x="1338" y="1697"/>
                  </a:lnTo>
                  <a:lnTo>
                    <a:pt x="1355" y="1657"/>
                  </a:lnTo>
                  <a:lnTo>
                    <a:pt x="1364" y="1640"/>
                  </a:lnTo>
                  <a:lnTo>
                    <a:pt x="1379" y="1633"/>
                  </a:lnTo>
                  <a:lnTo>
                    <a:pt x="1386" y="1633"/>
                  </a:lnTo>
                  <a:lnTo>
                    <a:pt x="1383" y="1640"/>
                  </a:lnTo>
                  <a:lnTo>
                    <a:pt x="1374" y="1657"/>
                  </a:lnTo>
                  <a:lnTo>
                    <a:pt x="1374" y="1657"/>
                  </a:lnTo>
                  <a:lnTo>
                    <a:pt x="1374" y="1657"/>
                  </a:lnTo>
                  <a:close/>
                  <a:moveTo>
                    <a:pt x="134" y="1569"/>
                  </a:moveTo>
                  <a:lnTo>
                    <a:pt x="134" y="1569"/>
                  </a:lnTo>
                  <a:lnTo>
                    <a:pt x="134" y="1569"/>
                  </a:lnTo>
                  <a:lnTo>
                    <a:pt x="134" y="1569"/>
                  </a:lnTo>
                  <a:lnTo>
                    <a:pt x="134" y="1569"/>
                  </a:lnTo>
                  <a:lnTo>
                    <a:pt x="149" y="1567"/>
                  </a:lnTo>
                  <a:lnTo>
                    <a:pt x="146" y="1597"/>
                  </a:lnTo>
                  <a:lnTo>
                    <a:pt x="158" y="1616"/>
                  </a:lnTo>
                  <a:lnTo>
                    <a:pt x="153" y="1616"/>
                  </a:lnTo>
                  <a:lnTo>
                    <a:pt x="144" y="1604"/>
                  </a:lnTo>
                  <a:lnTo>
                    <a:pt x="137" y="1593"/>
                  </a:lnTo>
                  <a:lnTo>
                    <a:pt x="127" y="1586"/>
                  </a:lnTo>
                  <a:lnTo>
                    <a:pt x="125" y="1574"/>
                  </a:lnTo>
                  <a:lnTo>
                    <a:pt x="127" y="1564"/>
                  </a:lnTo>
                  <a:lnTo>
                    <a:pt x="134" y="1569"/>
                  </a:lnTo>
                  <a:lnTo>
                    <a:pt x="134" y="1569"/>
                  </a:lnTo>
                  <a:lnTo>
                    <a:pt x="134" y="1569"/>
                  </a:lnTo>
                  <a:close/>
                  <a:moveTo>
                    <a:pt x="1000" y="1320"/>
                  </a:moveTo>
                  <a:lnTo>
                    <a:pt x="1000" y="1320"/>
                  </a:lnTo>
                  <a:lnTo>
                    <a:pt x="993" y="1337"/>
                  </a:lnTo>
                  <a:lnTo>
                    <a:pt x="986" y="1335"/>
                  </a:lnTo>
                  <a:lnTo>
                    <a:pt x="981" y="1325"/>
                  </a:lnTo>
                  <a:lnTo>
                    <a:pt x="984" y="1323"/>
                  </a:lnTo>
                  <a:lnTo>
                    <a:pt x="988" y="1313"/>
                  </a:lnTo>
                  <a:lnTo>
                    <a:pt x="995" y="1313"/>
                  </a:lnTo>
                  <a:lnTo>
                    <a:pt x="1000" y="1320"/>
                  </a:lnTo>
                  <a:lnTo>
                    <a:pt x="1000" y="1320"/>
                  </a:lnTo>
                  <a:lnTo>
                    <a:pt x="1000" y="1320"/>
                  </a:lnTo>
                  <a:close/>
                  <a:moveTo>
                    <a:pt x="957" y="1299"/>
                  </a:moveTo>
                  <a:lnTo>
                    <a:pt x="957" y="1299"/>
                  </a:lnTo>
                  <a:lnTo>
                    <a:pt x="939" y="1320"/>
                  </a:lnTo>
                  <a:lnTo>
                    <a:pt x="927" y="1318"/>
                  </a:lnTo>
                  <a:lnTo>
                    <a:pt x="922" y="1311"/>
                  </a:lnTo>
                  <a:lnTo>
                    <a:pt x="936" y="1294"/>
                  </a:lnTo>
                  <a:lnTo>
                    <a:pt x="957" y="1294"/>
                  </a:lnTo>
                  <a:lnTo>
                    <a:pt x="957" y="1299"/>
                  </a:lnTo>
                  <a:lnTo>
                    <a:pt x="957" y="1299"/>
                  </a:lnTo>
                  <a:lnTo>
                    <a:pt x="957" y="1299"/>
                  </a:lnTo>
                  <a:close/>
                  <a:moveTo>
                    <a:pt x="905" y="1190"/>
                  </a:moveTo>
                  <a:lnTo>
                    <a:pt x="905" y="1190"/>
                  </a:lnTo>
                  <a:lnTo>
                    <a:pt x="908" y="1209"/>
                  </a:lnTo>
                  <a:lnTo>
                    <a:pt x="915" y="1202"/>
                  </a:lnTo>
                  <a:lnTo>
                    <a:pt x="924" y="1212"/>
                  </a:lnTo>
                  <a:lnTo>
                    <a:pt x="943" y="1226"/>
                  </a:lnTo>
                  <a:lnTo>
                    <a:pt x="962" y="1238"/>
                  </a:lnTo>
                  <a:lnTo>
                    <a:pt x="962" y="1254"/>
                  </a:lnTo>
                  <a:lnTo>
                    <a:pt x="974" y="1252"/>
                  </a:lnTo>
                  <a:lnTo>
                    <a:pt x="986" y="1264"/>
                  </a:lnTo>
                  <a:lnTo>
                    <a:pt x="972" y="1275"/>
                  </a:lnTo>
                  <a:lnTo>
                    <a:pt x="946" y="1266"/>
                  </a:lnTo>
                  <a:lnTo>
                    <a:pt x="936" y="1252"/>
                  </a:lnTo>
                  <a:lnTo>
                    <a:pt x="922" y="1271"/>
                  </a:lnTo>
                  <a:lnTo>
                    <a:pt x="898" y="1290"/>
                  </a:lnTo>
                  <a:lnTo>
                    <a:pt x="894" y="1268"/>
                  </a:lnTo>
                  <a:lnTo>
                    <a:pt x="870" y="1271"/>
                  </a:lnTo>
                  <a:lnTo>
                    <a:pt x="884" y="1254"/>
                  </a:lnTo>
                  <a:lnTo>
                    <a:pt x="887" y="1223"/>
                  </a:lnTo>
                  <a:lnTo>
                    <a:pt x="891" y="1188"/>
                  </a:lnTo>
                  <a:lnTo>
                    <a:pt x="905" y="1190"/>
                  </a:lnTo>
                  <a:lnTo>
                    <a:pt x="905" y="1190"/>
                  </a:lnTo>
                  <a:lnTo>
                    <a:pt x="905" y="1190"/>
                  </a:lnTo>
                  <a:close/>
                  <a:moveTo>
                    <a:pt x="1054" y="1131"/>
                  </a:moveTo>
                  <a:lnTo>
                    <a:pt x="1054" y="1131"/>
                  </a:lnTo>
                  <a:lnTo>
                    <a:pt x="1036" y="1133"/>
                  </a:lnTo>
                  <a:lnTo>
                    <a:pt x="1033" y="1112"/>
                  </a:lnTo>
                  <a:lnTo>
                    <a:pt x="1040" y="1088"/>
                  </a:lnTo>
                  <a:lnTo>
                    <a:pt x="1054" y="1084"/>
                  </a:lnTo>
                  <a:lnTo>
                    <a:pt x="1066" y="1096"/>
                  </a:lnTo>
                  <a:lnTo>
                    <a:pt x="1069" y="1112"/>
                  </a:lnTo>
                  <a:lnTo>
                    <a:pt x="1066" y="1119"/>
                  </a:lnTo>
                  <a:lnTo>
                    <a:pt x="1054" y="1131"/>
                  </a:lnTo>
                  <a:lnTo>
                    <a:pt x="1054" y="1131"/>
                  </a:lnTo>
                  <a:lnTo>
                    <a:pt x="1054" y="1131"/>
                  </a:lnTo>
                  <a:close/>
                  <a:moveTo>
                    <a:pt x="735" y="1048"/>
                  </a:moveTo>
                  <a:lnTo>
                    <a:pt x="735" y="1048"/>
                  </a:lnTo>
                  <a:lnTo>
                    <a:pt x="723" y="1062"/>
                  </a:lnTo>
                  <a:lnTo>
                    <a:pt x="702" y="1048"/>
                  </a:lnTo>
                  <a:lnTo>
                    <a:pt x="690" y="1053"/>
                  </a:lnTo>
                  <a:lnTo>
                    <a:pt x="667" y="1034"/>
                  </a:lnTo>
                  <a:lnTo>
                    <a:pt x="681" y="1020"/>
                  </a:lnTo>
                  <a:lnTo>
                    <a:pt x="693" y="999"/>
                  </a:lnTo>
                  <a:lnTo>
                    <a:pt x="709" y="1013"/>
                  </a:lnTo>
                  <a:lnTo>
                    <a:pt x="719" y="1022"/>
                  </a:lnTo>
                  <a:lnTo>
                    <a:pt x="726" y="1029"/>
                  </a:lnTo>
                  <a:lnTo>
                    <a:pt x="735" y="1048"/>
                  </a:lnTo>
                  <a:lnTo>
                    <a:pt x="735" y="1048"/>
                  </a:lnTo>
                  <a:lnTo>
                    <a:pt x="735" y="1048"/>
                  </a:lnTo>
                  <a:close/>
                  <a:moveTo>
                    <a:pt x="818" y="1029"/>
                  </a:moveTo>
                  <a:lnTo>
                    <a:pt x="818" y="1029"/>
                  </a:lnTo>
                  <a:lnTo>
                    <a:pt x="818" y="1074"/>
                  </a:lnTo>
                  <a:lnTo>
                    <a:pt x="839" y="1041"/>
                  </a:lnTo>
                  <a:lnTo>
                    <a:pt x="858" y="1070"/>
                  </a:lnTo>
                  <a:lnTo>
                    <a:pt x="853" y="1100"/>
                  </a:lnTo>
                  <a:lnTo>
                    <a:pt x="870" y="1129"/>
                  </a:lnTo>
                  <a:lnTo>
                    <a:pt x="887" y="1098"/>
                  </a:lnTo>
                  <a:lnTo>
                    <a:pt x="898" y="1062"/>
                  </a:lnTo>
                  <a:lnTo>
                    <a:pt x="898" y="1010"/>
                  </a:lnTo>
                  <a:lnTo>
                    <a:pt x="922" y="1015"/>
                  </a:lnTo>
                  <a:lnTo>
                    <a:pt x="946" y="1022"/>
                  </a:lnTo>
                  <a:lnTo>
                    <a:pt x="967" y="1044"/>
                  </a:lnTo>
                  <a:lnTo>
                    <a:pt x="967" y="1067"/>
                  </a:lnTo>
                  <a:lnTo>
                    <a:pt x="955" y="1091"/>
                  </a:lnTo>
                  <a:lnTo>
                    <a:pt x="967" y="1112"/>
                  </a:lnTo>
                  <a:lnTo>
                    <a:pt x="965" y="1133"/>
                  </a:lnTo>
                  <a:lnTo>
                    <a:pt x="934" y="1162"/>
                  </a:lnTo>
                  <a:lnTo>
                    <a:pt x="910" y="1169"/>
                  </a:lnTo>
                  <a:lnTo>
                    <a:pt x="894" y="1157"/>
                  </a:lnTo>
                  <a:lnTo>
                    <a:pt x="889" y="1176"/>
                  </a:lnTo>
                  <a:lnTo>
                    <a:pt x="875" y="1209"/>
                  </a:lnTo>
                  <a:lnTo>
                    <a:pt x="870" y="1226"/>
                  </a:lnTo>
                  <a:lnTo>
                    <a:pt x="851" y="1252"/>
                  </a:lnTo>
                  <a:lnTo>
                    <a:pt x="827" y="1254"/>
                  </a:lnTo>
                  <a:lnTo>
                    <a:pt x="813" y="1268"/>
                  </a:lnTo>
                  <a:lnTo>
                    <a:pt x="813" y="1292"/>
                  </a:lnTo>
                  <a:lnTo>
                    <a:pt x="794" y="1297"/>
                  </a:lnTo>
                  <a:lnTo>
                    <a:pt x="773" y="1325"/>
                  </a:lnTo>
                  <a:lnTo>
                    <a:pt x="756" y="1363"/>
                  </a:lnTo>
                  <a:lnTo>
                    <a:pt x="752" y="1387"/>
                  </a:lnTo>
                  <a:lnTo>
                    <a:pt x="749" y="1425"/>
                  </a:lnTo>
                  <a:lnTo>
                    <a:pt x="773" y="1429"/>
                  </a:lnTo>
                  <a:lnTo>
                    <a:pt x="780" y="1458"/>
                  </a:lnTo>
                  <a:lnTo>
                    <a:pt x="790" y="1481"/>
                  </a:lnTo>
                  <a:lnTo>
                    <a:pt x="811" y="1477"/>
                  </a:lnTo>
                  <a:lnTo>
                    <a:pt x="842" y="1488"/>
                  </a:lnTo>
                  <a:lnTo>
                    <a:pt x="858" y="1500"/>
                  </a:lnTo>
                  <a:lnTo>
                    <a:pt x="870" y="1512"/>
                  </a:lnTo>
                  <a:lnTo>
                    <a:pt x="889" y="1522"/>
                  </a:lnTo>
                  <a:lnTo>
                    <a:pt x="908" y="1533"/>
                  </a:lnTo>
                  <a:lnTo>
                    <a:pt x="934" y="1533"/>
                  </a:lnTo>
                  <a:lnTo>
                    <a:pt x="950" y="1538"/>
                  </a:lnTo>
                  <a:lnTo>
                    <a:pt x="948" y="1562"/>
                  </a:lnTo>
                  <a:lnTo>
                    <a:pt x="953" y="1588"/>
                  </a:lnTo>
                  <a:lnTo>
                    <a:pt x="965" y="1619"/>
                  </a:lnTo>
                  <a:lnTo>
                    <a:pt x="988" y="1642"/>
                  </a:lnTo>
                  <a:lnTo>
                    <a:pt x="1002" y="1635"/>
                  </a:lnTo>
                  <a:lnTo>
                    <a:pt x="1010" y="1607"/>
                  </a:lnTo>
                  <a:lnTo>
                    <a:pt x="1002" y="1564"/>
                  </a:lnTo>
                  <a:lnTo>
                    <a:pt x="991" y="1550"/>
                  </a:lnTo>
                  <a:lnTo>
                    <a:pt x="1017" y="1538"/>
                  </a:lnTo>
                  <a:lnTo>
                    <a:pt x="1036" y="1517"/>
                  </a:lnTo>
                  <a:lnTo>
                    <a:pt x="1045" y="1498"/>
                  </a:lnTo>
                  <a:lnTo>
                    <a:pt x="1043" y="1479"/>
                  </a:lnTo>
                  <a:lnTo>
                    <a:pt x="1031" y="1453"/>
                  </a:lnTo>
                  <a:lnTo>
                    <a:pt x="1012" y="1429"/>
                  </a:lnTo>
                  <a:lnTo>
                    <a:pt x="1031" y="1396"/>
                  </a:lnTo>
                  <a:lnTo>
                    <a:pt x="1024" y="1368"/>
                  </a:lnTo>
                  <a:lnTo>
                    <a:pt x="1019" y="1313"/>
                  </a:lnTo>
                  <a:lnTo>
                    <a:pt x="1031" y="1306"/>
                  </a:lnTo>
                  <a:lnTo>
                    <a:pt x="1057" y="1316"/>
                  </a:lnTo>
                  <a:lnTo>
                    <a:pt x="1073" y="1318"/>
                  </a:lnTo>
                  <a:lnTo>
                    <a:pt x="1088" y="1311"/>
                  </a:lnTo>
                  <a:lnTo>
                    <a:pt x="1102" y="1320"/>
                  </a:lnTo>
                  <a:lnTo>
                    <a:pt x="1123" y="1342"/>
                  </a:lnTo>
                  <a:lnTo>
                    <a:pt x="1128" y="1354"/>
                  </a:lnTo>
                  <a:lnTo>
                    <a:pt x="1156" y="1358"/>
                  </a:lnTo>
                  <a:lnTo>
                    <a:pt x="1156" y="1384"/>
                  </a:lnTo>
                  <a:lnTo>
                    <a:pt x="1161" y="1425"/>
                  </a:lnTo>
                  <a:lnTo>
                    <a:pt x="1177" y="1429"/>
                  </a:lnTo>
                  <a:lnTo>
                    <a:pt x="1187" y="1448"/>
                  </a:lnTo>
                  <a:lnTo>
                    <a:pt x="1211" y="1429"/>
                  </a:lnTo>
                  <a:lnTo>
                    <a:pt x="1227" y="1396"/>
                  </a:lnTo>
                  <a:lnTo>
                    <a:pt x="1237" y="1382"/>
                  </a:lnTo>
                  <a:lnTo>
                    <a:pt x="1251" y="1408"/>
                  </a:lnTo>
                  <a:lnTo>
                    <a:pt x="1272" y="1448"/>
                  </a:lnTo>
                  <a:lnTo>
                    <a:pt x="1289" y="1486"/>
                  </a:lnTo>
                  <a:lnTo>
                    <a:pt x="1282" y="1503"/>
                  </a:lnTo>
                  <a:lnTo>
                    <a:pt x="1305" y="1519"/>
                  </a:lnTo>
                  <a:lnTo>
                    <a:pt x="1319" y="1536"/>
                  </a:lnTo>
                  <a:lnTo>
                    <a:pt x="1343" y="1543"/>
                  </a:lnTo>
                  <a:lnTo>
                    <a:pt x="1355" y="1552"/>
                  </a:lnTo>
                  <a:lnTo>
                    <a:pt x="1362" y="1574"/>
                  </a:lnTo>
                  <a:lnTo>
                    <a:pt x="1374" y="1578"/>
                  </a:lnTo>
                  <a:lnTo>
                    <a:pt x="1381" y="1588"/>
                  </a:lnTo>
                  <a:lnTo>
                    <a:pt x="1381" y="1619"/>
                  </a:lnTo>
                  <a:lnTo>
                    <a:pt x="1369" y="1628"/>
                  </a:lnTo>
                  <a:lnTo>
                    <a:pt x="1357" y="1638"/>
                  </a:lnTo>
                  <a:lnTo>
                    <a:pt x="1331" y="1647"/>
                  </a:lnTo>
                  <a:lnTo>
                    <a:pt x="1312" y="1668"/>
                  </a:lnTo>
                  <a:lnTo>
                    <a:pt x="1284" y="1671"/>
                  </a:lnTo>
                  <a:lnTo>
                    <a:pt x="1248" y="1666"/>
                  </a:lnTo>
                  <a:lnTo>
                    <a:pt x="1225" y="1666"/>
                  </a:lnTo>
                  <a:lnTo>
                    <a:pt x="1208" y="1668"/>
                  </a:lnTo>
                  <a:lnTo>
                    <a:pt x="1194" y="1685"/>
                  </a:lnTo>
                  <a:lnTo>
                    <a:pt x="1175" y="1697"/>
                  </a:lnTo>
                  <a:lnTo>
                    <a:pt x="1151" y="1728"/>
                  </a:lnTo>
                  <a:lnTo>
                    <a:pt x="1130" y="1751"/>
                  </a:lnTo>
                  <a:lnTo>
                    <a:pt x="1147" y="1746"/>
                  </a:lnTo>
                  <a:lnTo>
                    <a:pt x="1173" y="1716"/>
                  </a:lnTo>
                  <a:lnTo>
                    <a:pt x="1206" y="1697"/>
                  </a:lnTo>
                  <a:lnTo>
                    <a:pt x="1229" y="1692"/>
                  </a:lnTo>
                  <a:lnTo>
                    <a:pt x="1244" y="1704"/>
                  </a:lnTo>
                  <a:lnTo>
                    <a:pt x="1229" y="1720"/>
                  </a:lnTo>
                  <a:lnTo>
                    <a:pt x="1234" y="1746"/>
                  </a:lnTo>
                  <a:lnTo>
                    <a:pt x="1239" y="1763"/>
                  </a:lnTo>
                  <a:lnTo>
                    <a:pt x="1260" y="1775"/>
                  </a:lnTo>
                  <a:lnTo>
                    <a:pt x="1286" y="1773"/>
                  </a:lnTo>
                  <a:lnTo>
                    <a:pt x="1303" y="1746"/>
                  </a:lnTo>
                  <a:lnTo>
                    <a:pt x="1305" y="1763"/>
                  </a:lnTo>
                  <a:lnTo>
                    <a:pt x="1315" y="1773"/>
                  </a:lnTo>
                  <a:lnTo>
                    <a:pt x="1293" y="1787"/>
                  </a:lnTo>
                  <a:lnTo>
                    <a:pt x="1260" y="1801"/>
                  </a:lnTo>
                  <a:lnTo>
                    <a:pt x="1244" y="1808"/>
                  </a:lnTo>
                  <a:lnTo>
                    <a:pt x="1225" y="1825"/>
                  </a:lnTo>
                  <a:lnTo>
                    <a:pt x="1213" y="1825"/>
                  </a:lnTo>
                  <a:lnTo>
                    <a:pt x="1211" y="1806"/>
                  </a:lnTo>
                  <a:lnTo>
                    <a:pt x="1239" y="1787"/>
                  </a:lnTo>
                  <a:lnTo>
                    <a:pt x="1213" y="1787"/>
                  </a:lnTo>
                  <a:lnTo>
                    <a:pt x="1196" y="1789"/>
                  </a:lnTo>
                  <a:lnTo>
                    <a:pt x="1185" y="1777"/>
                  </a:lnTo>
                  <a:lnTo>
                    <a:pt x="1185" y="1744"/>
                  </a:lnTo>
                  <a:lnTo>
                    <a:pt x="1180" y="1739"/>
                  </a:lnTo>
                  <a:lnTo>
                    <a:pt x="1168" y="1742"/>
                  </a:lnTo>
                  <a:lnTo>
                    <a:pt x="1163" y="1737"/>
                  </a:lnTo>
                  <a:lnTo>
                    <a:pt x="1149" y="1754"/>
                  </a:lnTo>
                  <a:lnTo>
                    <a:pt x="1144" y="1773"/>
                  </a:lnTo>
                  <a:lnTo>
                    <a:pt x="1140" y="1782"/>
                  </a:lnTo>
                  <a:lnTo>
                    <a:pt x="1133" y="1784"/>
                  </a:lnTo>
                  <a:lnTo>
                    <a:pt x="1128" y="1787"/>
                  </a:lnTo>
                  <a:lnTo>
                    <a:pt x="1125" y="1791"/>
                  </a:lnTo>
                  <a:lnTo>
                    <a:pt x="1095" y="1791"/>
                  </a:lnTo>
                  <a:lnTo>
                    <a:pt x="1071" y="1794"/>
                  </a:lnTo>
                  <a:lnTo>
                    <a:pt x="1064" y="1796"/>
                  </a:lnTo>
                  <a:lnTo>
                    <a:pt x="1047" y="1813"/>
                  </a:lnTo>
                  <a:lnTo>
                    <a:pt x="1045" y="1815"/>
                  </a:lnTo>
                  <a:lnTo>
                    <a:pt x="1040" y="1825"/>
                  </a:lnTo>
                  <a:lnTo>
                    <a:pt x="1024" y="1825"/>
                  </a:lnTo>
                  <a:lnTo>
                    <a:pt x="1010" y="1825"/>
                  </a:lnTo>
                  <a:lnTo>
                    <a:pt x="1002" y="1827"/>
                  </a:lnTo>
                  <a:lnTo>
                    <a:pt x="1002" y="1832"/>
                  </a:lnTo>
                  <a:lnTo>
                    <a:pt x="1005" y="1839"/>
                  </a:lnTo>
                  <a:lnTo>
                    <a:pt x="1005" y="1841"/>
                  </a:lnTo>
                  <a:lnTo>
                    <a:pt x="984" y="1851"/>
                  </a:lnTo>
                  <a:lnTo>
                    <a:pt x="967" y="1855"/>
                  </a:lnTo>
                  <a:lnTo>
                    <a:pt x="948" y="1867"/>
                  </a:lnTo>
                  <a:lnTo>
                    <a:pt x="943" y="1867"/>
                  </a:lnTo>
                  <a:lnTo>
                    <a:pt x="939" y="1862"/>
                  </a:lnTo>
                  <a:lnTo>
                    <a:pt x="936" y="1860"/>
                  </a:lnTo>
                  <a:lnTo>
                    <a:pt x="936" y="1858"/>
                  </a:lnTo>
                  <a:lnTo>
                    <a:pt x="941" y="1851"/>
                  </a:lnTo>
                  <a:lnTo>
                    <a:pt x="948" y="1839"/>
                  </a:lnTo>
                  <a:lnTo>
                    <a:pt x="953" y="1825"/>
                  </a:lnTo>
                  <a:lnTo>
                    <a:pt x="950" y="1806"/>
                  </a:lnTo>
                  <a:lnTo>
                    <a:pt x="946" y="1784"/>
                  </a:lnTo>
                  <a:lnTo>
                    <a:pt x="929" y="1775"/>
                  </a:lnTo>
                  <a:lnTo>
                    <a:pt x="931" y="1770"/>
                  </a:lnTo>
                  <a:lnTo>
                    <a:pt x="929" y="1768"/>
                  </a:lnTo>
                  <a:lnTo>
                    <a:pt x="924" y="1768"/>
                  </a:lnTo>
                  <a:lnTo>
                    <a:pt x="922" y="1763"/>
                  </a:lnTo>
                  <a:lnTo>
                    <a:pt x="922" y="1758"/>
                  </a:lnTo>
                  <a:lnTo>
                    <a:pt x="917" y="1761"/>
                  </a:lnTo>
                  <a:lnTo>
                    <a:pt x="913" y="1761"/>
                  </a:lnTo>
                  <a:lnTo>
                    <a:pt x="915" y="1758"/>
                  </a:lnTo>
                  <a:lnTo>
                    <a:pt x="910" y="1756"/>
                  </a:lnTo>
                  <a:lnTo>
                    <a:pt x="908" y="1749"/>
                  </a:lnTo>
                  <a:lnTo>
                    <a:pt x="896" y="1742"/>
                  </a:lnTo>
                  <a:lnTo>
                    <a:pt x="882" y="1732"/>
                  </a:lnTo>
                  <a:lnTo>
                    <a:pt x="868" y="1723"/>
                  </a:lnTo>
                  <a:lnTo>
                    <a:pt x="853" y="1716"/>
                  </a:lnTo>
                  <a:lnTo>
                    <a:pt x="837" y="1723"/>
                  </a:lnTo>
                  <a:lnTo>
                    <a:pt x="832" y="1723"/>
                  </a:lnTo>
                  <a:lnTo>
                    <a:pt x="813" y="1716"/>
                  </a:lnTo>
                  <a:lnTo>
                    <a:pt x="799" y="1720"/>
                  </a:lnTo>
                  <a:lnTo>
                    <a:pt x="782" y="1711"/>
                  </a:lnTo>
                  <a:lnTo>
                    <a:pt x="768" y="1709"/>
                  </a:lnTo>
                  <a:lnTo>
                    <a:pt x="756" y="1706"/>
                  </a:lnTo>
                  <a:lnTo>
                    <a:pt x="749" y="1702"/>
                  </a:lnTo>
                  <a:lnTo>
                    <a:pt x="747" y="1690"/>
                  </a:lnTo>
                  <a:lnTo>
                    <a:pt x="742" y="1690"/>
                  </a:lnTo>
                  <a:lnTo>
                    <a:pt x="742" y="1699"/>
                  </a:lnTo>
                  <a:lnTo>
                    <a:pt x="709" y="1699"/>
                  </a:lnTo>
                  <a:lnTo>
                    <a:pt x="652" y="1699"/>
                  </a:lnTo>
                  <a:lnTo>
                    <a:pt x="598" y="1699"/>
                  </a:lnTo>
                  <a:lnTo>
                    <a:pt x="551" y="1699"/>
                  </a:lnTo>
                  <a:lnTo>
                    <a:pt x="501" y="1699"/>
                  </a:lnTo>
                  <a:lnTo>
                    <a:pt x="454" y="1699"/>
                  </a:lnTo>
                  <a:lnTo>
                    <a:pt x="404" y="1699"/>
                  </a:lnTo>
                  <a:lnTo>
                    <a:pt x="387" y="1699"/>
                  </a:lnTo>
                  <a:lnTo>
                    <a:pt x="340" y="1699"/>
                  </a:lnTo>
                  <a:lnTo>
                    <a:pt x="293" y="1699"/>
                  </a:lnTo>
                  <a:lnTo>
                    <a:pt x="290" y="1699"/>
                  </a:lnTo>
                  <a:lnTo>
                    <a:pt x="260" y="1675"/>
                  </a:lnTo>
                  <a:lnTo>
                    <a:pt x="248" y="1664"/>
                  </a:lnTo>
                  <a:lnTo>
                    <a:pt x="220" y="1652"/>
                  </a:lnTo>
                  <a:lnTo>
                    <a:pt x="210" y="1631"/>
                  </a:lnTo>
                  <a:lnTo>
                    <a:pt x="212" y="1614"/>
                  </a:lnTo>
                  <a:lnTo>
                    <a:pt x="191" y="1602"/>
                  </a:lnTo>
                  <a:lnTo>
                    <a:pt x="189" y="1581"/>
                  </a:lnTo>
                  <a:lnTo>
                    <a:pt x="170" y="1562"/>
                  </a:lnTo>
                  <a:lnTo>
                    <a:pt x="170" y="1548"/>
                  </a:lnTo>
                  <a:lnTo>
                    <a:pt x="177" y="1533"/>
                  </a:lnTo>
                  <a:lnTo>
                    <a:pt x="177" y="1515"/>
                  </a:lnTo>
                  <a:lnTo>
                    <a:pt x="151" y="1498"/>
                  </a:lnTo>
                  <a:lnTo>
                    <a:pt x="134" y="1465"/>
                  </a:lnTo>
                  <a:lnTo>
                    <a:pt x="123" y="1441"/>
                  </a:lnTo>
                  <a:lnTo>
                    <a:pt x="108" y="1427"/>
                  </a:lnTo>
                  <a:lnTo>
                    <a:pt x="97" y="1415"/>
                  </a:lnTo>
                  <a:lnTo>
                    <a:pt x="89" y="1399"/>
                  </a:lnTo>
                  <a:lnTo>
                    <a:pt x="73" y="1408"/>
                  </a:lnTo>
                  <a:lnTo>
                    <a:pt x="59" y="1427"/>
                  </a:lnTo>
                  <a:lnTo>
                    <a:pt x="42" y="1406"/>
                  </a:lnTo>
                  <a:lnTo>
                    <a:pt x="33" y="1391"/>
                  </a:lnTo>
                  <a:lnTo>
                    <a:pt x="16" y="1382"/>
                  </a:lnTo>
                  <a:lnTo>
                    <a:pt x="0" y="1382"/>
                  </a:lnTo>
                  <a:lnTo>
                    <a:pt x="0" y="1178"/>
                  </a:lnTo>
                  <a:lnTo>
                    <a:pt x="0" y="1020"/>
                  </a:lnTo>
                  <a:lnTo>
                    <a:pt x="30" y="1032"/>
                  </a:lnTo>
                  <a:lnTo>
                    <a:pt x="56" y="1053"/>
                  </a:lnTo>
                  <a:lnTo>
                    <a:pt x="73" y="1058"/>
                  </a:lnTo>
                  <a:lnTo>
                    <a:pt x="87" y="1039"/>
                  </a:lnTo>
                  <a:lnTo>
                    <a:pt x="106" y="1022"/>
                  </a:lnTo>
                  <a:lnTo>
                    <a:pt x="130" y="1029"/>
                  </a:lnTo>
                  <a:lnTo>
                    <a:pt x="156" y="1008"/>
                  </a:lnTo>
                  <a:lnTo>
                    <a:pt x="182" y="996"/>
                  </a:lnTo>
                  <a:lnTo>
                    <a:pt x="193" y="1017"/>
                  </a:lnTo>
                  <a:lnTo>
                    <a:pt x="205" y="1006"/>
                  </a:lnTo>
                  <a:lnTo>
                    <a:pt x="208" y="982"/>
                  </a:lnTo>
                  <a:lnTo>
                    <a:pt x="220" y="989"/>
                  </a:lnTo>
                  <a:lnTo>
                    <a:pt x="248" y="1029"/>
                  </a:lnTo>
                  <a:lnTo>
                    <a:pt x="269" y="999"/>
                  </a:lnTo>
                  <a:lnTo>
                    <a:pt x="272" y="1034"/>
                  </a:lnTo>
                  <a:lnTo>
                    <a:pt x="290" y="1027"/>
                  </a:lnTo>
                  <a:lnTo>
                    <a:pt x="298" y="1013"/>
                  </a:lnTo>
                  <a:lnTo>
                    <a:pt x="316" y="1015"/>
                  </a:lnTo>
                  <a:lnTo>
                    <a:pt x="340" y="1034"/>
                  </a:lnTo>
                  <a:lnTo>
                    <a:pt x="378" y="1051"/>
                  </a:lnTo>
                  <a:lnTo>
                    <a:pt x="402" y="1060"/>
                  </a:lnTo>
                  <a:lnTo>
                    <a:pt x="418" y="1055"/>
                  </a:lnTo>
                  <a:lnTo>
                    <a:pt x="439" y="1079"/>
                  </a:lnTo>
                  <a:lnTo>
                    <a:pt x="416" y="1100"/>
                  </a:lnTo>
                  <a:lnTo>
                    <a:pt x="447" y="1110"/>
                  </a:lnTo>
                  <a:lnTo>
                    <a:pt x="489" y="1105"/>
                  </a:lnTo>
                  <a:lnTo>
                    <a:pt x="503" y="1098"/>
                  </a:lnTo>
                  <a:lnTo>
                    <a:pt x="520" y="1122"/>
                  </a:lnTo>
                  <a:lnTo>
                    <a:pt x="536" y="1100"/>
                  </a:lnTo>
                  <a:lnTo>
                    <a:pt x="522" y="1084"/>
                  </a:lnTo>
                  <a:lnTo>
                    <a:pt x="532" y="1067"/>
                  </a:lnTo>
                  <a:lnTo>
                    <a:pt x="551" y="1065"/>
                  </a:lnTo>
                  <a:lnTo>
                    <a:pt x="565" y="1060"/>
                  </a:lnTo>
                  <a:lnTo>
                    <a:pt x="577" y="1072"/>
                  </a:lnTo>
                  <a:lnTo>
                    <a:pt x="593" y="1096"/>
                  </a:lnTo>
                  <a:lnTo>
                    <a:pt x="612" y="1091"/>
                  </a:lnTo>
                  <a:lnTo>
                    <a:pt x="641" y="1110"/>
                  </a:lnTo>
                  <a:lnTo>
                    <a:pt x="664" y="1105"/>
                  </a:lnTo>
                  <a:lnTo>
                    <a:pt x="690" y="1105"/>
                  </a:lnTo>
                  <a:lnTo>
                    <a:pt x="688" y="1079"/>
                  </a:lnTo>
                  <a:lnTo>
                    <a:pt x="702" y="1070"/>
                  </a:lnTo>
                  <a:lnTo>
                    <a:pt x="726" y="1086"/>
                  </a:lnTo>
                  <a:lnTo>
                    <a:pt x="726" y="1126"/>
                  </a:lnTo>
                  <a:lnTo>
                    <a:pt x="738" y="1091"/>
                  </a:lnTo>
                  <a:lnTo>
                    <a:pt x="749" y="1093"/>
                  </a:lnTo>
                  <a:lnTo>
                    <a:pt x="756" y="1048"/>
                  </a:lnTo>
                  <a:lnTo>
                    <a:pt x="740" y="1022"/>
                  </a:lnTo>
                  <a:lnTo>
                    <a:pt x="721" y="1001"/>
                  </a:lnTo>
                  <a:lnTo>
                    <a:pt x="723" y="949"/>
                  </a:lnTo>
                  <a:lnTo>
                    <a:pt x="742" y="911"/>
                  </a:lnTo>
                  <a:lnTo>
                    <a:pt x="764" y="920"/>
                  </a:lnTo>
                  <a:lnTo>
                    <a:pt x="778" y="942"/>
                  </a:lnTo>
                  <a:lnTo>
                    <a:pt x="801" y="996"/>
                  </a:lnTo>
                  <a:lnTo>
                    <a:pt x="787" y="1020"/>
                  </a:lnTo>
                  <a:lnTo>
                    <a:pt x="818" y="1029"/>
                  </a:lnTo>
                  <a:lnTo>
                    <a:pt x="818" y="1029"/>
                  </a:lnTo>
                  <a:lnTo>
                    <a:pt x="818" y="1029"/>
                  </a:lnTo>
                  <a:close/>
                  <a:moveTo>
                    <a:pt x="435" y="847"/>
                  </a:moveTo>
                  <a:lnTo>
                    <a:pt x="435" y="847"/>
                  </a:lnTo>
                  <a:lnTo>
                    <a:pt x="425" y="873"/>
                  </a:lnTo>
                  <a:lnTo>
                    <a:pt x="463" y="857"/>
                  </a:lnTo>
                  <a:lnTo>
                    <a:pt x="484" y="883"/>
                  </a:lnTo>
                  <a:lnTo>
                    <a:pt x="503" y="857"/>
                  </a:lnTo>
                  <a:lnTo>
                    <a:pt x="518" y="873"/>
                  </a:lnTo>
                  <a:lnTo>
                    <a:pt x="532" y="925"/>
                  </a:lnTo>
                  <a:lnTo>
                    <a:pt x="539" y="904"/>
                  </a:lnTo>
                  <a:lnTo>
                    <a:pt x="527" y="849"/>
                  </a:lnTo>
                  <a:lnTo>
                    <a:pt x="541" y="840"/>
                  </a:lnTo>
                  <a:lnTo>
                    <a:pt x="558" y="849"/>
                  </a:lnTo>
                  <a:lnTo>
                    <a:pt x="577" y="871"/>
                  </a:lnTo>
                  <a:lnTo>
                    <a:pt x="586" y="923"/>
                  </a:lnTo>
                  <a:lnTo>
                    <a:pt x="591" y="958"/>
                  </a:lnTo>
                  <a:lnTo>
                    <a:pt x="619" y="982"/>
                  </a:lnTo>
                  <a:lnTo>
                    <a:pt x="648" y="1003"/>
                  </a:lnTo>
                  <a:lnTo>
                    <a:pt x="645" y="1025"/>
                  </a:lnTo>
                  <a:lnTo>
                    <a:pt x="619" y="1029"/>
                  </a:lnTo>
                  <a:lnTo>
                    <a:pt x="631" y="1046"/>
                  </a:lnTo>
                  <a:lnTo>
                    <a:pt x="624" y="1062"/>
                  </a:lnTo>
                  <a:lnTo>
                    <a:pt x="596" y="1055"/>
                  </a:lnTo>
                  <a:lnTo>
                    <a:pt x="567" y="1044"/>
                  </a:lnTo>
                  <a:lnTo>
                    <a:pt x="548" y="1046"/>
                  </a:lnTo>
                  <a:lnTo>
                    <a:pt x="518" y="1062"/>
                  </a:lnTo>
                  <a:lnTo>
                    <a:pt x="477" y="1067"/>
                  </a:lnTo>
                  <a:lnTo>
                    <a:pt x="449" y="1072"/>
                  </a:lnTo>
                  <a:lnTo>
                    <a:pt x="439" y="1051"/>
                  </a:lnTo>
                  <a:lnTo>
                    <a:pt x="418" y="1039"/>
                  </a:lnTo>
                  <a:lnTo>
                    <a:pt x="402" y="1044"/>
                  </a:lnTo>
                  <a:lnTo>
                    <a:pt x="383" y="1008"/>
                  </a:lnTo>
                  <a:lnTo>
                    <a:pt x="395" y="1003"/>
                  </a:lnTo>
                  <a:lnTo>
                    <a:pt x="418" y="994"/>
                  </a:lnTo>
                  <a:lnTo>
                    <a:pt x="442" y="996"/>
                  </a:lnTo>
                  <a:lnTo>
                    <a:pt x="463" y="989"/>
                  </a:lnTo>
                  <a:lnTo>
                    <a:pt x="432" y="977"/>
                  </a:lnTo>
                  <a:lnTo>
                    <a:pt x="397" y="982"/>
                  </a:lnTo>
                  <a:lnTo>
                    <a:pt x="373" y="980"/>
                  </a:lnTo>
                  <a:lnTo>
                    <a:pt x="366" y="963"/>
                  </a:lnTo>
                  <a:lnTo>
                    <a:pt x="402" y="942"/>
                  </a:lnTo>
                  <a:lnTo>
                    <a:pt x="378" y="944"/>
                  </a:lnTo>
                  <a:lnTo>
                    <a:pt x="350" y="930"/>
                  </a:lnTo>
                  <a:lnTo>
                    <a:pt x="364" y="892"/>
                  </a:lnTo>
                  <a:lnTo>
                    <a:pt x="373" y="871"/>
                  </a:lnTo>
                  <a:lnTo>
                    <a:pt x="418" y="835"/>
                  </a:lnTo>
                  <a:lnTo>
                    <a:pt x="435" y="847"/>
                  </a:lnTo>
                  <a:lnTo>
                    <a:pt x="435" y="847"/>
                  </a:lnTo>
                  <a:lnTo>
                    <a:pt x="435" y="847"/>
                  </a:lnTo>
                  <a:close/>
                  <a:moveTo>
                    <a:pt x="591" y="830"/>
                  </a:moveTo>
                  <a:lnTo>
                    <a:pt x="591" y="830"/>
                  </a:lnTo>
                  <a:lnTo>
                    <a:pt x="577" y="868"/>
                  </a:lnTo>
                  <a:lnTo>
                    <a:pt x="551" y="828"/>
                  </a:lnTo>
                  <a:lnTo>
                    <a:pt x="558" y="821"/>
                  </a:lnTo>
                  <a:lnTo>
                    <a:pt x="579" y="819"/>
                  </a:lnTo>
                  <a:lnTo>
                    <a:pt x="591" y="830"/>
                  </a:lnTo>
                  <a:lnTo>
                    <a:pt x="591" y="830"/>
                  </a:lnTo>
                  <a:lnTo>
                    <a:pt x="591" y="830"/>
                  </a:lnTo>
                  <a:close/>
                  <a:moveTo>
                    <a:pt x="1047" y="849"/>
                  </a:moveTo>
                  <a:lnTo>
                    <a:pt x="1047" y="849"/>
                  </a:lnTo>
                  <a:lnTo>
                    <a:pt x="1047" y="864"/>
                  </a:lnTo>
                  <a:lnTo>
                    <a:pt x="1031" y="861"/>
                  </a:lnTo>
                  <a:lnTo>
                    <a:pt x="1014" y="861"/>
                  </a:lnTo>
                  <a:lnTo>
                    <a:pt x="995" y="868"/>
                  </a:lnTo>
                  <a:lnTo>
                    <a:pt x="991" y="864"/>
                  </a:lnTo>
                  <a:lnTo>
                    <a:pt x="974" y="835"/>
                  </a:lnTo>
                  <a:lnTo>
                    <a:pt x="974" y="814"/>
                  </a:lnTo>
                  <a:lnTo>
                    <a:pt x="981" y="812"/>
                  </a:lnTo>
                  <a:lnTo>
                    <a:pt x="1019" y="816"/>
                  </a:lnTo>
                  <a:lnTo>
                    <a:pt x="1047" y="849"/>
                  </a:lnTo>
                  <a:lnTo>
                    <a:pt x="1047" y="849"/>
                  </a:lnTo>
                  <a:lnTo>
                    <a:pt x="1047" y="849"/>
                  </a:lnTo>
                  <a:close/>
                  <a:moveTo>
                    <a:pt x="882" y="845"/>
                  </a:moveTo>
                  <a:lnTo>
                    <a:pt x="882" y="845"/>
                  </a:lnTo>
                  <a:lnTo>
                    <a:pt x="894" y="880"/>
                  </a:lnTo>
                  <a:lnTo>
                    <a:pt x="908" y="835"/>
                  </a:lnTo>
                  <a:lnTo>
                    <a:pt x="950" y="812"/>
                  </a:lnTo>
                  <a:lnTo>
                    <a:pt x="979" y="871"/>
                  </a:lnTo>
                  <a:lnTo>
                    <a:pt x="976" y="904"/>
                  </a:lnTo>
                  <a:lnTo>
                    <a:pt x="1007" y="890"/>
                  </a:lnTo>
                  <a:lnTo>
                    <a:pt x="1024" y="868"/>
                  </a:lnTo>
                  <a:lnTo>
                    <a:pt x="1059" y="894"/>
                  </a:lnTo>
                  <a:lnTo>
                    <a:pt x="1080" y="918"/>
                  </a:lnTo>
                  <a:lnTo>
                    <a:pt x="1083" y="942"/>
                  </a:lnTo>
                  <a:lnTo>
                    <a:pt x="1114" y="930"/>
                  </a:lnTo>
                  <a:lnTo>
                    <a:pt x="1130" y="961"/>
                  </a:lnTo>
                  <a:lnTo>
                    <a:pt x="1170" y="980"/>
                  </a:lnTo>
                  <a:lnTo>
                    <a:pt x="1182" y="1001"/>
                  </a:lnTo>
                  <a:lnTo>
                    <a:pt x="1199" y="1044"/>
                  </a:lnTo>
                  <a:lnTo>
                    <a:pt x="1168" y="1065"/>
                  </a:lnTo>
                  <a:lnTo>
                    <a:pt x="1208" y="1093"/>
                  </a:lnTo>
                  <a:lnTo>
                    <a:pt x="1232" y="1103"/>
                  </a:lnTo>
                  <a:lnTo>
                    <a:pt x="1256" y="1141"/>
                  </a:lnTo>
                  <a:lnTo>
                    <a:pt x="1282" y="1143"/>
                  </a:lnTo>
                  <a:lnTo>
                    <a:pt x="1277" y="1171"/>
                  </a:lnTo>
                  <a:lnTo>
                    <a:pt x="1248" y="1216"/>
                  </a:lnTo>
                  <a:lnTo>
                    <a:pt x="1229" y="1200"/>
                  </a:lnTo>
                  <a:lnTo>
                    <a:pt x="1203" y="1162"/>
                  </a:lnTo>
                  <a:lnTo>
                    <a:pt x="1182" y="1169"/>
                  </a:lnTo>
                  <a:lnTo>
                    <a:pt x="1180" y="1190"/>
                  </a:lnTo>
                  <a:lnTo>
                    <a:pt x="1196" y="1212"/>
                  </a:lnTo>
                  <a:lnTo>
                    <a:pt x="1218" y="1230"/>
                  </a:lnTo>
                  <a:lnTo>
                    <a:pt x="1225" y="1240"/>
                  </a:lnTo>
                  <a:lnTo>
                    <a:pt x="1237" y="1275"/>
                  </a:lnTo>
                  <a:lnTo>
                    <a:pt x="1232" y="1302"/>
                  </a:lnTo>
                  <a:lnTo>
                    <a:pt x="1211" y="1292"/>
                  </a:lnTo>
                  <a:lnTo>
                    <a:pt x="1170" y="1264"/>
                  </a:lnTo>
                  <a:lnTo>
                    <a:pt x="1192" y="1294"/>
                  </a:lnTo>
                  <a:lnTo>
                    <a:pt x="1208" y="1316"/>
                  </a:lnTo>
                  <a:lnTo>
                    <a:pt x="1211" y="1328"/>
                  </a:lnTo>
                  <a:lnTo>
                    <a:pt x="1168" y="1313"/>
                  </a:lnTo>
                  <a:lnTo>
                    <a:pt x="1133" y="1294"/>
                  </a:lnTo>
                  <a:lnTo>
                    <a:pt x="1114" y="1275"/>
                  </a:lnTo>
                  <a:lnTo>
                    <a:pt x="1118" y="1266"/>
                  </a:lnTo>
                  <a:lnTo>
                    <a:pt x="1095" y="1247"/>
                  </a:lnTo>
                  <a:lnTo>
                    <a:pt x="1071" y="1230"/>
                  </a:lnTo>
                  <a:lnTo>
                    <a:pt x="1071" y="1240"/>
                  </a:lnTo>
                  <a:lnTo>
                    <a:pt x="1024" y="1247"/>
                  </a:lnTo>
                  <a:lnTo>
                    <a:pt x="1012" y="1233"/>
                  </a:lnTo>
                  <a:lnTo>
                    <a:pt x="1021" y="1204"/>
                  </a:lnTo>
                  <a:lnTo>
                    <a:pt x="1052" y="1204"/>
                  </a:lnTo>
                  <a:lnTo>
                    <a:pt x="1085" y="1200"/>
                  </a:lnTo>
                  <a:lnTo>
                    <a:pt x="1080" y="1186"/>
                  </a:lnTo>
                  <a:lnTo>
                    <a:pt x="1085" y="1167"/>
                  </a:lnTo>
                  <a:lnTo>
                    <a:pt x="1107" y="1126"/>
                  </a:lnTo>
                  <a:lnTo>
                    <a:pt x="1102" y="1107"/>
                  </a:lnTo>
                  <a:lnTo>
                    <a:pt x="1097" y="1093"/>
                  </a:lnTo>
                  <a:lnTo>
                    <a:pt x="1071" y="1072"/>
                  </a:lnTo>
                  <a:lnTo>
                    <a:pt x="1038" y="1058"/>
                  </a:lnTo>
                  <a:lnTo>
                    <a:pt x="1050" y="1046"/>
                  </a:lnTo>
                  <a:lnTo>
                    <a:pt x="1031" y="1017"/>
                  </a:lnTo>
                  <a:lnTo>
                    <a:pt x="1017" y="1015"/>
                  </a:lnTo>
                  <a:lnTo>
                    <a:pt x="1005" y="999"/>
                  </a:lnTo>
                  <a:lnTo>
                    <a:pt x="995" y="1013"/>
                  </a:lnTo>
                  <a:lnTo>
                    <a:pt x="967" y="1017"/>
                  </a:lnTo>
                  <a:lnTo>
                    <a:pt x="908" y="1008"/>
                  </a:lnTo>
                  <a:lnTo>
                    <a:pt x="875" y="994"/>
                  </a:lnTo>
                  <a:lnTo>
                    <a:pt x="846" y="987"/>
                  </a:lnTo>
                  <a:lnTo>
                    <a:pt x="834" y="970"/>
                  </a:lnTo>
                  <a:lnTo>
                    <a:pt x="851" y="946"/>
                  </a:lnTo>
                  <a:lnTo>
                    <a:pt x="827" y="946"/>
                  </a:lnTo>
                  <a:lnTo>
                    <a:pt x="823" y="894"/>
                  </a:lnTo>
                  <a:lnTo>
                    <a:pt x="834" y="847"/>
                  </a:lnTo>
                  <a:lnTo>
                    <a:pt x="851" y="823"/>
                  </a:lnTo>
                  <a:lnTo>
                    <a:pt x="894" y="809"/>
                  </a:lnTo>
                  <a:lnTo>
                    <a:pt x="882" y="845"/>
                  </a:lnTo>
                  <a:lnTo>
                    <a:pt x="882" y="845"/>
                  </a:lnTo>
                  <a:lnTo>
                    <a:pt x="882" y="845"/>
                  </a:lnTo>
                  <a:close/>
                  <a:moveTo>
                    <a:pt x="659" y="807"/>
                  </a:moveTo>
                  <a:lnTo>
                    <a:pt x="659" y="807"/>
                  </a:lnTo>
                  <a:lnTo>
                    <a:pt x="678" y="819"/>
                  </a:lnTo>
                  <a:lnTo>
                    <a:pt x="707" y="812"/>
                  </a:lnTo>
                  <a:lnTo>
                    <a:pt x="711" y="828"/>
                  </a:lnTo>
                  <a:lnTo>
                    <a:pt x="695" y="854"/>
                  </a:lnTo>
                  <a:lnTo>
                    <a:pt x="719" y="878"/>
                  </a:lnTo>
                  <a:lnTo>
                    <a:pt x="716" y="925"/>
                  </a:lnTo>
                  <a:lnTo>
                    <a:pt x="690" y="944"/>
                  </a:lnTo>
                  <a:lnTo>
                    <a:pt x="676" y="939"/>
                  </a:lnTo>
                  <a:lnTo>
                    <a:pt x="664" y="920"/>
                  </a:lnTo>
                  <a:lnTo>
                    <a:pt x="624" y="880"/>
                  </a:lnTo>
                  <a:lnTo>
                    <a:pt x="624" y="864"/>
                  </a:lnTo>
                  <a:lnTo>
                    <a:pt x="657" y="871"/>
                  </a:lnTo>
                  <a:lnTo>
                    <a:pt x="638" y="833"/>
                  </a:lnTo>
                  <a:lnTo>
                    <a:pt x="659" y="807"/>
                  </a:lnTo>
                  <a:lnTo>
                    <a:pt x="659" y="807"/>
                  </a:lnTo>
                  <a:lnTo>
                    <a:pt x="659" y="807"/>
                  </a:lnTo>
                  <a:close/>
                  <a:moveTo>
                    <a:pt x="773" y="866"/>
                  </a:moveTo>
                  <a:lnTo>
                    <a:pt x="773" y="866"/>
                  </a:lnTo>
                  <a:lnTo>
                    <a:pt x="756" y="906"/>
                  </a:lnTo>
                  <a:lnTo>
                    <a:pt x="738" y="904"/>
                  </a:lnTo>
                  <a:lnTo>
                    <a:pt x="728" y="857"/>
                  </a:lnTo>
                  <a:lnTo>
                    <a:pt x="728" y="830"/>
                  </a:lnTo>
                  <a:lnTo>
                    <a:pt x="738" y="804"/>
                  </a:lnTo>
                  <a:lnTo>
                    <a:pt x="752" y="788"/>
                  </a:lnTo>
                  <a:lnTo>
                    <a:pt x="787" y="790"/>
                  </a:lnTo>
                  <a:lnTo>
                    <a:pt x="818" y="807"/>
                  </a:lnTo>
                  <a:lnTo>
                    <a:pt x="794" y="854"/>
                  </a:lnTo>
                  <a:lnTo>
                    <a:pt x="773" y="866"/>
                  </a:lnTo>
                  <a:lnTo>
                    <a:pt x="773" y="866"/>
                  </a:lnTo>
                  <a:lnTo>
                    <a:pt x="773" y="866"/>
                  </a:lnTo>
                  <a:close/>
                  <a:moveTo>
                    <a:pt x="333" y="939"/>
                  </a:moveTo>
                  <a:lnTo>
                    <a:pt x="333" y="939"/>
                  </a:lnTo>
                  <a:lnTo>
                    <a:pt x="290" y="963"/>
                  </a:lnTo>
                  <a:lnTo>
                    <a:pt x="281" y="942"/>
                  </a:lnTo>
                  <a:lnTo>
                    <a:pt x="243" y="916"/>
                  </a:lnTo>
                  <a:lnTo>
                    <a:pt x="250" y="892"/>
                  </a:lnTo>
                  <a:lnTo>
                    <a:pt x="262" y="852"/>
                  </a:lnTo>
                  <a:lnTo>
                    <a:pt x="276" y="816"/>
                  </a:lnTo>
                  <a:lnTo>
                    <a:pt x="260" y="781"/>
                  </a:lnTo>
                  <a:lnTo>
                    <a:pt x="314" y="771"/>
                  </a:lnTo>
                  <a:lnTo>
                    <a:pt x="338" y="783"/>
                  </a:lnTo>
                  <a:lnTo>
                    <a:pt x="380" y="786"/>
                  </a:lnTo>
                  <a:lnTo>
                    <a:pt x="395" y="804"/>
                  </a:lnTo>
                  <a:lnTo>
                    <a:pt x="413" y="828"/>
                  </a:lnTo>
                  <a:lnTo>
                    <a:pt x="392" y="842"/>
                  </a:lnTo>
                  <a:lnTo>
                    <a:pt x="352" y="880"/>
                  </a:lnTo>
                  <a:lnTo>
                    <a:pt x="333" y="916"/>
                  </a:lnTo>
                  <a:lnTo>
                    <a:pt x="333" y="939"/>
                  </a:lnTo>
                  <a:lnTo>
                    <a:pt x="333" y="939"/>
                  </a:lnTo>
                  <a:lnTo>
                    <a:pt x="333" y="939"/>
                  </a:lnTo>
                  <a:close/>
                  <a:moveTo>
                    <a:pt x="768" y="738"/>
                  </a:moveTo>
                  <a:lnTo>
                    <a:pt x="768" y="738"/>
                  </a:lnTo>
                  <a:lnTo>
                    <a:pt x="759" y="762"/>
                  </a:lnTo>
                  <a:lnTo>
                    <a:pt x="735" y="757"/>
                  </a:lnTo>
                  <a:lnTo>
                    <a:pt x="716" y="741"/>
                  </a:lnTo>
                  <a:lnTo>
                    <a:pt x="723" y="714"/>
                  </a:lnTo>
                  <a:lnTo>
                    <a:pt x="747" y="696"/>
                  </a:lnTo>
                  <a:lnTo>
                    <a:pt x="761" y="719"/>
                  </a:lnTo>
                  <a:lnTo>
                    <a:pt x="768" y="738"/>
                  </a:lnTo>
                  <a:lnTo>
                    <a:pt x="768" y="738"/>
                  </a:lnTo>
                  <a:lnTo>
                    <a:pt x="768" y="738"/>
                  </a:lnTo>
                  <a:close/>
                  <a:moveTo>
                    <a:pt x="688" y="622"/>
                  </a:moveTo>
                  <a:lnTo>
                    <a:pt x="688" y="622"/>
                  </a:lnTo>
                  <a:lnTo>
                    <a:pt x="700" y="655"/>
                  </a:lnTo>
                  <a:lnTo>
                    <a:pt x="702" y="688"/>
                  </a:lnTo>
                  <a:lnTo>
                    <a:pt x="693" y="736"/>
                  </a:lnTo>
                  <a:lnTo>
                    <a:pt x="667" y="743"/>
                  </a:lnTo>
                  <a:lnTo>
                    <a:pt x="650" y="733"/>
                  </a:lnTo>
                  <a:lnTo>
                    <a:pt x="650" y="696"/>
                  </a:lnTo>
                  <a:lnTo>
                    <a:pt x="624" y="703"/>
                  </a:lnTo>
                  <a:lnTo>
                    <a:pt x="622" y="651"/>
                  </a:lnTo>
                  <a:lnTo>
                    <a:pt x="641" y="653"/>
                  </a:lnTo>
                  <a:lnTo>
                    <a:pt x="664" y="629"/>
                  </a:lnTo>
                  <a:lnTo>
                    <a:pt x="688" y="634"/>
                  </a:lnTo>
                  <a:lnTo>
                    <a:pt x="688" y="622"/>
                  </a:lnTo>
                  <a:lnTo>
                    <a:pt x="688" y="622"/>
                  </a:lnTo>
                  <a:lnTo>
                    <a:pt x="688" y="622"/>
                  </a:lnTo>
                  <a:close/>
                  <a:moveTo>
                    <a:pt x="529" y="660"/>
                  </a:moveTo>
                  <a:lnTo>
                    <a:pt x="529" y="660"/>
                  </a:lnTo>
                  <a:lnTo>
                    <a:pt x="536" y="681"/>
                  </a:lnTo>
                  <a:lnTo>
                    <a:pt x="551" y="672"/>
                  </a:lnTo>
                  <a:lnTo>
                    <a:pt x="570" y="674"/>
                  </a:lnTo>
                  <a:lnTo>
                    <a:pt x="572" y="707"/>
                  </a:lnTo>
                  <a:lnTo>
                    <a:pt x="562" y="736"/>
                  </a:lnTo>
                  <a:lnTo>
                    <a:pt x="506" y="745"/>
                  </a:lnTo>
                  <a:lnTo>
                    <a:pt x="466" y="771"/>
                  </a:lnTo>
                  <a:lnTo>
                    <a:pt x="442" y="774"/>
                  </a:lnTo>
                  <a:lnTo>
                    <a:pt x="439" y="755"/>
                  </a:lnTo>
                  <a:lnTo>
                    <a:pt x="473" y="726"/>
                  </a:lnTo>
                  <a:lnTo>
                    <a:pt x="399" y="733"/>
                  </a:lnTo>
                  <a:lnTo>
                    <a:pt x="378" y="724"/>
                  </a:lnTo>
                  <a:lnTo>
                    <a:pt x="399" y="660"/>
                  </a:lnTo>
                  <a:lnTo>
                    <a:pt x="416" y="639"/>
                  </a:lnTo>
                  <a:lnTo>
                    <a:pt x="461" y="662"/>
                  </a:lnTo>
                  <a:lnTo>
                    <a:pt x="489" y="703"/>
                  </a:lnTo>
                  <a:lnTo>
                    <a:pt x="518" y="707"/>
                  </a:lnTo>
                  <a:lnTo>
                    <a:pt x="494" y="643"/>
                  </a:lnTo>
                  <a:lnTo>
                    <a:pt x="508" y="617"/>
                  </a:lnTo>
                  <a:lnTo>
                    <a:pt x="525" y="627"/>
                  </a:lnTo>
                  <a:lnTo>
                    <a:pt x="529" y="660"/>
                  </a:lnTo>
                  <a:lnTo>
                    <a:pt x="529" y="660"/>
                  </a:lnTo>
                  <a:lnTo>
                    <a:pt x="529" y="660"/>
                  </a:lnTo>
                  <a:close/>
                  <a:moveTo>
                    <a:pt x="749" y="596"/>
                  </a:moveTo>
                  <a:lnTo>
                    <a:pt x="749" y="596"/>
                  </a:lnTo>
                  <a:lnTo>
                    <a:pt x="768" y="620"/>
                  </a:lnTo>
                  <a:lnTo>
                    <a:pt x="799" y="620"/>
                  </a:lnTo>
                  <a:lnTo>
                    <a:pt x="813" y="641"/>
                  </a:lnTo>
                  <a:lnTo>
                    <a:pt x="811" y="667"/>
                  </a:lnTo>
                  <a:lnTo>
                    <a:pt x="827" y="681"/>
                  </a:lnTo>
                  <a:lnTo>
                    <a:pt x="839" y="698"/>
                  </a:lnTo>
                  <a:lnTo>
                    <a:pt x="861" y="703"/>
                  </a:lnTo>
                  <a:lnTo>
                    <a:pt x="884" y="707"/>
                  </a:lnTo>
                  <a:lnTo>
                    <a:pt x="910" y="693"/>
                  </a:lnTo>
                  <a:lnTo>
                    <a:pt x="943" y="686"/>
                  </a:lnTo>
                  <a:lnTo>
                    <a:pt x="969" y="691"/>
                  </a:lnTo>
                  <a:lnTo>
                    <a:pt x="988" y="714"/>
                  </a:lnTo>
                  <a:lnTo>
                    <a:pt x="991" y="743"/>
                  </a:lnTo>
                  <a:lnTo>
                    <a:pt x="981" y="757"/>
                  </a:lnTo>
                  <a:lnTo>
                    <a:pt x="955" y="771"/>
                  </a:lnTo>
                  <a:lnTo>
                    <a:pt x="936" y="764"/>
                  </a:lnTo>
                  <a:lnTo>
                    <a:pt x="889" y="774"/>
                  </a:lnTo>
                  <a:lnTo>
                    <a:pt x="856" y="774"/>
                  </a:lnTo>
                  <a:lnTo>
                    <a:pt x="830" y="767"/>
                  </a:lnTo>
                  <a:lnTo>
                    <a:pt x="787" y="745"/>
                  </a:lnTo>
                  <a:lnTo>
                    <a:pt x="780" y="712"/>
                  </a:lnTo>
                  <a:lnTo>
                    <a:pt x="778" y="681"/>
                  </a:lnTo>
                  <a:lnTo>
                    <a:pt x="764" y="651"/>
                  </a:lnTo>
                  <a:lnTo>
                    <a:pt x="728" y="643"/>
                  </a:lnTo>
                  <a:lnTo>
                    <a:pt x="711" y="622"/>
                  </a:lnTo>
                  <a:lnTo>
                    <a:pt x="716" y="591"/>
                  </a:lnTo>
                  <a:lnTo>
                    <a:pt x="749" y="596"/>
                  </a:lnTo>
                  <a:lnTo>
                    <a:pt x="749" y="596"/>
                  </a:lnTo>
                  <a:lnTo>
                    <a:pt x="749" y="596"/>
                  </a:lnTo>
                  <a:close/>
                  <a:moveTo>
                    <a:pt x="402" y="556"/>
                  </a:moveTo>
                  <a:lnTo>
                    <a:pt x="402" y="556"/>
                  </a:lnTo>
                  <a:lnTo>
                    <a:pt x="399" y="613"/>
                  </a:lnTo>
                  <a:lnTo>
                    <a:pt x="387" y="636"/>
                  </a:lnTo>
                  <a:lnTo>
                    <a:pt x="371" y="639"/>
                  </a:lnTo>
                  <a:lnTo>
                    <a:pt x="340" y="670"/>
                  </a:lnTo>
                  <a:lnTo>
                    <a:pt x="316" y="679"/>
                  </a:lnTo>
                  <a:lnTo>
                    <a:pt x="293" y="665"/>
                  </a:lnTo>
                  <a:lnTo>
                    <a:pt x="293" y="665"/>
                  </a:lnTo>
                  <a:lnTo>
                    <a:pt x="321" y="613"/>
                  </a:lnTo>
                  <a:lnTo>
                    <a:pt x="354" y="565"/>
                  </a:lnTo>
                  <a:lnTo>
                    <a:pt x="380" y="568"/>
                  </a:lnTo>
                  <a:lnTo>
                    <a:pt x="402" y="556"/>
                  </a:lnTo>
                  <a:lnTo>
                    <a:pt x="402" y="556"/>
                  </a:lnTo>
                  <a:lnTo>
                    <a:pt x="402" y="556"/>
                  </a:lnTo>
                  <a:close/>
                  <a:moveTo>
                    <a:pt x="764" y="565"/>
                  </a:moveTo>
                  <a:lnTo>
                    <a:pt x="764" y="565"/>
                  </a:lnTo>
                  <a:lnTo>
                    <a:pt x="756" y="568"/>
                  </a:lnTo>
                  <a:lnTo>
                    <a:pt x="726" y="563"/>
                  </a:lnTo>
                  <a:lnTo>
                    <a:pt x="721" y="542"/>
                  </a:lnTo>
                  <a:lnTo>
                    <a:pt x="754" y="544"/>
                  </a:lnTo>
                  <a:lnTo>
                    <a:pt x="766" y="558"/>
                  </a:lnTo>
                  <a:lnTo>
                    <a:pt x="764" y="565"/>
                  </a:lnTo>
                  <a:lnTo>
                    <a:pt x="764" y="565"/>
                  </a:lnTo>
                  <a:lnTo>
                    <a:pt x="764" y="565"/>
                  </a:lnTo>
                  <a:close/>
                  <a:moveTo>
                    <a:pt x="499" y="554"/>
                  </a:moveTo>
                  <a:lnTo>
                    <a:pt x="499" y="554"/>
                  </a:lnTo>
                  <a:lnTo>
                    <a:pt x="470" y="575"/>
                  </a:lnTo>
                  <a:lnTo>
                    <a:pt x="444" y="549"/>
                  </a:lnTo>
                  <a:lnTo>
                    <a:pt x="458" y="525"/>
                  </a:lnTo>
                  <a:lnTo>
                    <a:pt x="482" y="518"/>
                  </a:lnTo>
                  <a:lnTo>
                    <a:pt x="503" y="530"/>
                  </a:lnTo>
                  <a:lnTo>
                    <a:pt x="499" y="554"/>
                  </a:lnTo>
                  <a:lnTo>
                    <a:pt x="499" y="554"/>
                  </a:lnTo>
                  <a:lnTo>
                    <a:pt x="499" y="554"/>
                  </a:lnTo>
                  <a:close/>
                  <a:moveTo>
                    <a:pt x="508" y="483"/>
                  </a:moveTo>
                  <a:lnTo>
                    <a:pt x="508" y="483"/>
                  </a:lnTo>
                  <a:lnTo>
                    <a:pt x="487" y="497"/>
                  </a:lnTo>
                  <a:lnTo>
                    <a:pt x="461" y="497"/>
                  </a:lnTo>
                  <a:lnTo>
                    <a:pt x="461" y="487"/>
                  </a:lnTo>
                  <a:lnTo>
                    <a:pt x="477" y="461"/>
                  </a:lnTo>
                  <a:lnTo>
                    <a:pt x="487" y="466"/>
                  </a:lnTo>
                  <a:lnTo>
                    <a:pt x="508" y="483"/>
                  </a:lnTo>
                  <a:lnTo>
                    <a:pt x="508" y="483"/>
                  </a:lnTo>
                  <a:lnTo>
                    <a:pt x="508" y="483"/>
                  </a:lnTo>
                  <a:close/>
                  <a:moveTo>
                    <a:pt x="730" y="525"/>
                  </a:moveTo>
                  <a:lnTo>
                    <a:pt x="730" y="525"/>
                  </a:lnTo>
                  <a:lnTo>
                    <a:pt x="707" y="542"/>
                  </a:lnTo>
                  <a:lnTo>
                    <a:pt x="693" y="523"/>
                  </a:lnTo>
                  <a:lnTo>
                    <a:pt x="688" y="492"/>
                  </a:lnTo>
                  <a:lnTo>
                    <a:pt x="685" y="459"/>
                  </a:lnTo>
                  <a:lnTo>
                    <a:pt x="707" y="464"/>
                  </a:lnTo>
                  <a:lnTo>
                    <a:pt x="716" y="468"/>
                  </a:lnTo>
                  <a:lnTo>
                    <a:pt x="735" y="497"/>
                  </a:lnTo>
                  <a:lnTo>
                    <a:pt x="730" y="525"/>
                  </a:lnTo>
                  <a:lnTo>
                    <a:pt x="730" y="525"/>
                  </a:lnTo>
                  <a:lnTo>
                    <a:pt x="730" y="525"/>
                  </a:lnTo>
                  <a:close/>
                  <a:moveTo>
                    <a:pt x="664" y="504"/>
                  </a:moveTo>
                  <a:lnTo>
                    <a:pt x="664" y="504"/>
                  </a:lnTo>
                  <a:lnTo>
                    <a:pt x="669" y="537"/>
                  </a:lnTo>
                  <a:lnTo>
                    <a:pt x="643" y="528"/>
                  </a:lnTo>
                  <a:lnTo>
                    <a:pt x="617" y="501"/>
                  </a:lnTo>
                  <a:lnTo>
                    <a:pt x="581" y="499"/>
                  </a:lnTo>
                  <a:lnTo>
                    <a:pt x="596" y="475"/>
                  </a:lnTo>
                  <a:lnTo>
                    <a:pt x="577" y="454"/>
                  </a:lnTo>
                  <a:lnTo>
                    <a:pt x="574" y="423"/>
                  </a:lnTo>
                  <a:lnTo>
                    <a:pt x="607" y="435"/>
                  </a:lnTo>
                  <a:lnTo>
                    <a:pt x="650" y="466"/>
                  </a:lnTo>
                  <a:lnTo>
                    <a:pt x="664" y="504"/>
                  </a:lnTo>
                  <a:lnTo>
                    <a:pt x="664" y="504"/>
                  </a:lnTo>
                  <a:lnTo>
                    <a:pt x="664" y="504"/>
                  </a:lnTo>
                  <a:close/>
                  <a:moveTo>
                    <a:pt x="875" y="393"/>
                  </a:moveTo>
                  <a:lnTo>
                    <a:pt x="875" y="393"/>
                  </a:lnTo>
                  <a:lnTo>
                    <a:pt x="894" y="421"/>
                  </a:lnTo>
                  <a:lnTo>
                    <a:pt x="872" y="445"/>
                  </a:lnTo>
                  <a:lnTo>
                    <a:pt x="842" y="506"/>
                  </a:lnTo>
                  <a:lnTo>
                    <a:pt x="813" y="513"/>
                  </a:lnTo>
                  <a:lnTo>
                    <a:pt x="778" y="501"/>
                  </a:lnTo>
                  <a:lnTo>
                    <a:pt x="761" y="471"/>
                  </a:lnTo>
                  <a:lnTo>
                    <a:pt x="761" y="440"/>
                  </a:lnTo>
                  <a:lnTo>
                    <a:pt x="775" y="416"/>
                  </a:lnTo>
                  <a:lnTo>
                    <a:pt x="745" y="416"/>
                  </a:lnTo>
                  <a:lnTo>
                    <a:pt x="728" y="388"/>
                  </a:lnTo>
                  <a:lnTo>
                    <a:pt x="716" y="345"/>
                  </a:lnTo>
                  <a:lnTo>
                    <a:pt x="728" y="303"/>
                  </a:lnTo>
                  <a:lnTo>
                    <a:pt x="740" y="272"/>
                  </a:lnTo>
                  <a:lnTo>
                    <a:pt x="756" y="265"/>
                  </a:lnTo>
                  <a:lnTo>
                    <a:pt x="749" y="241"/>
                  </a:lnTo>
                  <a:lnTo>
                    <a:pt x="787" y="236"/>
                  </a:lnTo>
                  <a:lnTo>
                    <a:pt x="806" y="291"/>
                  </a:lnTo>
                  <a:lnTo>
                    <a:pt x="834" y="312"/>
                  </a:lnTo>
                  <a:lnTo>
                    <a:pt x="861" y="331"/>
                  </a:lnTo>
                  <a:lnTo>
                    <a:pt x="875" y="393"/>
                  </a:lnTo>
                  <a:lnTo>
                    <a:pt x="875" y="393"/>
                  </a:lnTo>
                  <a:lnTo>
                    <a:pt x="875" y="393"/>
                  </a:lnTo>
                  <a:close/>
                  <a:moveTo>
                    <a:pt x="1175" y="16"/>
                  </a:moveTo>
                  <a:lnTo>
                    <a:pt x="1175" y="16"/>
                  </a:lnTo>
                  <a:lnTo>
                    <a:pt x="1218" y="26"/>
                  </a:lnTo>
                  <a:lnTo>
                    <a:pt x="1253" y="45"/>
                  </a:lnTo>
                  <a:lnTo>
                    <a:pt x="1282" y="78"/>
                  </a:lnTo>
                  <a:lnTo>
                    <a:pt x="1282" y="111"/>
                  </a:lnTo>
                  <a:lnTo>
                    <a:pt x="1241" y="163"/>
                  </a:lnTo>
                  <a:lnTo>
                    <a:pt x="1203" y="184"/>
                  </a:lnTo>
                  <a:lnTo>
                    <a:pt x="1187" y="210"/>
                  </a:lnTo>
                  <a:lnTo>
                    <a:pt x="1222" y="210"/>
                  </a:lnTo>
                  <a:lnTo>
                    <a:pt x="1185" y="274"/>
                  </a:lnTo>
                  <a:lnTo>
                    <a:pt x="1159" y="300"/>
                  </a:lnTo>
                  <a:lnTo>
                    <a:pt x="1130" y="378"/>
                  </a:lnTo>
                  <a:lnTo>
                    <a:pt x="1097" y="393"/>
                  </a:lnTo>
                  <a:lnTo>
                    <a:pt x="1088" y="412"/>
                  </a:lnTo>
                  <a:lnTo>
                    <a:pt x="1038" y="421"/>
                  </a:lnTo>
                  <a:lnTo>
                    <a:pt x="1059" y="433"/>
                  </a:lnTo>
                  <a:lnTo>
                    <a:pt x="1050" y="447"/>
                  </a:lnTo>
                  <a:lnTo>
                    <a:pt x="1062" y="487"/>
                  </a:lnTo>
                  <a:lnTo>
                    <a:pt x="1047" y="516"/>
                  </a:lnTo>
                  <a:lnTo>
                    <a:pt x="1021" y="537"/>
                  </a:lnTo>
                  <a:lnTo>
                    <a:pt x="1014" y="568"/>
                  </a:lnTo>
                  <a:lnTo>
                    <a:pt x="991" y="589"/>
                  </a:lnTo>
                  <a:lnTo>
                    <a:pt x="993" y="606"/>
                  </a:lnTo>
                  <a:lnTo>
                    <a:pt x="1021" y="603"/>
                  </a:lnTo>
                  <a:lnTo>
                    <a:pt x="1021" y="620"/>
                  </a:lnTo>
                  <a:lnTo>
                    <a:pt x="979" y="660"/>
                  </a:lnTo>
                  <a:lnTo>
                    <a:pt x="936" y="641"/>
                  </a:lnTo>
                  <a:lnTo>
                    <a:pt x="889" y="653"/>
                  </a:lnTo>
                  <a:lnTo>
                    <a:pt x="865" y="643"/>
                  </a:lnTo>
                  <a:lnTo>
                    <a:pt x="834" y="641"/>
                  </a:lnTo>
                  <a:lnTo>
                    <a:pt x="832" y="608"/>
                  </a:lnTo>
                  <a:lnTo>
                    <a:pt x="863" y="591"/>
                  </a:lnTo>
                  <a:lnTo>
                    <a:pt x="853" y="537"/>
                  </a:lnTo>
                  <a:lnTo>
                    <a:pt x="863" y="532"/>
                  </a:lnTo>
                  <a:lnTo>
                    <a:pt x="908" y="565"/>
                  </a:lnTo>
                  <a:lnTo>
                    <a:pt x="884" y="516"/>
                  </a:lnTo>
                  <a:lnTo>
                    <a:pt x="858" y="501"/>
                  </a:lnTo>
                  <a:lnTo>
                    <a:pt x="872" y="468"/>
                  </a:lnTo>
                  <a:lnTo>
                    <a:pt x="901" y="449"/>
                  </a:lnTo>
                  <a:lnTo>
                    <a:pt x="905" y="419"/>
                  </a:lnTo>
                  <a:lnTo>
                    <a:pt x="882" y="385"/>
                  </a:lnTo>
                  <a:lnTo>
                    <a:pt x="875" y="336"/>
                  </a:lnTo>
                  <a:lnTo>
                    <a:pt x="920" y="341"/>
                  </a:lnTo>
                  <a:lnTo>
                    <a:pt x="934" y="350"/>
                  </a:lnTo>
                  <a:lnTo>
                    <a:pt x="957" y="317"/>
                  </a:lnTo>
                  <a:lnTo>
                    <a:pt x="922" y="305"/>
                  </a:lnTo>
                  <a:lnTo>
                    <a:pt x="865" y="312"/>
                  </a:lnTo>
                  <a:lnTo>
                    <a:pt x="837" y="279"/>
                  </a:lnTo>
                  <a:lnTo>
                    <a:pt x="823" y="236"/>
                  </a:lnTo>
                  <a:lnTo>
                    <a:pt x="804" y="203"/>
                  </a:lnTo>
                  <a:lnTo>
                    <a:pt x="799" y="165"/>
                  </a:lnTo>
                  <a:lnTo>
                    <a:pt x="825" y="144"/>
                  </a:lnTo>
                  <a:lnTo>
                    <a:pt x="844" y="139"/>
                  </a:lnTo>
                  <a:lnTo>
                    <a:pt x="875" y="120"/>
                  </a:lnTo>
                  <a:lnTo>
                    <a:pt x="898" y="75"/>
                  </a:lnTo>
                  <a:lnTo>
                    <a:pt x="920" y="83"/>
                  </a:lnTo>
                  <a:lnTo>
                    <a:pt x="936" y="116"/>
                  </a:lnTo>
                  <a:lnTo>
                    <a:pt x="948" y="49"/>
                  </a:lnTo>
                  <a:lnTo>
                    <a:pt x="969" y="28"/>
                  </a:lnTo>
                  <a:lnTo>
                    <a:pt x="1000" y="14"/>
                  </a:lnTo>
                  <a:lnTo>
                    <a:pt x="1047" y="7"/>
                  </a:lnTo>
                  <a:lnTo>
                    <a:pt x="1057" y="23"/>
                  </a:lnTo>
                  <a:lnTo>
                    <a:pt x="1104" y="0"/>
                  </a:lnTo>
                  <a:lnTo>
                    <a:pt x="1140" y="9"/>
                  </a:lnTo>
                  <a:lnTo>
                    <a:pt x="1175" y="16"/>
                  </a:lnTo>
                  <a:lnTo>
                    <a:pt x="1175" y="16"/>
                  </a:lnTo>
                  <a:lnTo>
                    <a:pt x="1175" y="16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04" name="Freeform 56">
              <a:extLst>
                <a:ext uri="{FF2B5EF4-FFF2-40B4-BE49-F238E27FC236}">
                  <a16:creationId xmlns:a16="http://schemas.microsoft.com/office/drawing/2014/main" id="{72C103EB-CEEB-9E04-FE42-E8A4D248FC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36761" y="3489444"/>
              <a:ext cx="150760" cy="866607"/>
            </a:xfrm>
            <a:custGeom>
              <a:avLst/>
              <a:gdLst>
                <a:gd name="T0" fmla="*/ 114 w 140"/>
                <a:gd name="T1" fmla="*/ 710 h 793"/>
                <a:gd name="T2" fmla="*/ 130 w 140"/>
                <a:gd name="T3" fmla="*/ 772 h 793"/>
                <a:gd name="T4" fmla="*/ 135 w 140"/>
                <a:gd name="T5" fmla="*/ 784 h 793"/>
                <a:gd name="T6" fmla="*/ 114 w 140"/>
                <a:gd name="T7" fmla="*/ 791 h 793"/>
                <a:gd name="T8" fmla="*/ 90 w 140"/>
                <a:gd name="T9" fmla="*/ 781 h 793"/>
                <a:gd name="T10" fmla="*/ 55 w 140"/>
                <a:gd name="T11" fmla="*/ 762 h 793"/>
                <a:gd name="T12" fmla="*/ 14 w 140"/>
                <a:gd name="T13" fmla="*/ 717 h 793"/>
                <a:gd name="T14" fmla="*/ 52 w 140"/>
                <a:gd name="T15" fmla="*/ 741 h 793"/>
                <a:gd name="T16" fmla="*/ 81 w 140"/>
                <a:gd name="T17" fmla="*/ 739 h 793"/>
                <a:gd name="T18" fmla="*/ 102 w 140"/>
                <a:gd name="T19" fmla="*/ 708 h 793"/>
                <a:gd name="T20" fmla="*/ 118 w 140"/>
                <a:gd name="T21" fmla="*/ 66 h 793"/>
                <a:gd name="T22" fmla="*/ 126 w 140"/>
                <a:gd name="T23" fmla="*/ 90 h 793"/>
                <a:gd name="T24" fmla="*/ 140 w 140"/>
                <a:gd name="T25" fmla="*/ 92 h 793"/>
                <a:gd name="T26" fmla="*/ 116 w 140"/>
                <a:gd name="T27" fmla="*/ 118 h 793"/>
                <a:gd name="T28" fmla="*/ 114 w 140"/>
                <a:gd name="T29" fmla="*/ 154 h 793"/>
                <a:gd name="T30" fmla="*/ 107 w 140"/>
                <a:gd name="T31" fmla="*/ 173 h 793"/>
                <a:gd name="T32" fmla="*/ 90 w 140"/>
                <a:gd name="T33" fmla="*/ 206 h 793"/>
                <a:gd name="T34" fmla="*/ 83 w 140"/>
                <a:gd name="T35" fmla="*/ 244 h 793"/>
                <a:gd name="T36" fmla="*/ 92 w 140"/>
                <a:gd name="T37" fmla="*/ 282 h 793"/>
                <a:gd name="T38" fmla="*/ 85 w 140"/>
                <a:gd name="T39" fmla="*/ 317 h 793"/>
                <a:gd name="T40" fmla="*/ 71 w 140"/>
                <a:gd name="T41" fmla="*/ 346 h 793"/>
                <a:gd name="T42" fmla="*/ 78 w 140"/>
                <a:gd name="T43" fmla="*/ 386 h 793"/>
                <a:gd name="T44" fmla="*/ 64 w 140"/>
                <a:gd name="T45" fmla="*/ 410 h 793"/>
                <a:gd name="T46" fmla="*/ 62 w 140"/>
                <a:gd name="T47" fmla="*/ 459 h 793"/>
                <a:gd name="T48" fmla="*/ 59 w 140"/>
                <a:gd name="T49" fmla="*/ 488 h 793"/>
                <a:gd name="T50" fmla="*/ 62 w 140"/>
                <a:gd name="T51" fmla="*/ 507 h 793"/>
                <a:gd name="T52" fmla="*/ 71 w 140"/>
                <a:gd name="T53" fmla="*/ 518 h 793"/>
                <a:gd name="T54" fmla="*/ 64 w 140"/>
                <a:gd name="T55" fmla="*/ 537 h 793"/>
                <a:gd name="T56" fmla="*/ 52 w 140"/>
                <a:gd name="T57" fmla="*/ 587 h 793"/>
                <a:gd name="T58" fmla="*/ 48 w 140"/>
                <a:gd name="T59" fmla="*/ 616 h 793"/>
                <a:gd name="T60" fmla="*/ 38 w 140"/>
                <a:gd name="T61" fmla="*/ 653 h 793"/>
                <a:gd name="T62" fmla="*/ 52 w 140"/>
                <a:gd name="T63" fmla="*/ 660 h 793"/>
                <a:gd name="T64" fmla="*/ 59 w 140"/>
                <a:gd name="T65" fmla="*/ 696 h 793"/>
                <a:gd name="T66" fmla="*/ 114 w 140"/>
                <a:gd name="T67" fmla="*/ 701 h 793"/>
                <a:gd name="T68" fmla="*/ 90 w 140"/>
                <a:gd name="T69" fmla="*/ 708 h 793"/>
                <a:gd name="T70" fmla="*/ 74 w 140"/>
                <a:gd name="T71" fmla="*/ 743 h 793"/>
                <a:gd name="T72" fmla="*/ 50 w 140"/>
                <a:gd name="T73" fmla="*/ 736 h 793"/>
                <a:gd name="T74" fmla="*/ 31 w 140"/>
                <a:gd name="T75" fmla="*/ 717 h 793"/>
                <a:gd name="T76" fmla="*/ 5 w 140"/>
                <a:gd name="T77" fmla="*/ 684 h 793"/>
                <a:gd name="T78" fmla="*/ 3 w 140"/>
                <a:gd name="T79" fmla="*/ 653 h 793"/>
                <a:gd name="T80" fmla="*/ 7 w 140"/>
                <a:gd name="T81" fmla="*/ 587 h 793"/>
                <a:gd name="T82" fmla="*/ 0 w 140"/>
                <a:gd name="T83" fmla="*/ 561 h 793"/>
                <a:gd name="T84" fmla="*/ 19 w 140"/>
                <a:gd name="T85" fmla="*/ 504 h 793"/>
                <a:gd name="T86" fmla="*/ 48 w 140"/>
                <a:gd name="T87" fmla="*/ 466 h 793"/>
                <a:gd name="T88" fmla="*/ 31 w 140"/>
                <a:gd name="T89" fmla="*/ 488 h 793"/>
                <a:gd name="T90" fmla="*/ 26 w 140"/>
                <a:gd name="T91" fmla="*/ 452 h 793"/>
                <a:gd name="T92" fmla="*/ 38 w 140"/>
                <a:gd name="T93" fmla="*/ 400 h 793"/>
                <a:gd name="T94" fmla="*/ 33 w 140"/>
                <a:gd name="T95" fmla="*/ 358 h 793"/>
                <a:gd name="T96" fmla="*/ 50 w 140"/>
                <a:gd name="T97" fmla="*/ 324 h 793"/>
                <a:gd name="T98" fmla="*/ 66 w 140"/>
                <a:gd name="T99" fmla="*/ 263 h 793"/>
                <a:gd name="T100" fmla="*/ 69 w 140"/>
                <a:gd name="T101" fmla="*/ 220 h 793"/>
                <a:gd name="T102" fmla="*/ 76 w 140"/>
                <a:gd name="T103" fmla="*/ 175 h 793"/>
                <a:gd name="T104" fmla="*/ 85 w 140"/>
                <a:gd name="T105" fmla="*/ 104 h 793"/>
                <a:gd name="T106" fmla="*/ 88 w 140"/>
                <a:gd name="T107" fmla="*/ 36 h 793"/>
                <a:gd name="T108" fmla="*/ 92 w 140"/>
                <a:gd name="T109" fmla="*/ 10 h 793"/>
                <a:gd name="T110" fmla="*/ 104 w 140"/>
                <a:gd name="T111" fmla="*/ 10 h 793"/>
                <a:gd name="T112" fmla="*/ 116 w 140"/>
                <a:gd name="T113" fmla="*/ 31 h 793"/>
                <a:gd name="T114" fmla="*/ 118 w 140"/>
                <a:gd name="T115" fmla="*/ 66 h 7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0" h="793">
                  <a:moveTo>
                    <a:pt x="114" y="710"/>
                  </a:moveTo>
                  <a:lnTo>
                    <a:pt x="114" y="710"/>
                  </a:lnTo>
                  <a:lnTo>
                    <a:pt x="114" y="772"/>
                  </a:lnTo>
                  <a:lnTo>
                    <a:pt x="130" y="772"/>
                  </a:lnTo>
                  <a:lnTo>
                    <a:pt x="140" y="772"/>
                  </a:lnTo>
                  <a:lnTo>
                    <a:pt x="135" y="784"/>
                  </a:lnTo>
                  <a:lnTo>
                    <a:pt x="121" y="793"/>
                  </a:lnTo>
                  <a:lnTo>
                    <a:pt x="114" y="791"/>
                  </a:lnTo>
                  <a:lnTo>
                    <a:pt x="104" y="788"/>
                  </a:lnTo>
                  <a:lnTo>
                    <a:pt x="90" y="781"/>
                  </a:lnTo>
                  <a:lnTo>
                    <a:pt x="74" y="776"/>
                  </a:lnTo>
                  <a:lnTo>
                    <a:pt x="55" y="762"/>
                  </a:lnTo>
                  <a:lnTo>
                    <a:pt x="38" y="746"/>
                  </a:lnTo>
                  <a:lnTo>
                    <a:pt x="14" y="717"/>
                  </a:lnTo>
                  <a:lnTo>
                    <a:pt x="29" y="722"/>
                  </a:lnTo>
                  <a:lnTo>
                    <a:pt x="52" y="741"/>
                  </a:lnTo>
                  <a:lnTo>
                    <a:pt x="71" y="750"/>
                  </a:lnTo>
                  <a:lnTo>
                    <a:pt x="81" y="739"/>
                  </a:lnTo>
                  <a:lnTo>
                    <a:pt x="88" y="720"/>
                  </a:lnTo>
                  <a:lnTo>
                    <a:pt x="102" y="708"/>
                  </a:lnTo>
                  <a:lnTo>
                    <a:pt x="114" y="710"/>
                  </a:lnTo>
                  <a:close/>
                  <a:moveTo>
                    <a:pt x="118" y="66"/>
                  </a:moveTo>
                  <a:lnTo>
                    <a:pt x="118" y="66"/>
                  </a:lnTo>
                  <a:lnTo>
                    <a:pt x="126" y="90"/>
                  </a:lnTo>
                  <a:lnTo>
                    <a:pt x="137" y="88"/>
                  </a:lnTo>
                  <a:lnTo>
                    <a:pt x="140" y="92"/>
                  </a:lnTo>
                  <a:lnTo>
                    <a:pt x="135" y="111"/>
                  </a:lnTo>
                  <a:lnTo>
                    <a:pt x="116" y="118"/>
                  </a:lnTo>
                  <a:lnTo>
                    <a:pt x="116" y="149"/>
                  </a:lnTo>
                  <a:lnTo>
                    <a:pt x="114" y="154"/>
                  </a:lnTo>
                  <a:lnTo>
                    <a:pt x="118" y="161"/>
                  </a:lnTo>
                  <a:lnTo>
                    <a:pt x="107" y="173"/>
                  </a:lnTo>
                  <a:lnTo>
                    <a:pt x="95" y="189"/>
                  </a:lnTo>
                  <a:lnTo>
                    <a:pt x="90" y="206"/>
                  </a:lnTo>
                  <a:lnTo>
                    <a:pt x="92" y="225"/>
                  </a:lnTo>
                  <a:lnTo>
                    <a:pt x="83" y="244"/>
                  </a:lnTo>
                  <a:lnTo>
                    <a:pt x="90" y="277"/>
                  </a:lnTo>
                  <a:lnTo>
                    <a:pt x="92" y="282"/>
                  </a:lnTo>
                  <a:lnTo>
                    <a:pt x="92" y="298"/>
                  </a:lnTo>
                  <a:lnTo>
                    <a:pt x="85" y="317"/>
                  </a:lnTo>
                  <a:lnTo>
                    <a:pt x="85" y="334"/>
                  </a:lnTo>
                  <a:lnTo>
                    <a:pt x="71" y="346"/>
                  </a:lnTo>
                  <a:lnTo>
                    <a:pt x="71" y="365"/>
                  </a:lnTo>
                  <a:lnTo>
                    <a:pt x="78" y="386"/>
                  </a:lnTo>
                  <a:lnTo>
                    <a:pt x="66" y="393"/>
                  </a:lnTo>
                  <a:lnTo>
                    <a:pt x="64" y="410"/>
                  </a:lnTo>
                  <a:lnTo>
                    <a:pt x="59" y="433"/>
                  </a:lnTo>
                  <a:lnTo>
                    <a:pt x="62" y="459"/>
                  </a:lnTo>
                  <a:lnTo>
                    <a:pt x="57" y="464"/>
                  </a:lnTo>
                  <a:lnTo>
                    <a:pt x="59" y="488"/>
                  </a:lnTo>
                  <a:lnTo>
                    <a:pt x="66" y="497"/>
                  </a:lnTo>
                  <a:lnTo>
                    <a:pt x="62" y="507"/>
                  </a:lnTo>
                  <a:lnTo>
                    <a:pt x="69" y="511"/>
                  </a:lnTo>
                  <a:lnTo>
                    <a:pt x="71" y="518"/>
                  </a:lnTo>
                  <a:lnTo>
                    <a:pt x="64" y="523"/>
                  </a:lnTo>
                  <a:lnTo>
                    <a:pt x="64" y="537"/>
                  </a:lnTo>
                  <a:lnTo>
                    <a:pt x="59" y="568"/>
                  </a:lnTo>
                  <a:lnTo>
                    <a:pt x="52" y="587"/>
                  </a:lnTo>
                  <a:lnTo>
                    <a:pt x="52" y="599"/>
                  </a:lnTo>
                  <a:lnTo>
                    <a:pt x="48" y="616"/>
                  </a:lnTo>
                  <a:lnTo>
                    <a:pt x="36" y="627"/>
                  </a:lnTo>
                  <a:lnTo>
                    <a:pt x="38" y="653"/>
                  </a:lnTo>
                  <a:lnTo>
                    <a:pt x="43" y="663"/>
                  </a:lnTo>
                  <a:lnTo>
                    <a:pt x="52" y="660"/>
                  </a:lnTo>
                  <a:lnTo>
                    <a:pt x="52" y="679"/>
                  </a:lnTo>
                  <a:lnTo>
                    <a:pt x="59" y="696"/>
                  </a:lnTo>
                  <a:lnTo>
                    <a:pt x="100" y="698"/>
                  </a:lnTo>
                  <a:lnTo>
                    <a:pt x="114" y="701"/>
                  </a:lnTo>
                  <a:lnTo>
                    <a:pt x="100" y="701"/>
                  </a:lnTo>
                  <a:lnTo>
                    <a:pt x="90" y="708"/>
                  </a:lnTo>
                  <a:lnTo>
                    <a:pt x="76" y="717"/>
                  </a:lnTo>
                  <a:lnTo>
                    <a:pt x="74" y="743"/>
                  </a:lnTo>
                  <a:lnTo>
                    <a:pt x="66" y="743"/>
                  </a:lnTo>
                  <a:lnTo>
                    <a:pt x="50" y="736"/>
                  </a:lnTo>
                  <a:lnTo>
                    <a:pt x="31" y="717"/>
                  </a:lnTo>
                  <a:lnTo>
                    <a:pt x="31" y="717"/>
                  </a:lnTo>
                  <a:lnTo>
                    <a:pt x="12" y="701"/>
                  </a:lnTo>
                  <a:lnTo>
                    <a:pt x="5" y="684"/>
                  </a:lnTo>
                  <a:lnTo>
                    <a:pt x="10" y="670"/>
                  </a:lnTo>
                  <a:lnTo>
                    <a:pt x="3" y="653"/>
                  </a:lnTo>
                  <a:lnTo>
                    <a:pt x="0" y="611"/>
                  </a:lnTo>
                  <a:lnTo>
                    <a:pt x="7" y="587"/>
                  </a:lnTo>
                  <a:lnTo>
                    <a:pt x="24" y="568"/>
                  </a:lnTo>
                  <a:lnTo>
                    <a:pt x="0" y="561"/>
                  </a:lnTo>
                  <a:lnTo>
                    <a:pt x="14" y="542"/>
                  </a:lnTo>
                  <a:lnTo>
                    <a:pt x="19" y="504"/>
                  </a:lnTo>
                  <a:lnTo>
                    <a:pt x="38" y="511"/>
                  </a:lnTo>
                  <a:lnTo>
                    <a:pt x="48" y="466"/>
                  </a:lnTo>
                  <a:lnTo>
                    <a:pt x="36" y="459"/>
                  </a:lnTo>
                  <a:lnTo>
                    <a:pt x="31" y="488"/>
                  </a:lnTo>
                  <a:lnTo>
                    <a:pt x="21" y="485"/>
                  </a:lnTo>
                  <a:lnTo>
                    <a:pt x="26" y="452"/>
                  </a:lnTo>
                  <a:lnTo>
                    <a:pt x="31" y="414"/>
                  </a:lnTo>
                  <a:lnTo>
                    <a:pt x="38" y="400"/>
                  </a:lnTo>
                  <a:lnTo>
                    <a:pt x="33" y="379"/>
                  </a:lnTo>
                  <a:lnTo>
                    <a:pt x="33" y="358"/>
                  </a:lnTo>
                  <a:lnTo>
                    <a:pt x="38" y="355"/>
                  </a:lnTo>
                  <a:lnTo>
                    <a:pt x="50" y="324"/>
                  </a:lnTo>
                  <a:lnTo>
                    <a:pt x="59" y="294"/>
                  </a:lnTo>
                  <a:lnTo>
                    <a:pt x="66" y="263"/>
                  </a:lnTo>
                  <a:lnTo>
                    <a:pt x="64" y="237"/>
                  </a:lnTo>
                  <a:lnTo>
                    <a:pt x="69" y="220"/>
                  </a:lnTo>
                  <a:lnTo>
                    <a:pt x="66" y="197"/>
                  </a:lnTo>
                  <a:lnTo>
                    <a:pt x="76" y="175"/>
                  </a:lnTo>
                  <a:lnTo>
                    <a:pt x="78" y="140"/>
                  </a:lnTo>
                  <a:lnTo>
                    <a:pt x="85" y="104"/>
                  </a:lnTo>
                  <a:lnTo>
                    <a:pt x="90" y="64"/>
                  </a:lnTo>
                  <a:lnTo>
                    <a:pt x="88" y="36"/>
                  </a:lnTo>
                  <a:lnTo>
                    <a:pt x="85" y="12"/>
                  </a:lnTo>
                  <a:lnTo>
                    <a:pt x="92" y="10"/>
                  </a:lnTo>
                  <a:lnTo>
                    <a:pt x="97" y="0"/>
                  </a:lnTo>
                  <a:lnTo>
                    <a:pt x="104" y="10"/>
                  </a:lnTo>
                  <a:lnTo>
                    <a:pt x="107" y="24"/>
                  </a:lnTo>
                  <a:lnTo>
                    <a:pt x="116" y="31"/>
                  </a:lnTo>
                  <a:lnTo>
                    <a:pt x="111" y="47"/>
                  </a:lnTo>
                  <a:lnTo>
                    <a:pt x="118" y="66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05" name="Freeform 60">
              <a:extLst>
                <a:ext uri="{FF2B5EF4-FFF2-40B4-BE49-F238E27FC236}">
                  <a16:creationId xmlns:a16="http://schemas.microsoft.com/office/drawing/2014/main" id="{3A55FC05-98A5-16E9-E210-2FCFCA4C55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4610" y="2991665"/>
              <a:ext cx="104455" cy="109283"/>
            </a:xfrm>
            <a:custGeom>
              <a:avLst/>
              <a:gdLst>
                <a:gd name="T0" fmla="*/ 38 w 97"/>
                <a:gd name="T1" fmla="*/ 0 h 100"/>
                <a:gd name="T2" fmla="*/ 38 w 97"/>
                <a:gd name="T3" fmla="*/ 0 h 100"/>
                <a:gd name="T4" fmla="*/ 40 w 97"/>
                <a:gd name="T5" fmla="*/ 7 h 100"/>
                <a:gd name="T6" fmla="*/ 42 w 97"/>
                <a:gd name="T7" fmla="*/ 5 h 100"/>
                <a:gd name="T8" fmla="*/ 50 w 97"/>
                <a:gd name="T9" fmla="*/ 3 h 100"/>
                <a:gd name="T10" fmla="*/ 59 w 97"/>
                <a:gd name="T11" fmla="*/ 5 h 100"/>
                <a:gd name="T12" fmla="*/ 61 w 97"/>
                <a:gd name="T13" fmla="*/ 10 h 100"/>
                <a:gd name="T14" fmla="*/ 68 w 97"/>
                <a:gd name="T15" fmla="*/ 14 h 100"/>
                <a:gd name="T16" fmla="*/ 76 w 97"/>
                <a:gd name="T17" fmla="*/ 10 h 100"/>
                <a:gd name="T18" fmla="*/ 80 w 97"/>
                <a:gd name="T19" fmla="*/ 10 h 100"/>
                <a:gd name="T20" fmla="*/ 92 w 97"/>
                <a:gd name="T21" fmla="*/ 14 h 100"/>
                <a:gd name="T22" fmla="*/ 97 w 97"/>
                <a:gd name="T23" fmla="*/ 38 h 100"/>
                <a:gd name="T24" fmla="*/ 90 w 97"/>
                <a:gd name="T25" fmla="*/ 50 h 100"/>
                <a:gd name="T26" fmla="*/ 85 w 97"/>
                <a:gd name="T27" fmla="*/ 69 h 100"/>
                <a:gd name="T28" fmla="*/ 92 w 97"/>
                <a:gd name="T29" fmla="*/ 83 h 100"/>
                <a:gd name="T30" fmla="*/ 92 w 97"/>
                <a:gd name="T31" fmla="*/ 88 h 100"/>
                <a:gd name="T32" fmla="*/ 85 w 97"/>
                <a:gd name="T33" fmla="*/ 88 h 100"/>
                <a:gd name="T34" fmla="*/ 73 w 97"/>
                <a:gd name="T35" fmla="*/ 85 h 100"/>
                <a:gd name="T36" fmla="*/ 64 w 97"/>
                <a:gd name="T37" fmla="*/ 85 h 100"/>
                <a:gd name="T38" fmla="*/ 42 w 97"/>
                <a:gd name="T39" fmla="*/ 88 h 100"/>
                <a:gd name="T40" fmla="*/ 33 w 97"/>
                <a:gd name="T41" fmla="*/ 95 h 100"/>
                <a:gd name="T42" fmla="*/ 16 w 97"/>
                <a:gd name="T43" fmla="*/ 100 h 100"/>
                <a:gd name="T44" fmla="*/ 14 w 97"/>
                <a:gd name="T45" fmla="*/ 97 h 100"/>
                <a:gd name="T46" fmla="*/ 14 w 97"/>
                <a:gd name="T47" fmla="*/ 85 h 100"/>
                <a:gd name="T48" fmla="*/ 16 w 97"/>
                <a:gd name="T49" fmla="*/ 83 h 100"/>
                <a:gd name="T50" fmla="*/ 16 w 97"/>
                <a:gd name="T51" fmla="*/ 78 h 100"/>
                <a:gd name="T52" fmla="*/ 7 w 97"/>
                <a:gd name="T53" fmla="*/ 71 h 100"/>
                <a:gd name="T54" fmla="*/ 2 w 97"/>
                <a:gd name="T55" fmla="*/ 69 h 100"/>
                <a:gd name="T56" fmla="*/ 0 w 97"/>
                <a:gd name="T57" fmla="*/ 64 h 100"/>
                <a:gd name="T58" fmla="*/ 2 w 97"/>
                <a:gd name="T59" fmla="*/ 57 h 100"/>
                <a:gd name="T60" fmla="*/ 0 w 97"/>
                <a:gd name="T61" fmla="*/ 50 h 100"/>
                <a:gd name="T62" fmla="*/ 2 w 97"/>
                <a:gd name="T63" fmla="*/ 45 h 100"/>
                <a:gd name="T64" fmla="*/ 5 w 97"/>
                <a:gd name="T65" fmla="*/ 45 h 100"/>
                <a:gd name="T66" fmla="*/ 5 w 97"/>
                <a:gd name="T67" fmla="*/ 38 h 100"/>
                <a:gd name="T68" fmla="*/ 5 w 97"/>
                <a:gd name="T69" fmla="*/ 36 h 100"/>
                <a:gd name="T70" fmla="*/ 5 w 97"/>
                <a:gd name="T71" fmla="*/ 33 h 100"/>
                <a:gd name="T72" fmla="*/ 12 w 97"/>
                <a:gd name="T73" fmla="*/ 31 h 100"/>
                <a:gd name="T74" fmla="*/ 7 w 97"/>
                <a:gd name="T75" fmla="*/ 19 h 100"/>
                <a:gd name="T76" fmla="*/ 2 w 97"/>
                <a:gd name="T77" fmla="*/ 12 h 100"/>
                <a:gd name="T78" fmla="*/ 5 w 97"/>
                <a:gd name="T79" fmla="*/ 5 h 100"/>
                <a:gd name="T80" fmla="*/ 7 w 97"/>
                <a:gd name="T81" fmla="*/ 5 h 100"/>
                <a:gd name="T82" fmla="*/ 9 w 97"/>
                <a:gd name="T83" fmla="*/ 3 h 100"/>
                <a:gd name="T84" fmla="*/ 14 w 97"/>
                <a:gd name="T85" fmla="*/ 5 h 100"/>
                <a:gd name="T86" fmla="*/ 26 w 97"/>
                <a:gd name="T87" fmla="*/ 5 h 100"/>
                <a:gd name="T88" fmla="*/ 31 w 97"/>
                <a:gd name="T89" fmla="*/ 0 h 100"/>
                <a:gd name="T90" fmla="*/ 33 w 97"/>
                <a:gd name="T91" fmla="*/ 3 h 100"/>
                <a:gd name="T92" fmla="*/ 38 w 97"/>
                <a:gd name="T9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7" h="100">
                  <a:moveTo>
                    <a:pt x="38" y="0"/>
                  </a:moveTo>
                  <a:lnTo>
                    <a:pt x="38" y="0"/>
                  </a:lnTo>
                  <a:lnTo>
                    <a:pt x="40" y="7"/>
                  </a:lnTo>
                  <a:lnTo>
                    <a:pt x="42" y="5"/>
                  </a:lnTo>
                  <a:lnTo>
                    <a:pt x="50" y="3"/>
                  </a:lnTo>
                  <a:lnTo>
                    <a:pt x="59" y="5"/>
                  </a:lnTo>
                  <a:lnTo>
                    <a:pt x="61" y="10"/>
                  </a:lnTo>
                  <a:lnTo>
                    <a:pt x="68" y="14"/>
                  </a:lnTo>
                  <a:lnTo>
                    <a:pt x="76" y="10"/>
                  </a:lnTo>
                  <a:lnTo>
                    <a:pt x="80" y="10"/>
                  </a:lnTo>
                  <a:lnTo>
                    <a:pt x="92" y="14"/>
                  </a:lnTo>
                  <a:lnTo>
                    <a:pt x="97" y="38"/>
                  </a:lnTo>
                  <a:lnTo>
                    <a:pt x="90" y="50"/>
                  </a:lnTo>
                  <a:lnTo>
                    <a:pt x="85" y="69"/>
                  </a:lnTo>
                  <a:lnTo>
                    <a:pt x="92" y="83"/>
                  </a:lnTo>
                  <a:lnTo>
                    <a:pt x="92" y="88"/>
                  </a:lnTo>
                  <a:lnTo>
                    <a:pt x="85" y="88"/>
                  </a:lnTo>
                  <a:lnTo>
                    <a:pt x="73" y="85"/>
                  </a:lnTo>
                  <a:lnTo>
                    <a:pt x="64" y="85"/>
                  </a:lnTo>
                  <a:lnTo>
                    <a:pt x="42" y="88"/>
                  </a:lnTo>
                  <a:lnTo>
                    <a:pt x="33" y="95"/>
                  </a:lnTo>
                  <a:lnTo>
                    <a:pt x="16" y="100"/>
                  </a:lnTo>
                  <a:lnTo>
                    <a:pt x="14" y="97"/>
                  </a:lnTo>
                  <a:lnTo>
                    <a:pt x="14" y="85"/>
                  </a:lnTo>
                  <a:lnTo>
                    <a:pt x="16" y="83"/>
                  </a:lnTo>
                  <a:lnTo>
                    <a:pt x="16" y="78"/>
                  </a:lnTo>
                  <a:lnTo>
                    <a:pt x="7" y="71"/>
                  </a:lnTo>
                  <a:lnTo>
                    <a:pt x="2" y="69"/>
                  </a:lnTo>
                  <a:lnTo>
                    <a:pt x="0" y="64"/>
                  </a:lnTo>
                  <a:lnTo>
                    <a:pt x="2" y="57"/>
                  </a:lnTo>
                  <a:lnTo>
                    <a:pt x="0" y="50"/>
                  </a:lnTo>
                  <a:lnTo>
                    <a:pt x="2" y="45"/>
                  </a:lnTo>
                  <a:lnTo>
                    <a:pt x="5" y="45"/>
                  </a:lnTo>
                  <a:lnTo>
                    <a:pt x="5" y="38"/>
                  </a:lnTo>
                  <a:lnTo>
                    <a:pt x="5" y="36"/>
                  </a:lnTo>
                  <a:lnTo>
                    <a:pt x="5" y="33"/>
                  </a:lnTo>
                  <a:lnTo>
                    <a:pt x="12" y="31"/>
                  </a:lnTo>
                  <a:lnTo>
                    <a:pt x="7" y="19"/>
                  </a:lnTo>
                  <a:lnTo>
                    <a:pt x="2" y="12"/>
                  </a:lnTo>
                  <a:lnTo>
                    <a:pt x="5" y="5"/>
                  </a:lnTo>
                  <a:lnTo>
                    <a:pt x="7" y="5"/>
                  </a:lnTo>
                  <a:lnTo>
                    <a:pt x="9" y="3"/>
                  </a:lnTo>
                  <a:lnTo>
                    <a:pt x="14" y="5"/>
                  </a:lnTo>
                  <a:lnTo>
                    <a:pt x="26" y="5"/>
                  </a:lnTo>
                  <a:lnTo>
                    <a:pt x="31" y="0"/>
                  </a:lnTo>
                  <a:lnTo>
                    <a:pt x="33" y="3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06" name="Freeform 68">
              <a:extLst>
                <a:ext uri="{FF2B5EF4-FFF2-40B4-BE49-F238E27FC236}">
                  <a16:creationId xmlns:a16="http://schemas.microsoft.com/office/drawing/2014/main" id="{1418B37E-5555-95BE-3D2B-53A9B581E4D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6995" y="2955600"/>
              <a:ext cx="211064" cy="295062"/>
            </a:xfrm>
            <a:custGeom>
              <a:avLst/>
              <a:gdLst>
                <a:gd name="T0" fmla="*/ 113 w 196"/>
                <a:gd name="T1" fmla="*/ 14 h 270"/>
                <a:gd name="T2" fmla="*/ 102 w 196"/>
                <a:gd name="T3" fmla="*/ 26 h 270"/>
                <a:gd name="T4" fmla="*/ 94 w 196"/>
                <a:gd name="T5" fmla="*/ 45 h 270"/>
                <a:gd name="T6" fmla="*/ 99 w 196"/>
                <a:gd name="T7" fmla="*/ 55 h 270"/>
                <a:gd name="T8" fmla="*/ 106 w 196"/>
                <a:gd name="T9" fmla="*/ 66 h 270"/>
                <a:gd name="T10" fmla="*/ 104 w 196"/>
                <a:gd name="T11" fmla="*/ 78 h 270"/>
                <a:gd name="T12" fmla="*/ 109 w 196"/>
                <a:gd name="T13" fmla="*/ 83 h 270"/>
                <a:gd name="T14" fmla="*/ 135 w 196"/>
                <a:gd name="T15" fmla="*/ 88 h 270"/>
                <a:gd name="T16" fmla="*/ 154 w 196"/>
                <a:gd name="T17" fmla="*/ 104 h 270"/>
                <a:gd name="T18" fmla="*/ 172 w 196"/>
                <a:gd name="T19" fmla="*/ 102 h 270"/>
                <a:gd name="T20" fmla="*/ 187 w 196"/>
                <a:gd name="T21" fmla="*/ 104 h 270"/>
                <a:gd name="T22" fmla="*/ 182 w 196"/>
                <a:gd name="T23" fmla="*/ 118 h 270"/>
                <a:gd name="T24" fmla="*/ 182 w 196"/>
                <a:gd name="T25" fmla="*/ 140 h 270"/>
                <a:gd name="T26" fmla="*/ 189 w 196"/>
                <a:gd name="T27" fmla="*/ 149 h 270"/>
                <a:gd name="T28" fmla="*/ 187 w 196"/>
                <a:gd name="T29" fmla="*/ 159 h 270"/>
                <a:gd name="T30" fmla="*/ 196 w 196"/>
                <a:gd name="T31" fmla="*/ 182 h 270"/>
                <a:gd name="T32" fmla="*/ 189 w 196"/>
                <a:gd name="T33" fmla="*/ 173 h 270"/>
                <a:gd name="T34" fmla="*/ 180 w 196"/>
                <a:gd name="T35" fmla="*/ 175 h 270"/>
                <a:gd name="T36" fmla="*/ 149 w 196"/>
                <a:gd name="T37" fmla="*/ 185 h 270"/>
                <a:gd name="T38" fmla="*/ 156 w 196"/>
                <a:gd name="T39" fmla="*/ 192 h 270"/>
                <a:gd name="T40" fmla="*/ 144 w 196"/>
                <a:gd name="T41" fmla="*/ 192 h 270"/>
                <a:gd name="T42" fmla="*/ 151 w 196"/>
                <a:gd name="T43" fmla="*/ 211 h 270"/>
                <a:gd name="T44" fmla="*/ 154 w 196"/>
                <a:gd name="T45" fmla="*/ 227 h 270"/>
                <a:gd name="T46" fmla="*/ 139 w 196"/>
                <a:gd name="T47" fmla="*/ 261 h 270"/>
                <a:gd name="T48" fmla="*/ 144 w 196"/>
                <a:gd name="T49" fmla="*/ 246 h 270"/>
                <a:gd name="T50" fmla="*/ 123 w 196"/>
                <a:gd name="T51" fmla="*/ 239 h 270"/>
                <a:gd name="T52" fmla="*/ 106 w 196"/>
                <a:gd name="T53" fmla="*/ 242 h 270"/>
                <a:gd name="T54" fmla="*/ 85 w 196"/>
                <a:gd name="T55" fmla="*/ 223 h 270"/>
                <a:gd name="T56" fmla="*/ 73 w 196"/>
                <a:gd name="T57" fmla="*/ 211 h 270"/>
                <a:gd name="T58" fmla="*/ 59 w 196"/>
                <a:gd name="T59" fmla="*/ 204 h 270"/>
                <a:gd name="T60" fmla="*/ 42 w 196"/>
                <a:gd name="T61" fmla="*/ 194 h 270"/>
                <a:gd name="T62" fmla="*/ 23 w 196"/>
                <a:gd name="T63" fmla="*/ 197 h 270"/>
                <a:gd name="T64" fmla="*/ 16 w 196"/>
                <a:gd name="T65" fmla="*/ 189 h 270"/>
                <a:gd name="T66" fmla="*/ 0 w 196"/>
                <a:gd name="T67" fmla="*/ 175 h 270"/>
                <a:gd name="T68" fmla="*/ 5 w 196"/>
                <a:gd name="T69" fmla="*/ 166 h 270"/>
                <a:gd name="T70" fmla="*/ 16 w 196"/>
                <a:gd name="T71" fmla="*/ 159 h 270"/>
                <a:gd name="T72" fmla="*/ 31 w 196"/>
                <a:gd name="T73" fmla="*/ 140 h 270"/>
                <a:gd name="T74" fmla="*/ 26 w 196"/>
                <a:gd name="T75" fmla="*/ 126 h 270"/>
                <a:gd name="T76" fmla="*/ 26 w 196"/>
                <a:gd name="T77" fmla="*/ 107 h 270"/>
                <a:gd name="T78" fmla="*/ 16 w 196"/>
                <a:gd name="T79" fmla="*/ 85 h 270"/>
                <a:gd name="T80" fmla="*/ 23 w 196"/>
                <a:gd name="T81" fmla="*/ 78 h 270"/>
                <a:gd name="T82" fmla="*/ 23 w 196"/>
                <a:gd name="T83" fmla="*/ 64 h 270"/>
                <a:gd name="T84" fmla="*/ 33 w 196"/>
                <a:gd name="T85" fmla="*/ 62 h 270"/>
                <a:gd name="T86" fmla="*/ 52 w 196"/>
                <a:gd name="T87" fmla="*/ 50 h 270"/>
                <a:gd name="T88" fmla="*/ 57 w 196"/>
                <a:gd name="T89" fmla="*/ 31 h 270"/>
                <a:gd name="T90" fmla="*/ 75 w 196"/>
                <a:gd name="T91" fmla="*/ 21 h 270"/>
                <a:gd name="T92" fmla="*/ 90 w 196"/>
                <a:gd name="T93" fmla="*/ 19 h 270"/>
                <a:gd name="T94" fmla="*/ 109 w 196"/>
                <a:gd name="T95" fmla="*/ 7 h 270"/>
                <a:gd name="T96" fmla="*/ 123 w 196"/>
                <a:gd name="T97" fmla="*/ 3 h 270"/>
                <a:gd name="T98" fmla="*/ 123 w 196"/>
                <a:gd name="T99" fmla="*/ 12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6" h="270">
                  <a:moveTo>
                    <a:pt x="113" y="14"/>
                  </a:moveTo>
                  <a:lnTo>
                    <a:pt x="113" y="14"/>
                  </a:lnTo>
                  <a:lnTo>
                    <a:pt x="109" y="21"/>
                  </a:lnTo>
                  <a:lnTo>
                    <a:pt x="102" y="26"/>
                  </a:lnTo>
                  <a:lnTo>
                    <a:pt x="97" y="33"/>
                  </a:lnTo>
                  <a:lnTo>
                    <a:pt x="94" y="45"/>
                  </a:lnTo>
                  <a:lnTo>
                    <a:pt x="92" y="55"/>
                  </a:lnTo>
                  <a:lnTo>
                    <a:pt x="99" y="55"/>
                  </a:lnTo>
                  <a:lnTo>
                    <a:pt x="102" y="62"/>
                  </a:lnTo>
                  <a:lnTo>
                    <a:pt x="106" y="66"/>
                  </a:lnTo>
                  <a:lnTo>
                    <a:pt x="106" y="74"/>
                  </a:lnTo>
                  <a:lnTo>
                    <a:pt x="104" y="78"/>
                  </a:lnTo>
                  <a:lnTo>
                    <a:pt x="106" y="81"/>
                  </a:lnTo>
                  <a:lnTo>
                    <a:pt x="109" y="83"/>
                  </a:lnTo>
                  <a:lnTo>
                    <a:pt x="113" y="90"/>
                  </a:lnTo>
                  <a:lnTo>
                    <a:pt x="135" y="88"/>
                  </a:lnTo>
                  <a:lnTo>
                    <a:pt x="144" y="90"/>
                  </a:lnTo>
                  <a:lnTo>
                    <a:pt x="154" y="104"/>
                  </a:lnTo>
                  <a:lnTo>
                    <a:pt x="161" y="102"/>
                  </a:lnTo>
                  <a:lnTo>
                    <a:pt x="172" y="102"/>
                  </a:lnTo>
                  <a:lnTo>
                    <a:pt x="182" y="100"/>
                  </a:lnTo>
                  <a:lnTo>
                    <a:pt x="187" y="104"/>
                  </a:lnTo>
                  <a:lnTo>
                    <a:pt x="184" y="114"/>
                  </a:lnTo>
                  <a:lnTo>
                    <a:pt x="182" y="118"/>
                  </a:lnTo>
                  <a:lnTo>
                    <a:pt x="180" y="128"/>
                  </a:lnTo>
                  <a:lnTo>
                    <a:pt x="182" y="140"/>
                  </a:lnTo>
                  <a:lnTo>
                    <a:pt x="189" y="145"/>
                  </a:lnTo>
                  <a:lnTo>
                    <a:pt x="189" y="149"/>
                  </a:lnTo>
                  <a:lnTo>
                    <a:pt x="180" y="156"/>
                  </a:lnTo>
                  <a:lnTo>
                    <a:pt x="187" y="159"/>
                  </a:lnTo>
                  <a:lnTo>
                    <a:pt x="191" y="166"/>
                  </a:lnTo>
                  <a:lnTo>
                    <a:pt x="196" y="182"/>
                  </a:lnTo>
                  <a:lnTo>
                    <a:pt x="191" y="182"/>
                  </a:lnTo>
                  <a:lnTo>
                    <a:pt x="189" y="173"/>
                  </a:lnTo>
                  <a:lnTo>
                    <a:pt x="184" y="168"/>
                  </a:lnTo>
                  <a:lnTo>
                    <a:pt x="180" y="175"/>
                  </a:lnTo>
                  <a:lnTo>
                    <a:pt x="149" y="173"/>
                  </a:lnTo>
                  <a:lnTo>
                    <a:pt x="149" y="185"/>
                  </a:lnTo>
                  <a:lnTo>
                    <a:pt x="158" y="185"/>
                  </a:lnTo>
                  <a:lnTo>
                    <a:pt x="156" y="192"/>
                  </a:lnTo>
                  <a:lnTo>
                    <a:pt x="154" y="189"/>
                  </a:lnTo>
                  <a:lnTo>
                    <a:pt x="144" y="192"/>
                  </a:lnTo>
                  <a:lnTo>
                    <a:pt x="144" y="204"/>
                  </a:lnTo>
                  <a:lnTo>
                    <a:pt x="151" y="211"/>
                  </a:lnTo>
                  <a:lnTo>
                    <a:pt x="154" y="220"/>
                  </a:lnTo>
                  <a:lnTo>
                    <a:pt x="154" y="227"/>
                  </a:lnTo>
                  <a:lnTo>
                    <a:pt x="146" y="270"/>
                  </a:lnTo>
                  <a:lnTo>
                    <a:pt x="139" y="261"/>
                  </a:lnTo>
                  <a:lnTo>
                    <a:pt x="132" y="261"/>
                  </a:lnTo>
                  <a:lnTo>
                    <a:pt x="144" y="246"/>
                  </a:lnTo>
                  <a:lnTo>
                    <a:pt x="132" y="237"/>
                  </a:lnTo>
                  <a:lnTo>
                    <a:pt x="123" y="239"/>
                  </a:lnTo>
                  <a:lnTo>
                    <a:pt x="116" y="237"/>
                  </a:lnTo>
                  <a:lnTo>
                    <a:pt x="106" y="242"/>
                  </a:lnTo>
                  <a:lnTo>
                    <a:pt x="94" y="239"/>
                  </a:lnTo>
                  <a:lnTo>
                    <a:pt x="85" y="223"/>
                  </a:lnTo>
                  <a:lnTo>
                    <a:pt x="78" y="218"/>
                  </a:lnTo>
                  <a:lnTo>
                    <a:pt x="73" y="211"/>
                  </a:lnTo>
                  <a:lnTo>
                    <a:pt x="61" y="201"/>
                  </a:lnTo>
                  <a:lnTo>
                    <a:pt x="59" y="204"/>
                  </a:lnTo>
                  <a:lnTo>
                    <a:pt x="49" y="199"/>
                  </a:lnTo>
                  <a:lnTo>
                    <a:pt x="42" y="194"/>
                  </a:lnTo>
                  <a:lnTo>
                    <a:pt x="38" y="199"/>
                  </a:lnTo>
                  <a:lnTo>
                    <a:pt x="23" y="197"/>
                  </a:lnTo>
                  <a:lnTo>
                    <a:pt x="21" y="187"/>
                  </a:lnTo>
                  <a:lnTo>
                    <a:pt x="16" y="189"/>
                  </a:lnTo>
                  <a:lnTo>
                    <a:pt x="2" y="180"/>
                  </a:lnTo>
                  <a:lnTo>
                    <a:pt x="0" y="175"/>
                  </a:lnTo>
                  <a:lnTo>
                    <a:pt x="5" y="173"/>
                  </a:lnTo>
                  <a:lnTo>
                    <a:pt x="5" y="166"/>
                  </a:lnTo>
                  <a:lnTo>
                    <a:pt x="9" y="159"/>
                  </a:lnTo>
                  <a:lnTo>
                    <a:pt x="16" y="159"/>
                  </a:lnTo>
                  <a:lnTo>
                    <a:pt x="23" y="149"/>
                  </a:lnTo>
                  <a:lnTo>
                    <a:pt x="31" y="140"/>
                  </a:lnTo>
                  <a:lnTo>
                    <a:pt x="23" y="135"/>
                  </a:lnTo>
                  <a:lnTo>
                    <a:pt x="26" y="126"/>
                  </a:lnTo>
                  <a:lnTo>
                    <a:pt x="23" y="111"/>
                  </a:lnTo>
                  <a:lnTo>
                    <a:pt x="26" y="107"/>
                  </a:lnTo>
                  <a:lnTo>
                    <a:pt x="23" y="95"/>
                  </a:lnTo>
                  <a:lnTo>
                    <a:pt x="16" y="85"/>
                  </a:lnTo>
                  <a:lnTo>
                    <a:pt x="19" y="78"/>
                  </a:lnTo>
                  <a:lnTo>
                    <a:pt x="23" y="78"/>
                  </a:lnTo>
                  <a:lnTo>
                    <a:pt x="28" y="74"/>
                  </a:lnTo>
                  <a:lnTo>
                    <a:pt x="23" y="64"/>
                  </a:lnTo>
                  <a:lnTo>
                    <a:pt x="26" y="62"/>
                  </a:lnTo>
                  <a:lnTo>
                    <a:pt x="33" y="62"/>
                  </a:lnTo>
                  <a:lnTo>
                    <a:pt x="45" y="52"/>
                  </a:lnTo>
                  <a:lnTo>
                    <a:pt x="52" y="50"/>
                  </a:lnTo>
                  <a:lnTo>
                    <a:pt x="52" y="43"/>
                  </a:lnTo>
                  <a:lnTo>
                    <a:pt x="57" y="31"/>
                  </a:lnTo>
                  <a:lnTo>
                    <a:pt x="66" y="21"/>
                  </a:lnTo>
                  <a:lnTo>
                    <a:pt x="75" y="21"/>
                  </a:lnTo>
                  <a:lnTo>
                    <a:pt x="78" y="19"/>
                  </a:lnTo>
                  <a:lnTo>
                    <a:pt x="90" y="19"/>
                  </a:lnTo>
                  <a:lnTo>
                    <a:pt x="102" y="12"/>
                  </a:lnTo>
                  <a:lnTo>
                    <a:pt x="109" y="7"/>
                  </a:lnTo>
                  <a:lnTo>
                    <a:pt x="116" y="0"/>
                  </a:lnTo>
                  <a:lnTo>
                    <a:pt x="123" y="3"/>
                  </a:lnTo>
                  <a:lnTo>
                    <a:pt x="125" y="5"/>
                  </a:lnTo>
                  <a:lnTo>
                    <a:pt x="123" y="12"/>
                  </a:lnTo>
                  <a:lnTo>
                    <a:pt x="113" y="14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07" name="Freeform 70">
              <a:extLst>
                <a:ext uri="{FF2B5EF4-FFF2-40B4-BE49-F238E27FC236}">
                  <a16:creationId xmlns:a16="http://schemas.microsoft.com/office/drawing/2014/main" id="{65B2C257-7B44-C1A6-1331-73E89FF5BC7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4235" y="2978549"/>
              <a:ext cx="61382" cy="52456"/>
            </a:xfrm>
            <a:custGeom>
              <a:avLst/>
              <a:gdLst>
                <a:gd name="T0" fmla="*/ 7 w 57"/>
                <a:gd name="T1" fmla="*/ 0 h 48"/>
                <a:gd name="T2" fmla="*/ 7 w 57"/>
                <a:gd name="T3" fmla="*/ 0 h 48"/>
                <a:gd name="T4" fmla="*/ 17 w 57"/>
                <a:gd name="T5" fmla="*/ 5 h 48"/>
                <a:gd name="T6" fmla="*/ 22 w 57"/>
                <a:gd name="T7" fmla="*/ 3 h 48"/>
                <a:gd name="T8" fmla="*/ 26 w 57"/>
                <a:gd name="T9" fmla="*/ 3 h 48"/>
                <a:gd name="T10" fmla="*/ 29 w 57"/>
                <a:gd name="T11" fmla="*/ 8 h 48"/>
                <a:gd name="T12" fmla="*/ 33 w 57"/>
                <a:gd name="T13" fmla="*/ 8 h 48"/>
                <a:gd name="T14" fmla="*/ 38 w 57"/>
                <a:gd name="T15" fmla="*/ 5 h 48"/>
                <a:gd name="T16" fmla="*/ 43 w 57"/>
                <a:gd name="T17" fmla="*/ 12 h 48"/>
                <a:gd name="T18" fmla="*/ 48 w 57"/>
                <a:gd name="T19" fmla="*/ 19 h 48"/>
                <a:gd name="T20" fmla="*/ 57 w 57"/>
                <a:gd name="T21" fmla="*/ 26 h 48"/>
                <a:gd name="T22" fmla="*/ 50 w 57"/>
                <a:gd name="T23" fmla="*/ 29 h 48"/>
                <a:gd name="T24" fmla="*/ 50 w 57"/>
                <a:gd name="T25" fmla="*/ 34 h 48"/>
                <a:gd name="T26" fmla="*/ 52 w 57"/>
                <a:gd name="T27" fmla="*/ 36 h 48"/>
                <a:gd name="T28" fmla="*/ 50 w 57"/>
                <a:gd name="T29" fmla="*/ 38 h 48"/>
                <a:gd name="T30" fmla="*/ 52 w 57"/>
                <a:gd name="T31" fmla="*/ 43 h 48"/>
                <a:gd name="T32" fmla="*/ 50 w 57"/>
                <a:gd name="T33" fmla="*/ 45 h 48"/>
                <a:gd name="T34" fmla="*/ 50 w 57"/>
                <a:gd name="T35" fmla="*/ 48 h 48"/>
                <a:gd name="T36" fmla="*/ 40 w 57"/>
                <a:gd name="T37" fmla="*/ 45 h 48"/>
                <a:gd name="T38" fmla="*/ 36 w 57"/>
                <a:gd name="T39" fmla="*/ 41 h 48"/>
                <a:gd name="T40" fmla="*/ 38 w 57"/>
                <a:gd name="T41" fmla="*/ 38 h 48"/>
                <a:gd name="T42" fmla="*/ 38 w 57"/>
                <a:gd name="T43" fmla="*/ 36 h 48"/>
                <a:gd name="T44" fmla="*/ 33 w 57"/>
                <a:gd name="T45" fmla="*/ 31 h 48"/>
                <a:gd name="T46" fmla="*/ 29 w 57"/>
                <a:gd name="T47" fmla="*/ 29 h 48"/>
                <a:gd name="T48" fmla="*/ 22 w 57"/>
                <a:gd name="T49" fmla="*/ 26 h 48"/>
                <a:gd name="T50" fmla="*/ 22 w 57"/>
                <a:gd name="T51" fmla="*/ 22 h 48"/>
                <a:gd name="T52" fmla="*/ 17 w 57"/>
                <a:gd name="T53" fmla="*/ 19 h 48"/>
                <a:gd name="T54" fmla="*/ 17 w 57"/>
                <a:gd name="T55" fmla="*/ 24 h 48"/>
                <a:gd name="T56" fmla="*/ 14 w 57"/>
                <a:gd name="T57" fmla="*/ 26 h 48"/>
                <a:gd name="T58" fmla="*/ 10 w 57"/>
                <a:gd name="T59" fmla="*/ 22 h 48"/>
                <a:gd name="T60" fmla="*/ 5 w 57"/>
                <a:gd name="T61" fmla="*/ 22 h 48"/>
                <a:gd name="T62" fmla="*/ 3 w 57"/>
                <a:gd name="T63" fmla="*/ 17 h 48"/>
                <a:gd name="T64" fmla="*/ 3 w 57"/>
                <a:gd name="T65" fmla="*/ 12 h 48"/>
                <a:gd name="T66" fmla="*/ 5 w 57"/>
                <a:gd name="T67" fmla="*/ 8 h 48"/>
                <a:gd name="T68" fmla="*/ 0 w 57"/>
                <a:gd name="T69" fmla="*/ 5 h 48"/>
                <a:gd name="T70" fmla="*/ 5 w 57"/>
                <a:gd name="T71" fmla="*/ 3 h 48"/>
                <a:gd name="T72" fmla="*/ 7 w 57"/>
                <a:gd name="T7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7" h="48">
                  <a:moveTo>
                    <a:pt x="7" y="0"/>
                  </a:moveTo>
                  <a:lnTo>
                    <a:pt x="7" y="0"/>
                  </a:lnTo>
                  <a:lnTo>
                    <a:pt x="17" y="5"/>
                  </a:lnTo>
                  <a:lnTo>
                    <a:pt x="22" y="3"/>
                  </a:lnTo>
                  <a:lnTo>
                    <a:pt x="26" y="3"/>
                  </a:lnTo>
                  <a:lnTo>
                    <a:pt x="29" y="8"/>
                  </a:lnTo>
                  <a:lnTo>
                    <a:pt x="33" y="8"/>
                  </a:lnTo>
                  <a:lnTo>
                    <a:pt x="38" y="5"/>
                  </a:lnTo>
                  <a:lnTo>
                    <a:pt x="43" y="12"/>
                  </a:lnTo>
                  <a:lnTo>
                    <a:pt x="48" y="19"/>
                  </a:lnTo>
                  <a:lnTo>
                    <a:pt x="57" y="26"/>
                  </a:lnTo>
                  <a:lnTo>
                    <a:pt x="50" y="29"/>
                  </a:lnTo>
                  <a:lnTo>
                    <a:pt x="50" y="34"/>
                  </a:lnTo>
                  <a:lnTo>
                    <a:pt x="52" y="36"/>
                  </a:lnTo>
                  <a:lnTo>
                    <a:pt x="50" y="38"/>
                  </a:lnTo>
                  <a:lnTo>
                    <a:pt x="52" y="43"/>
                  </a:lnTo>
                  <a:lnTo>
                    <a:pt x="50" y="45"/>
                  </a:lnTo>
                  <a:lnTo>
                    <a:pt x="50" y="48"/>
                  </a:lnTo>
                  <a:lnTo>
                    <a:pt x="40" y="45"/>
                  </a:lnTo>
                  <a:lnTo>
                    <a:pt x="36" y="41"/>
                  </a:lnTo>
                  <a:lnTo>
                    <a:pt x="38" y="38"/>
                  </a:lnTo>
                  <a:lnTo>
                    <a:pt x="38" y="36"/>
                  </a:lnTo>
                  <a:lnTo>
                    <a:pt x="33" y="31"/>
                  </a:lnTo>
                  <a:lnTo>
                    <a:pt x="29" y="29"/>
                  </a:lnTo>
                  <a:lnTo>
                    <a:pt x="22" y="26"/>
                  </a:lnTo>
                  <a:lnTo>
                    <a:pt x="22" y="22"/>
                  </a:lnTo>
                  <a:lnTo>
                    <a:pt x="17" y="19"/>
                  </a:lnTo>
                  <a:lnTo>
                    <a:pt x="17" y="24"/>
                  </a:lnTo>
                  <a:lnTo>
                    <a:pt x="14" y="26"/>
                  </a:lnTo>
                  <a:lnTo>
                    <a:pt x="10" y="22"/>
                  </a:lnTo>
                  <a:lnTo>
                    <a:pt x="5" y="22"/>
                  </a:lnTo>
                  <a:lnTo>
                    <a:pt x="3" y="17"/>
                  </a:lnTo>
                  <a:lnTo>
                    <a:pt x="3" y="12"/>
                  </a:lnTo>
                  <a:lnTo>
                    <a:pt x="5" y="8"/>
                  </a:lnTo>
                  <a:lnTo>
                    <a:pt x="0" y="5"/>
                  </a:lnTo>
                  <a:lnTo>
                    <a:pt x="5" y="3"/>
                  </a:lnTo>
                  <a:lnTo>
                    <a:pt x="7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08" name="Freeform 72">
              <a:extLst>
                <a:ext uri="{FF2B5EF4-FFF2-40B4-BE49-F238E27FC236}">
                  <a16:creationId xmlns:a16="http://schemas.microsoft.com/office/drawing/2014/main" id="{518C5CE6-E7D5-24D3-DCDB-1364A170895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9310" y="2756707"/>
              <a:ext cx="191680" cy="64476"/>
            </a:xfrm>
            <a:custGeom>
              <a:avLst/>
              <a:gdLst>
                <a:gd name="T0" fmla="*/ 88 w 178"/>
                <a:gd name="T1" fmla="*/ 7 h 59"/>
                <a:gd name="T2" fmla="*/ 88 w 178"/>
                <a:gd name="T3" fmla="*/ 7 h 59"/>
                <a:gd name="T4" fmla="*/ 95 w 178"/>
                <a:gd name="T5" fmla="*/ 14 h 59"/>
                <a:gd name="T6" fmla="*/ 109 w 178"/>
                <a:gd name="T7" fmla="*/ 12 h 59"/>
                <a:gd name="T8" fmla="*/ 114 w 178"/>
                <a:gd name="T9" fmla="*/ 16 h 59"/>
                <a:gd name="T10" fmla="*/ 128 w 178"/>
                <a:gd name="T11" fmla="*/ 28 h 59"/>
                <a:gd name="T12" fmla="*/ 138 w 178"/>
                <a:gd name="T13" fmla="*/ 35 h 59"/>
                <a:gd name="T14" fmla="*/ 145 w 178"/>
                <a:gd name="T15" fmla="*/ 33 h 59"/>
                <a:gd name="T16" fmla="*/ 154 w 178"/>
                <a:gd name="T17" fmla="*/ 38 h 59"/>
                <a:gd name="T18" fmla="*/ 152 w 178"/>
                <a:gd name="T19" fmla="*/ 42 h 59"/>
                <a:gd name="T20" fmla="*/ 166 w 178"/>
                <a:gd name="T21" fmla="*/ 45 h 59"/>
                <a:gd name="T22" fmla="*/ 178 w 178"/>
                <a:gd name="T23" fmla="*/ 52 h 59"/>
                <a:gd name="T24" fmla="*/ 175 w 178"/>
                <a:gd name="T25" fmla="*/ 54 h 59"/>
                <a:gd name="T26" fmla="*/ 166 w 178"/>
                <a:gd name="T27" fmla="*/ 57 h 59"/>
                <a:gd name="T28" fmla="*/ 154 w 178"/>
                <a:gd name="T29" fmla="*/ 57 h 59"/>
                <a:gd name="T30" fmla="*/ 142 w 178"/>
                <a:gd name="T31" fmla="*/ 57 h 59"/>
                <a:gd name="T32" fmla="*/ 119 w 178"/>
                <a:gd name="T33" fmla="*/ 59 h 59"/>
                <a:gd name="T34" fmla="*/ 131 w 178"/>
                <a:gd name="T35" fmla="*/ 50 h 59"/>
                <a:gd name="T36" fmla="*/ 123 w 178"/>
                <a:gd name="T37" fmla="*/ 45 h 59"/>
                <a:gd name="T38" fmla="*/ 112 w 178"/>
                <a:gd name="T39" fmla="*/ 42 h 59"/>
                <a:gd name="T40" fmla="*/ 107 w 178"/>
                <a:gd name="T41" fmla="*/ 38 h 59"/>
                <a:gd name="T42" fmla="*/ 105 w 178"/>
                <a:gd name="T43" fmla="*/ 28 h 59"/>
                <a:gd name="T44" fmla="*/ 95 w 178"/>
                <a:gd name="T45" fmla="*/ 28 h 59"/>
                <a:gd name="T46" fmla="*/ 79 w 178"/>
                <a:gd name="T47" fmla="*/ 24 h 59"/>
                <a:gd name="T48" fmla="*/ 74 w 178"/>
                <a:gd name="T49" fmla="*/ 21 h 59"/>
                <a:gd name="T50" fmla="*/ 52 w 178"/>
                <a:gd name="T51" fmla="*/ 19 h 59"/>
                <a:gd name="T52" fmla="*/ 48 w 178"/>
                <a:gd name="T53" fmla="*/ 14 h 59"/>
                <a:gd name="T54" fmla="*/ 52 w 178"/>
                <a:gd name="T55" fmla="*/ 9 h 59"/>
                <a:gd name="T56" fmla="*/ 38 w 178"/>
                <a:gd name="T57" fmla="*/ 9 h 59"/>
                <a:gd name="T58" fmla="*/ 26 w 178"/>
                <a:gd name="T59" fmla="*/ 19 h 59"/>
                <a:gd name="T60" fmla="*/ 19 w 178"/>
                <a:gd name="T61" fmla="*/ 19 h 59"/>
                <a:gd name="T62" fmla="*/ 17 w 178"/>
                <a:gd name="T63" fmla="*/ 24 h 59"/>
                <a:gd name="T64" fmla="*/ 10 w 178"/>
                <a:gd name="T65" fmla="*/ 24 h 59"/>
                <a:gd name="T66" fmla="*/ 0 w 178"/>
                <a:gd name="T67" fmla="*/ 24 h 59"/>
                <a:gd name="T68" fmla="*/ 10 w 178"/>
                <a:gd name="T69" fmla="*/ 19 h 59"/>
                <a:gd name="T70" fmla="*/ 15 w 178"/>
                <a:gd name="T71" fmla="*/ 12 h 59"/>
                <a:gd name="T72" fmla="*/ 22 w 178"/>
                <a:gd name="T73" fmla="*/ 7 h 59"/>
                <a:gd name="T74" fmla="*/ 29 w 178"/>
                <a:gd name="T75" fmla="*/ 5 h 59"/>
                <a:gd name="T76" fmla="*/ 43 w 178"/>
                <a:gd name="T77" fmla="*/ 2 h 59"/>
                <a:gd name="T78" fmla="*/ 45 w 178"/>
                <a:gd name="T79" fmla="*/ 0 h 59"/>
                <a:gd name="T80" fmla="*/ 60 w 178"/>
                <a:gd name="T81" fmla="*/ 2 h 59"/>
                <a:gd name="T82" fmla="*/ 74 w 178"/>
                <a:gd name="T83" fmla="*/ 2 h 59"/>
                <a:gd name="T84" fmla="*/ 88 w 178"/>
                <a:gd name="T85" fmla="*/ 7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8" h="59">
                  <a:moveTo>
                    <a:pt x="88" y="7"/>
                  </a:moveTo>
                  <a:lnTo>
                    <a:pt x="88" y="7"/>
                  </a:lnTo>
                  <a:lnTo>
                    <a:pt x="95" y="14"/>
                  </a:lnTo>
                  <a:lnTo>
                    <a:pt x="109" y="12"/>
                  </a:lnTo>
                  <a:lnTo>
                    <a:pt x="114" y="16"/>
                  </a:lnTo>
                  <a:lnTo>
                    <a:pt x="128" y="28"/>
                  </a:lnTo>
                  <a:lnTo>
                    <a:pt x="138" y="35"/>
                  </a:lnTo>
                  <a:lnTo>
                    <a:pt x="145" y="33"/>
                  </a:lnTo>
                  <a:lnTo>
                    <a:pt x="154" y="38"/>
                  </a:lnTo>
                  <a:lnTo>
                    <a:pt x="152" y="42"/>
                  </a:lnTo>
                  <a:lnTo>
                    <a:pt x="166" y="45"/>
                  </a:lnTo>
                  <a:lnTo>
                    <a:pt x="178" y="52"/>
                  </a:lnTo>
                  <a:lnTo>
                    <a:pt x="175" y="54"/>
                  </a:lnTo>
                  <a:lnTo>
                    <a:pt x="166" y="57"/>
                  </a:lnTo>
                  <a:lnTo>
                    <a:pt x="154" y="57"/>
                  </a:lnTo>
                  <a:lnTo>
                    <a:pt x="142" y="57"/>
                  </a:lnTo>
                  <a:lnTo>
                    <a:pt x="119" y="59"/>
                  </a:lnTo>
                  <a:lnTo>
                    <a:pt x="131" y="50"/>
                  </a:lnTo>
                  <a:lnTo>
                    <a:pt x="123" y="45"/>
                  </a:lnTo>
                  <a:lnTo>
                    <a:pt x="112" y="42"/>
                  </a:lnTo>
                  <a:lnTo>
                    <a:pt x="107" y="38"/>
                  </a:lnTo>
                  <a:lnTo>
                    <a:pt x="105" y="28"/>
                  </a:lnTo>
                  <a:lnTo>
                    <a:pt x="95" y="28"/>
                  </a:lnTo>
                  <a:lnTo>
                    <a:pt x="79" y="24"/>
                  </a:lnTo>
                  <a:lnTo>
                    <a:pt x="74" y="21"/>
                  </a:lnTo>
                  <a:lnTo>
                    <a:pt x="52" y="19"/>
                  </a:lnTo>
                  <a:lnTo>
                    <a:pt x="48" y="14"/>
                  </a:lnTo>
                  <a:lnTo>
                    <a:pt x="52" y="9"/>
                  </a:lnTo>
                  <a:lnTo>
                    <a:pt x="38" y="9"/>
                  </a:lnTo>
                  <a:lnTo>
                    <a:pt x="26" y="19"/>
                  </a:lnTo>
                  <a:lnTo>
                    <a:pt x="19" y="19"/>
                  </a:lnTo>
                  <a:lnTo>
                    <a:pt x="17" y="24"/>
                  </a:lnTo>
                  <a:lnTo>
                    <a:pt x="10" y="24"/>
                  </a:lnTo>
                  <a:lnTo>
                    <a:pt x="0" y="24"/>
                  </a:lnTo>
                  <a:lnTo>
                    <a:pt x="10" y="19"/>
                  </a:lnTo>
                  <a:lnTo>
                    <a:pt x="15" y="12"/>
                  </a:lnTo>
                  <a:lnTo>
                    <a:pt x="22" y="7"/>
                  </a:lnTo>
                  <a:lnTo>
                    <a:pt x="29" y="5"/>
                  </a:lnTo>
                  <a:lnTo>
                    <a:pt x="43" y="2"/>
                  </a:lnTo>
                  <a:lnTo>
                    <a:pt x="45" y="0"/>
                  </a:lnTo>
                  <a:lnTo>
                    <a:pt x="60" y="2"/>
                  </a:lnTo>
                  <a:lnTo>
                    <a:pt x="74" y="2"/>
                  </a:lnTo>
                  <a:lnTo>
                    <a:pt x="88" y="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09" name="Freeform 74">
              <a:extLst>
                <a:ext uri="{FF2B5EF4-FFF2-40B4-BE49-F238E27FC236}">
                  <a16:creationId xmlns:a16="http://schemas.microsoft.com/office/drawing/2014/main" id="{99FA4336-35A6-4DC5-CB6A-0A4216D6474F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5026" y="2505358"/>
              <a:ext cx="31229" cy="13115"/>
            </a:xfrm>
            <a:custGeom>
              <a:avLst/>
              <a:gdLst>
                <a:gd name="T0" fmla="*/ 29 w 29"/>
                <a:gd name="T1" fmla="*/ 0 h 12"/>
                <a:gd name="T2" fmla="*/ 29 w 29"/>
                <a:gd name="T3" fmla="*/ 0 h 12"/>
                <a:gd name="T4" fmla="*/ 19 w 29"/>
                <a:gd name="T5" fmla="*/ 7 h 12"/>
                <a:gd name="T6" fmla="*/ 19 w 29"/>
                <a:gd name="T7" fmla="*/ 12 h 12"/>
                <a:gd name="T8" fmla="*/ 17 w 29"/>
                <a:gd name="T9" fmla="*/ 12 h 12"/>
                <a:gd name="T10" fmla="*/ 14 w 29"/>
                <a:gd name="T11" fmla="*/ 12 h 12"/>
                <a:gd name="T12" fmla="*/ 12 w 29"/>
                <a:gd name="T13" fmla="*/ 12 h 12"/>
                <a:gd name="T14" fmla="*/ 12 w 29"/>
                <a:gd name="T15" fmla="*/ 12 h 12"/>
                <a:gd name="T16" fmla="*/ 12 w 29"/>
                <a:gd name="T17" fmla="*/ 10 h 12"/>
                <a:gd name="T18" fmla="*/ 10 w 29"/>
                <a:gd name="T19" fmla="*/ 10 h 12"/>
                <a:gd name="T20" fmla="*/ 7 w 29"/>
                <a:gd name="T21" fmla="*/ 10 h 12"/>
                <a:gd name="T22" fmla="*/ 3 w 29"/>
                <a:gd name="T23" fmla="*/ 12 h 12"/>
                <a:gd name="T24" fmla="*/ 0 w 29"/>
                <a:gd name="T25" fmla="*/ 10 h 12"/>
                <a:gd name="T26" fmla="*/ 0 w 29"/>
                <a:gd name="T27" fmla="*/ 10 h 12"/>
                <a:gd name="T28" fmla="*/ 3 w 29"/>
                <a:gd name="T29" fmla="*/ 5 h 12"/>
                <a:gd name="T30" fmla="*/ 14 w 29"/>
                <a:gd name="T31" fmla="*/ 5 h 12"/>
                <a:gd name="T32" fmla="*/ 29 w 29"/>
                <a:gd name="T3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" h="12">
                  <a:moveTo>
                    <a:pt x="29" y="0"/>
                  </a:moveTo>
                  <a:lnTo>
                    <a:pt x="29" y="0"/>
                  </a:lnTo>
                  <a:lnTo>
                    <a:pt x="19" y="7"/>
                  </a:lnTo>
                  <a:lnTo>
                    <a:pt x="19" y="12"/>
                  </a:lnTo>
                  <a:lnTo>
                    <a:pt x="17" y="12"/>
                  </a:lnTo>
                  <a:lnTo>
                    <a:pt x="14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7" y="10"/>
                  </a:lnTo>
                  <a:lnTo>
                    <a:pt x="3" y="12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3" y="5"/>
                  </a:lnTo>
                  <a:lnTo>
                    <a:pt x="14" y="5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10" name="Freeform 77">
              <a:extLst>
                <a:ext uri="{FF2B5EF4-FFF2-40B4-BE49-F238E27FC236}">
                  <a16:creationId xmlns:a16="http://schemas.microsoft.com/office/drawing/2014/main" id="{C5053BE4-89E5-8450-23FA-27B6E1F670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15335" y="2516285"/>
              <a:ext cx="30153" cy="13115"/>
            </a:xfrm>
            <a:custGeom>
              <a:avLst/>
              <a:gdLst>
                <a:gd name="T0" fmla="*/ 21 w 28"/>
                <a:gd name="T1" fmla="*/ 0 h 12"/>
                <a:gd name="T2" fmla="*/ 21 w 28"/>
                <a:gd name="T3" fmla="*/ 0 h 12"/>
                <a:gd name="T4" fmla="*/ 21 w 28"/>
                <a:gd name="T5" fmla="*/ 2 h 12"/>
                <a:gd name="T6" fmla="*/ 21 w 28"/>
                <a:gd name="T7" fmla="*/ 2 h 12"/>
                <a:gd name="T8" fmla="*/ 23 w 28"/>
                <a:gd name="T9" fmla="*/ 2 h 12"/>
                <a:gd name="T10" fmla="*/ 26 w 28"/>
                <a:gd name="T11" fmla="*/ 0 h 12"/>
                <a:gd name="T12" fmla="*/ 28 w 28"/>
                <a:gd name="T13" fmla="*/ 2 h 12"/>
                <a:gd name="T14" fmla="*/ 28 w 28"/>
                <a:gd name="T15" fmla="*/ 2 h 12"/>
                <a:gd name="T16" fmla="*/ 14 w 28"/>
                <a:gd name="T17" fmla="*/ 12 h 12"/>
                <a:gd name="T18" fmla="*/ 5 w 28"/>
                <a:gd name="T19" fmla="*/ 9 h 12"/>
                <a:gd name="T20" fmla="*/ 0 w 28"/>
                <a:gd name="T21" fmla="*/ 0 h 12"/>
                <a:gd name="T22" fmla="*/ 9 w 28"/>
                <a:gd name="T23" fmla="*/ 0 h 12"/>
                <a:gd name="T24" fmla="*/ 12 w 28"/>
                <a:gd name="T25" fmla="*/ 0 h 12"/>
                <a:gd name="T26" fmla="*/ 16 w 28"/>
                <a:gd name="T27" fmla="*/ 0 h 12"/>
                <a:gd name="T28" fmla="*/ 19 w 28"/>
                <a:gd name="T29" fmla="*/ 0 h 12"/>
                <a:gd name="T30" fmla="*/ 21 w 28"/>
                <a:gd name="T3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12">
                  <a:moveTo>
                    <a:pt x="21" y="0"/>
                  </a:moveTo>
                  <a:lnTo>
                    <a:pt x="21" y="0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3" y="2"/>
                  </a:lnTo>
                  <a:lnTo>
                    <a:pt x="26" y="0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14" y="12"/>
                  </a:lnTo>
                  <a:lnTo>
                    <a:pt x="5" y="9"/>
                  </a:lnTo>
                  <a:lnTo>
                    <a:pt x="0" y="0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9" y="0"/>
                  </a:lnTo>
                  <a:lnTo>
                    <a:pt x="21" y="0"/>
                  </a:lnTo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11" name="Freeform 78">
              <a:extLst>
                <a:ext uri="{FF2B5EF4-FFF2-40B4-BE49-F238E27FC236}">
                  <a16:creationId xmlns:a16="http://schemas.microsoft.com/office/drawing/2014/main" id="{C6B88DEC-AA99-0974-E97C-6F33AB69029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6433" y="2128334"/>
              <a:ext cx="117377" cy="69941"/>
            </a:xfrm>
            <a:custGeom>
              <a:avLst/>
              <a:gdLst>
                <a:gd name="T0" fmla="*/ 33 w 109"/>
                <a:gd name="T1" fmla="*/ 0 h 64"/>
                <a:gd name="T2" fmla="*/ 33 w 109"/>
                <a:gd name="T3" fmla="*/ 0 h 64"/>
                <a:gd name="T4" fmla="*/ 38 w 109"/>
                <a:gd name="T5" fmla="*/ 4 h 64"/>
                <a:gd name="T6" fmla="*/ 45 w 109"/>
                <a:gd name="T7" fmla="*/ 0 h 64"/>
                <a:gd name="T8" fmla="*/ 54 w 109"/>
                <a:gd name="T9" fmla="*/ 9 h 64"/>
                <a:gd name="T10" fmla="*/ 66 w 109"/>
                <a:gd name="T11" fmla="*/ 12 h 64"/>
                <a:gd name="T12" fmla="*/ 64 w 109"/>
                <a:gd name="T13" fmla="*/ 19 h 64"/>
                <a:gd name="T14" fmla="*/ 73 w 109"/>
                <a:gd name="T15" fmla="*/ 23 h 64"/>
                <a:gd name="T16" fmla="*/ 75 w 109"/>
                <a:gd name="T17" fmla="*/ 16 h 64"/>
                <a:gd name="T18" fmla="*/ 87 w 109"/>
                <a:gd name="T19" fmla="*/ 19 h 64"/>
                <a:gd name="T20" fmla="*/ 87 w 109"/>
                <a:gd name="T21" fmla="*/ 28 h 64"/>
                <a:gd name="T22" fmla="*/ 99 w 109"/>
                <a:gd name="T23" fmla="*/ 28 h 64"/>
                <a:gd name="T24" fmla="*/ 109 w 109"/>
                <a:gd name="T25" fmla="*/ 40 h 64"/>
                <a:gd name="T26" fmla="*/ 104 w 109"/>
                <a:gd name="T27" fmla="*/ 42 h 64"/>
                <a:gd name="T28" fmla="*/ 99 w 109"/>
                <a:gd name="T29" fmla="*/ 47 h 64"/>
                <a:gd name="T30" fmla="*/ 97 w 109"/>
                <a:gd name="T31" fmla="*/ 47 h 64"/>
                <a:gd name="T32" fmla="*/ 94 w 109"/>
                <a:gd name="T33" fmla="*/ 52 h 64"/>
                <a:gd name="T34" fmla="*/ 92 w 109"/>
                <a:gd name="T35" fmla="*/ 54 h 64"/>
                <a:gd name="T36" fmla="*/ 92 w 109"/>
                <a:gd name="T37" fmla="*/ 57 h 64"/>
                <a:gd name="T38" fmla="*/ 87 w 109"/>
                <a:gd name="T39" fmla="*/ 59 h 64"/>
                <a:gd name="T40" fmla="*/ 80 w 109"/>
                <a:gd name="T41" fmla="*/ 59 h 64"/>
                <a:gd name="T42" fmla="*/ 78 w 109"/>
                <a:gd name="T43" fmla="*/ 64 h 64"/>
                <a:gd name="T44" fmla="*/ 68 w 109"/>
                <a:gd name="T45" fmla="*/ 59 h 64"/>
                <a:gd name="T46" fmla="*/ 61 w 109"/>
                <a:gd name="T47" fmla="*/ 59 h 64"/>
                <a:gd name="T48" fmla="*/ 49 w 109"/>
                <a:gd name="T49" fmla="*/ 52 h 64"/>
                <a:gd name="T50" fmla="*/ 45 w 109"/>
                <a:gd name="T51" fmla="*/ 54 h 64"/>
                <a:gd name="T52" fmla="*/ 35 w 109"/>
                <a:gd name="T53" fmla="*/ 64 h 64"/>
                <a:gd name="T54" fmla="*/ 23 w 109"/>
                <a:gd name="T55" fmla="*/ 57 h 64"/>
                <a:gd name="T56" fmla="*/ 14 w 109"/>
                <a:gd name="T57" fmla="*/ 47 h 64"/>
                <a:gd name="T58" fmla="*/ 4 w 109"/>
                <a:gd name="T59" fmla="*/ 40 h 64"/>
                <a:gd name="T60" fmla="*/ 2 w 109"/>
                <a:gd name="T61" fmla="*/ 30 h 64"/>
                <a:gd name="T62" fmla="*/ 0 w 109"/>
                <a:gd name="T63" fmla="*/ 21 h 64"/>
                <a:gd name="T64" fmla="*/ 12 w 109"/>
                <a:gd name="T65" fmla="*/ 16 h 64"/>
                <a:gd name="T66" fmla="*/ 19 w 109"/>
                <a:gd name="T67" fmla="*/ 12 h 64"/>
                <a:gd name="T68" fmla="*/ 28 w 109"/>
                <a:gd name="T69" fmla="*/ 4 h 64"/>
                <a:gd name="T70" fmla="*/ 33 w 109"/>
                <a:gd name="T71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" h="64">
                  <a:moveTo>
                    <a:pt x="33" y="0"/>
                  </a:moveTo>
                  <a:lnTo>
                    <a:pt x="33" y="0"/>
                  </a:lnTo>
                  <a:lnTo>
                    <a:pt x="38" y="4"/>
                  </a:lnTo>
                  <a:lnTo>
                    <a:pt x="45" y="0"/>
                  </a:lnTo>
                  <a:lnTo>
                    <a:pt x="54" y="9"/>
                  </a:lnTo>
                  <a:lnTo>
                    <a:pt x="66" y="12"/>
                  </a:lnTo>
                  <a:lnTo>
                    <a:pt x="64" y="19"/>
                  </a:lnTo>
                  <a:lnTo>
                    <a:pt x="73" y="23"/>
                  </a:lnTo>
                  <a:lnTo>
                    <a:pt x="75" y="16"/>
                  </a:lnTo>
                  <a:lnTo>
                    <a:pt x="87" y="19"/>
                  </a:lnTo>
                  <a:lnTo>
                    <a:pt x="87" y="28"/>
                  </a:lnTo>
                  <a:lnTo>
                    <a:pt x="99" y="28"/>
                  </a:lnTo>
                  <a:lnTo>
                    <a:pt x="109" y="40"/>
                  </a:lnTo>
                  <a:lnTo>
                    <a:pt x="104" y="42"/>
                  </a:lnTo>
                  <a:lnTo>
                    <a:pt x="99" y="47"/>
                  </a:lnTo>
                  <a:lnTo>
                    <a:pt x="97" y="47"/>
                  </a:lnTo>
                  <a:lnTo>
                    <a:pt x="94" y="52"/>
                  </a:lnTo>
                  <a:lnTo>
                    <a:pt x="92" y="54"/>
                  </a:lnTo>
                  <a:lnTo>
                    <a:pt x="92" y="57"/>
                  </a:lnTo>
                  <a:lnTo>
                    <a:pt x="87" y="59"/>
                  </a:lnTo>
                  <a:lnTo>
                    <a:pt x="80" y="59"/>
                  </a:lnTo>
                  <a:lnTo>
                    <a:pt x="78" y="64"/>
                  </a:lnTo>
                  <a:lnTo>
                    <a:pt x="68" y="59"/>
                  </a:lnTo>
                  <a:lnTo>
                    <a:pt x="61" y="59"/>
                  </a:lnTo>
                  <a:lnTo>
                    <a:pt x="49" y="52"/>
                  </a:lnTo>
                  <a:lnTo>
                    <a:pt x="45" y="54"/>
                  </a:lnTo>
                  <a:lnTo>
                    <a:pt x="35" y="64"/>
                  </a:lnTo>
                  <a:lnTo>
                    <a:pt x="23" y="57"/>
                  </a:lnTo>
                  <a:lnTo>
                    <a:pt x="14" y="47"/>
                  </a:lnTo>
                  <a:lnTo>
                    <a:pt x="4" y="40"/>
                  </a:lnTo>
                  <a:lnTo>
                    <a:pt x="2" y="30"/>
                  </a:lnTo>
                  <a:lnTo>
                    <a:pt x="0" y="21"/>
                  </a:lnTo>
                  <a:lnTo>
                    <a:pt x="12" y="16"/>
                  </a:lnTo>
                  <a:lnTo>
                    <a:pt x="19" y="12"/>
                  </a:lnTo>
                  <a:lnTo>
                    <a:pt x="28" y="4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12" name="Freeform 80">
              <a:extLst>
                <a:ext uri="{FF2B5EF4-FFF2-40B4-BE49-F238E27FC236}">
                  <a16:creationId xmlns:a16="http://schemas.microsoft.com/office/drawing/2014/main" id="{F0EC0570-F0A3-B924-89A8-4183FE117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6595" y="2016866"/>
              <a:ext cx="158298" cy="214193"/>
            </a:xfrm>
            <a:custGeom>
              <a:avLst/>
              <a:gdLst>
                <a:gd name="T0" fmla="*/ 66 w 147"/>
                <a:gd name="T1" fmla="*/ 0 h 196"/>
                <a:gd name="T2" fmla="*/ 66 w 147"/>
                <a:gd name="T3" fmla="*/ 0 h 196"/>
                <a:gd name="T4" fmla="*/ 66 w 147"/>
                <a:gd name="T5" fmla="*/ 9 h 196"/>
                <a:gd name="T6" fmla="*/ 80 w 147"/>
                <a:gd name="T7" fmla="*/ 17 h 196"/>
                <a:gd name="T8" fmla="*/ 80 w 147"/>
                <a:gd name="T9" fmla="*/ 26 h 196"/>
                <a:gd name="T10" fmla="*/ 97 w 147"/>
                <a:gd name="T11" fmla="*/ 21 h 196"/>
                <a:gd name="T12" fmla="*/ 106 w 147"/>
                <a:gd name="T13" fmla="*/ 14 h 196"/>
                <a:gd name="T14" fmla="*/ 125 w 147"/>
                <a:gd name="T15" fmla="*/ 24 h 196"/>
                <a:gd name="T16" fmla="*/ 132 w 147"/>
                <a:gd name="T17" fmla="*/ 33 h 196"/>
                <a:gd name="T18" fmla="*/ 137 w 147"/>
                <a:gd name="T19" fmla="*/ 47 h 196"/>
                <a:gd name="T20" fmla="*/ 132 w 147"/>
                <a:gd name="T21" fmla="*/ 54 h 196"/>
                <a:gd name="T22" fmla="*/ 137 w 147"/>
                <a:gd name="T23" fmla="*/ 64 h 196"/>
                <a:gd name="T24" fmla="*/ 142 w 147"/>
                <a:gd name="T25" fmla="*/ 78 h 196"/>
                <a:gd name="T26" fmla="*/ 140 w 147"/>
                <a:gd name="T27" fmla="*/ 88 h 196"/>
                <a:gd name="T28" fmla="*/ 147 w 147"/>
                <a:gd name="T29" fmla="*/ 102 h 196"/>
                <a:gd name="T30" fmla="*/ 140 w 147"/>
                <a:gd name="T31" fmla="*/ 106 h 196"/>
                <a:gd name="T32" fmla="*/ 135 w 147"/>
                <a:gd name="T33" fmla="*/ 102 h 196"/>
                <a:gd name="T34" fmla="*/ 130 w 147"/>
                <a:gd name="T35" fmla="*/ 106 h 196"/>
                <a:gd name="T36" fmla="*/ 121 w 147"/>
                <a:gd name="T37" fmla="*/ 114 h 196"/>
                <a:gd name="T38" fmla="*/ 114 w 147"/>
                <a:gd name="T39" fmla="*/ 118 h 196"/>
                <a:gd name="T40" fmla="*/ 102 w 147"/>
                <a:gd name="T41" fmla="*/ 123 h 196"/>
                <a:gd name="T42" fmla="*/ 104 w 147"/>
                <a:gd name="T43" fmla="*/ 132 h 196"/>
                <a:gd name="T44" fmla="*/ 106 w 147"/>
                <a:gd name="T45" fmla="*/ 142 h 196"/>
                <a:gd name="T46" fmla="*/ 116 w 147"/>
                <a:gd name="T47" fmla="*/ 149 h 196"/>
                <a:gd name="T48" fmla="*/ 125 w 147"/>
                <a:gd name="T49" fmla="*/ 159 h 196"/>
                <a:gd name="T50" fmla="*/ 118 w 147"/>
                <a:gd name="T51" fmla="*/ 170 h 196"/>
                <a:gd name="T52" fmla="*/ 114 w 147"/>
                <a:gd name="T53" fmla="*/ 173 h 196"/>
                <a:gd name="T54" fmla="*/ 116 w 147"/>
                <a:gd name="T55" fmla="*/ 189 h 196"/>
                <a:gd name="T56" fmla="*/ 114 w 147"/>
                <a:gd name="T57" fmla="*/ 192 h 196"/>
                <a:gd name="T58" fmla="*/ 109 w 147"/>
                <a:gd name="T59" fmla="*/ 187 h 196"/>
                <a:gd name="T60" fmla="*/ 102 w 147"/>
                <a:gd name="T61" fmla="*/ 187 h 196"/>
                <a:gd name="T62" fmla="*/ 90 w 147"/>
                <a:gd name="T63" fmla="*/ 192 h 196"/>
                <a:gd name="T64" fmla="*/ 76 w 147"/>
                <a:gd name="T65" fmla="*/ 189 h 196"/>
                <a:gd name="T66" fmla="*/ 73 w 147"/>
                <a:gd name="T67" fmla="*/ 196 h 196"/>
                <a:gd name="T68" fmla="*/ 64 w 147"/>
                <a:gd name="T69" fmla="*/ 189 h 196"/>
                <a:gd name="T70" fmla="*/ 59 w 147"/>
                <a:gd name="T71" fmla="*/ 192 h 196"/>
                <a:gd name="T72" fmla="*/ 43 w 147"/>
                <a:gd name="T73" fmla="*/ 185 h 196"/>
                <a:gd name="T74" fmla="*/ 38 w 147"/>
                <a:gd name="T75" fmla="*/ 189 h 196"/>
                <a:gd name="T76" fmla="*/ 24 w 147"/>
                <a:gd name="T77" fmla="*/ 189 h 196"/>
                <a:gd name="T78" fmla="*/ 26 w 147"/>
                <a:gd name="T79" fmla="*/ 173 h 196"/>
                <a:gd name="T80" fmla="*/ 36 w 147"/>
                <a:gd name="T81" fmla="*/ 154 h 196"/>
                <a:gd name="T82" fmla="*/ 12 w 147"/>
                <a:gd name="T83" fmla="*/ 151 h 196"/>
                <a:gd name="T84" fmla="*/ 5 w 147"/>
                <a:gd name="T85" fmla="*/ 144 h 196"/>
                <a:gd name="T86" fmla="*/ 5 w 147"/>
                <a:gd name="T87" fmla="*/ 132 h 196"/>
                <a:gd name="T88" fmla="*/ 2 w 147"/>
                <a:gd name="T89" fmla="*/ 128 h 196"/>
                <a:gd name="T90" fmla="*/ 2 w 147"/>
                <a:gd name="T91" fmla="*/ 111 h 196"/>
                <a:gd name="T92" fmla="*/ 0 w 147"/>
                <a:gd name="T93" fmla="*/ 83 h 196"/>
                <a:gd name="T94" fmla="*/ 12 w 147"/>
                <a:gd name="T95" fmla="*/ 83 h 196"/>
                <a:gd name="T96" fmla="*/ 14 w 147"/>
                <a:gd name="T97" fmla="*/ 73 h 196"/>
                <a:gd name="T98" fmla="*/ 19 w 147"/>
                <a:gd name="T99" fmla="*/ 50 h 196"/>
                <a:gd name="T100" fmla="*/ 17 w 147"/>
                <a:gd name="T101" fmla="*/ 40 h 196"/>
                <a:gd name="T102" fmla="*/ 19 w 147"/>
                <a:gd name="T103" fmla="*/ 33 h 196"/>
                <a:gd name="T104" fmla="*/ 33 w 147"/>
                <a:gd name="T105" fmla="*/ 33 h 196"/>
                <a:gd name="T106" fmla="*/ 36 w 147"/>
                <a:gd name="T107" fmla="*/ 40 h 196"/>
                <a:gd name="T108" fmla="*/ 47 w 147"/>
                <a:gd name="T109" fmla="*/ 26 h 196"/>
                <a:gd name="T110" fmla="*/ 43 w 147"/>
                <a:gd name="T111" fmla="*/ 14 h 196"/>
                <a:gd name="T112" fmla="*/ 43 w 147"/>
                <a:gd name="T113" fmla="*/ 0 h 196"/>
                <a:gd name="T114" fmla="*/ 54 w 147"/>
                <a:gd name="T115" fmla="*/ 2 h 196"/>
                <a:gd name="T116" fmla="*/ 66 w 147"/>
                <a:gd name="T117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7" h="196">
                  <a:moveTo>
                    <a:pt x="66" y="0"/>
                  </a:moveTo>
                  <a:lnTo>
                    <a:pt x="66" y="0"/>
                  </a:lnTo>
                  <a:lnTo>
                    <a:pt x="66" y="9"/>
                  </a:lnTo>
                  <a:lnTo>
                    <a:pt x="80" y="17"/>
                  </a:lnTo>
                  <a:lnTo>
                    <a:pt x="80" y="26"/>
                  </a:lnTo>
                  <a:lnTo>
                    <a:pt x="97" y="21"/>
                  </a:lnTo>
                  <a:lnTo>
                    <a:pt x="106" y="14"/>
                  </a:lnTo>
                  <a:lnTo>
                    <a:pt x="125" y="24"/>
                  </a:lnTo>
                  <a:lnTo>
                    <a:pt x="132" y="33"/>
                  </a:lnTo>
                  <a:lnTo>
                    <a:pt x="137" y="47"/>
                  </a:lnTo>
                  <a:lnTo>
                    <a:pt x="132" y="54"/>
                  </a:lnTo>
                  <a:lnTo>
                    <a:pt x="137" y="64"/>
                  </a:lnTo>
                  <a:lnTo>
                    <a:pt x="142" y="78"/>
                  </a:lnTo>
                  <a:lnTo>
                    <a:pt x="140" y="88"/>
                  </a:lnTo>
                  <a:lnTo>
                    <a:pt x="147" y="102"/>
                  </a:lnTo>
                  <a:lnTo>
                    <a:pt x="140" y="106"/>
                  </a:lnTo>
                  <a:lnTo>
                    <a:pt x="135" y="102"/>
                  </a:lnTo>
                  <a:lnTo>
                    <a:pt x="130" y="106"/>
                  </a:lnTo>
                  <a:lnTo>
                    <a:pt x="121" y="114"/>
                  </a:lnTo>
                  <a:lnTo>
                    <a:pt x="114" y="118"/>
                  </a:lnTo>
                  <a:lnTo>
                    <a:pt x="102" y="123"/>
                  </a:lnTo>
                  <a:lnTo>
                    <a:pt x="104" y="132"/>
                  </a:lnTo>
                  <a:lnTo>
                    <a:pt x="106" y="142"/>
                  </a:lnTo>
                  <a:lnTo>
                    <a:pt x="116" y="149"/>
                  </a:lnTo>
                  <a:lnTo>
                    <a:pt x="125" y="159"/>
                  </a:lnTo>
                  <a:lnTo>
                    <a:pt x="118" y="170"/>
                  </a:lnTo>
                  <a:lnTo>
                    <a:pt x="114" y="173"/>
                  </a:lnTo>
                  <a:lnTo>
                    <a:pt x="116" y="189"/>
                  </a:lnTo>
                  <a:lnTo>
                    <a:pt x="114" y="192"/>
                  </a:lnTo>
                  <a:lnTo>
                    <a:pt x="109" y="187"/>
                  </a:lnTo>
                  <a:lnTo>
                    <a:pt x="102" y="187"/>
                  </a:lnTo>
                  <a:lnTo>
                    <a:pt x="90" y="192"/>
                  </a:lnTo>
                  <a:lnTo>
                    <a:pt x="76" y="189"/>
                  </a:lnTo>
                  <a:lnTo>
                    <a:pt x="73" y="196"/>
                  </a:lnTo>
                  <a:lnTo>
                    <a:pt x="64" y="189"/>
                  </a:lnTo>
                  <a:lnTo>
                    <a:pt x="59" y="192"/>
                  </a:lnTo>
                  <a:lnTo>
                    <a:pt x="43" y="185"/>
                  </a:lnTo>
                  <a:lnTo>
                    <a:pt x="38" y="189"/>
                  </a:lnTo>
                  <a:lnTo>
                    <a:pt x="24" y="189"/>
                  </a:lnTo>
                  <a:lnTo>
                    <a:pt x="26" y="173"/>
                  </a:lnTo>
                  <a:lnTo>
                    <a:pt x="36" y="154"/>
                  </a:lnTo>
                  <a:lnTo>
                    <a:pt x="12" y="151"/>
                  </a:lnTo>
                  <a:lnTo>
                    <a:pt x="5" y="144"/>
                  </a:lnTo>
                  <a:lnTo>
                    <a:pt x="5" y="132"/>
                  </a:lnTo>
                  <a:lnTo>
                    <a:pt x="2" y="128"/>
                  </a:lnTo>
                  <a:lnTo>
                    <a:pt x="2" y="111"/>
                  </a:lnTo>
                  <a:lnTo>
                    <a:pt x="0" y="83"/>
                  </a:lnTo>
                  <a:lnTo>
                    <a:pt x="12" y="83"/>
                  </a:lnTo>
                  <a:lnTo>
                    <a:pt x="14" y="73"/>
                  </a:lnTo>
                  <a:lnTo>
                    <a:pt x="19" y="50"/>
                  </a:lnTo>
                  <a:lnTo>
                    <a:pt x="17" y="40"/>
                  </a:lnTo>
                  <a:lnTo>
                    <a:pt x="19" y="33"/>
                  </a:lnTo>
                  <a:lnTo>
                    <a:pt x="33" y="33"/>
                  </a:lnTo>
                  <a:lnTo>
                    <a:pt x="36" y="40"/>
                  </a:lnTo>
                  <a:lnTo>
                    <a:pt x="47" y="26"/>
                  </a:lnTo>
                  <a:lnTo>
                    <a:pt x="43" y="14"/>
                  </a:lnTo>
                  <a:lnTo>
                    <a:pt x="43" y="0"/>
                  </a:lnTo>
                  <a:lnTo>
                    <a:pt x="54" y="2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13" name="Freeform 84">
              <a:extLst>
                <a:ext uri="{FF2B5EF4-FFF2-40B4-BE49-F238E27FC236}">
                  <a16:creationId xmlns:a16="http://schemas.microsoft.com/office/drawing/2014/main" id="{AE83B2CF-C983-168D-B4EE-4FDF295F96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95361" y="1928347"/>
              <a:ext cx="78612" cy="93982"/>
            </a:xfrm>
            <a:custGeom>
              <a:avLst/>
              <a:gdLst>
                <a:gd name="T0" fmla="*/ 73 w 73"/>
                <a:gd name="T1" fmla="*/ 62 h 86"/>
                <a:gd name="T2" fmla="*/ 73 w 73"/>
                <a:gd name="T3" fmla="*/ 62 h 86"/>
                <a:gd name="T4" fmla="*/ 63 w 73"/>
                <a:gd name="T5" fmla="*/ 86 h 86"/>
                <a:gd name="T6" fmla="*/ 47 w 73"/>
                <a:gd name="T7" fmla="*/ 69 h 86"/>
                <a:gd name="T8" fmla="*/ 44 w 73"/>
                <a:gd name="T9" fmla="*/ 57 h 86"/>
                <a:gd name="T10" fmla="*/ 68 w 73"/>
                <a:gd name="T11" fmla="*/ 48 h 86"/>
                <a:gd name="T12" fmla="*/ 73 w 73"/>
                <a:gd name="T13" fmla="*/ 62 h 86"/>
                <a:gd name="T14" fmla="*/ 44 w 73"/>
                <a:gd name="T15" fmla="*/ 36 h 86"/>
                <a:gd name="T16" fmla="*/ 44 w 73"/>
                <a:gd name="T17" fmla="*/ 36 h 86"/>
                <a:gd name="T18" fmla="*/ 42 w 73"/>
                <a:gd name="T19" fmla="*/ 48 h 86"/>
                <a:gd name="T20" fmla="*/ 37 w 73"/>
                <a:gd name="T21" fmla="*/ 45 h 86"/>
                <a:gd name="T22" fmla="*/ 26 w 73"/>
                <a:gd name="T23" fmla="*/ 67 h 86"/>
                <a:gd name="T24" fmla="*/ 30 w 73"/>
                <a:gd name="T25" fmla="*/ 79 h 86"/>
                <a:gd name="T26" fmla="*/ 18 w 73"/>
                <a:gd name="T27" fmla="*/ 83 h 86"/>
                <a:gd name="T28" fmla="*/ 7 w 73"/>
                <a:gd name="T29" fmla="*/ 79 h 86"/>
                <a:gd name="T30" fmla="*/ 0 w 73"/>
                <a:gd name="T31" fmla="*/ 64 h 86"/>
                <a:gd name="T32" fmla="*/ 0 w 73"/>
                <a:gd name="T33" fmla="*/ 34 h 86"/>
                <a:gd name="T34" fmla="*/ 2 w 73"/>
                <a:gd name="T35" fmla="*/ 26 h 86"/>
                <a:gd name="T36" fmla="*/ 7 w 73"/>
                <a:gd name="T37" fmla="*/ 17 h 86"/>
                <a:gd name="T38" fmla="*/ 21 w 73"/>
                <a:gd name="T39" fmla="*/ 17 h 86"/>
                <a:gd name="T40" fmla="*/ 26 w 73"/>
                <a:gd name="T41" fmla="*/ 8 h 86"/>
                <a:gd name="T42" fmla="*/ 40 w 73"/>
                <a:gd name="T43" fmla="*/ 0 h 86"/>
                <a:gd name="T44" fmla="*/ 40 w 73"/>
                <a:gd name="T45" fmla="*/ 15 h 86"/>
                <a:gd name="T46" fmla="*/ 35 w 73"/>
                <a:gd name="T47" fmla="*/ 24 h 86"/>
                <a:gd name="T48" fmla="*/ 37 w 73"/>
                <a:gd name="T49" fmla="*/ 31 h 86"/>
                <a:gd name="T50" fmla="*/ 44 w 73"/>
                <a:gd name="T51" fmla="*/ 3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3" h="86">
                  <a:moveTo>
                    <a:pt x="73" y="62"/>
                  </a:moveTo>
                  <a:lnTo>
                    <a:pt x="73" y="62"/>
                  </a:lnTo>
                  <a:lnTo>
                    <a:pt x="63" y="86"/>
                  </a:lnTo>
                  <a:lnTo>
                    <a:pt x="47" y="69"/>
                  </a:lnTo>
                  <a:lnTo>
                    <a:pt x="44" y="57"/>
                  </a:lnTo>
                  <a:lnTo>
                    <a:pt x="68" y="48"/>
                  </a:lnTo>
                  <a:lnTo>
                    <a:pt x="73" y="62"/>
                  </a:lnTo>
                  <a:close/>
                  <a:moveTo>
                    <a:pt x="44" y="36"/>
                  </a:moveTo>
                  <a:lnTo>
                    <a:pt x="44" y="36"/>
                  </a:lnTo>
                  <a:lnTo>
                    <a:pt x="42" y="48"/>
                  </a:lnTo>
                  <a:lnTo>
                    <a:pt x="37" y="45"/>
                  </a:lnTo>
                  <a:lnTo>
                    <a:pt x="26" y="67"/>
                  </a:lnTo>
                  <a:lnTo>
                    <a:pt x="30" y="79"/>
                  </a:lnTo>
                  <a:lnTo>
                    <a:pt x="18" y="83"/>
                  </a:lnTo>
                  <a:lnTo>
                    <a:pt x="7" y="79"/>
                  </a:lnTo>
                  <a:lnTo>
                    <a:pt x="0" y="64"/>
                  </a:lnTo>
                  <a:lnTo>
                    <a:pt x="0" y="34"/>
                  </a:lnTo>
                  <a:lnTo>
                    <a:pt x="2" y="26"/>
                  </a:lnTo>
                  <a:lnTo>
                    <a:pt x="7" y="17"/>
                  </a:lnTo>
                  <a:lnTo>
                    <a:pt x="21" y="17"/>
                  </a:lnTo>
                  <a:lnTo>
                    <a:pt x="26" y="8"/>
                  </a:lnTo>
                  <a:lnTo>
                    <a:pt x="40" y="0"/>
                  </a:lnTo>
                  <a:lnTo>
                    <a:pt x="40" y="15"/>
                  </a:lnTo>
                  <a:lnTo>
                    <a:pt x="35" y="24"/>
                  </a:lnTo>
                  <a:lnTo>
                    <a:pt x="37" y="31"/>
                  </a:lnTo>
                  <a:lnTo>
                    <a:pt x="44" y="36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14" name="Freeform 86">
              <a:extLst>
                <a:ext uri="{FF2B5EF4-FFF2-40B4-BE49-F238E27FC236}">
                  <a16:creationId xmlns:a16="http://schemas.microsoft.com/office/drawing/2014/main" id="{9C7F0534-E18B-B138-621C-021BF472AF1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8680" y="2818997"/>
              <a:ext cx="63535" cy="43713"/>
            </a:xfrm>
            <a:custGeom>
              <a:avLst/>
              <a:gdLst>
                <a:gd name="T0" fmla="*/ 19 w 59"/>
                <a:gd name="T1" fmla="*/ 0 h 40"/>
                <a:gd name="T2" fmla="*/ 19 w 59"/>
                <a:gd name="T3" fmla="*/ 0 h 40"/>
                <a:gd name="T4" fmla="*/ 29 w 59"/>
                <a:gd name="T5" fmla="*/ 4 h 40"/>
                <a:gd name="T6" fmla="*/ 33 w 59"/>
                <a:gd name="T7" fmla="*/ 4 h 40"/>
                <a:gd name="T8" fmla="*/ 36 w 59"/>
                <a:gd name="T9" fmla="*/ 12 h 40"/>
                <a:gd name="T10" fmla="*/ 45 w 59"/>
                <a:gd name="T11" fmla="*/ 9 h 40"/>
                <a:gd name="T12" fmla="*/ 45 w 59"/>
                <a:gd name="T13" fmla="*/ 16 h 40"/>
                <a:gd name="T14" fmla="*/ 50 w 59"/>
                <a:gd name="T15" fmla="*/ 16 h 40"/>
                <a:gd name="T16" fmla="*/ 59 w 59"/>
                <a:gd name="T17" fmla="*/ 23 h 40"/>
                <a:gd name="T18" fmla="*/ 52 w 59"/>
                <a:gd name="T19" fmla="*/ 28 h 40"/>
                <a:gd name="T20" fmla="*/ 45 w 59"/>
                <a:gd name="T21" fmla="*/ 26 h 40"/>
                <a:gd name="T22" fmla="*/ 38 w 59"/>
                <a:gd name="T23" fmla="*/ 28 h 40"/>
                <a:gd name="T24" fmla="*/ 33 w 59"/>
                <a:gd name="T25" fmla="*/ 26 h 40"/>
                <a:gd name="T26" fmla="*/ 31 w 59"/>
                <a:gd name="T27" fmla="*/ 28 h 40"/>
                <a:gd name="T28" fmla="*/ 24 w 59"/>
                <a:gd name="T29" fmla="*/ 30 h 40"/>
                <a:gd name="T30" fmla="*/ 22 w 59"/>
                <a:gd name="T31" fmla="*/ 26 h 40"/>
                <a:gd name="T32" fmla="*/ 17 w 59"/>
                <a:gd name="T33" fmla="*/ 28 h 40"/>
                <a:gd name="T34" fmla="*/ 10 w 59"/>
                <a:gd name="T35" fmla="*/ 40 h 40"/>
                <a:gd name="T36" fmla="*/ 5 w 59"/>
                <a:gd name="T37" fmla="*/ 38 h 40"/>
                <a:gd name="T38" fmla="*/ 5 w 59"/>
                <a:gd name="T39" fmla="*/ 33 h 40"/>
                <a:gd name="T40" fmla="*/ 5 w 59"/>
                <a:gd name="T41" fmla="*/ 28 h 40"/>
                <a:gd name="T42" fmla="*/ 0 w 59"/>
                <a:gd name="T43" fmla="*/ 23 h 40"/>
                <a:gd name="T44" fmla="*/ 5 w 59"/>
                <a:gd name="T45" fmla="*/ 21 h 40"/>
                <a:gd name="T46" fmla="*/ 5 w 59"/>
                <a:gd name="T47" fmla="*/ 14 h 40"/>
                <a:gd name="T48" fmla="*/ 5 w 59"/>
                <a:gd name="T49" fmla="*/ 4 h 40"/>
                <a:gd name="T50" fmla="*/ 5 w 59"/>
                <a:gd name="T51" fmla="*/ 0 h 40"/>
                <a:gd name="T52" fmla="*/ 19 w 59"/>
                <a:gd name="T5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9" h="40">
                  <a:moveTo>
                    <a:pt x="19" y="0"/>
                  </a:moveTo>
                  <a:lnTo>
                    <a:pt x="19" y="0"/>
                  </a:lnTo>
                  <a:lnTo>
                    <a:pt x="29" y="4"/>
                  </a:lnTo>
                  <a:lnTo>
                    <a:pt x="33" y="4"/>
                  </a:lnTo>
                  <a:lnTo>
                    <a:pt x="36" y="12"/>
                  </a:lnTo>
                  <a:lnTo>
                    <a:pt x="45" y="9"/>
                  </a:lnTo>
                  <a:lnTo>
                    <a:pt x="45" y="16"/>
                  </a:lnTo>
                  <a:lnTo>
                    <a:pt x="50" y="16"/>
                  </a:lnTo>
                  <a:lnTo>
                    <a:pt x="59" y="23"/>
                  </a:lnTo>
                  <a:lnTo>
                    <a:pt x="52" y="28"/>
                  </a:lnTo>
                  <a:lnTo>
                    <a:pt x="45" y="26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31" y="28"/>
                  </a:lnTo>
                  <a:lnTo>
                    <a:pt x="24" y="30"/>
                  </a:lnTo>
                  <a:lnTo>
                    <a:pt x="22" y="26"/>
                  </a:lnTo>
                  <a:lnTo>
                    <a:pt x="17" y="28"/>
                  </a:lnTo>
                  <a:lnTo>
                    <a:pt x="10" y="40"/>
                  </a:lnTo>
                  <a:lnTo>
                    <a:pt x="5" y="38"/>
                  </a:lnTo>
                  <a:lnTo>
                    <a:pt x="5" y="33"/>
                  </a:lnTo>
                  <a:lnTo>
                    <a:pt x="5" y="28"/>
                  </a:lnTo>
                  <a:lnTo>
                    <a:pt x="0" y="23"/>
                  </a:lnTo>
                  <a:lnTo>
                    <a:pt x="5" y="21"/>
                  </a:lnTo>
                  <a:lnTo>
                    <a:pt x="5" y="14"/>
                  </a:lnTo>
                  <a:lnTo>
                    <a:pt x="5" y="4"/>
                  </a:lnTo>
                  <a:lnTo>
                    <a:pt x="5" y="0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15" name="Freeform 90">
              <a:extLst>
                <a:ext uri="{FF2B5EF4-FFF2-40B4-BE49-F238E27FC236}">
                  <a16:creationId xmlns:a16="http://schemas.microsoft.com/office/drawing/2014/main" id="{182D323C-C4D5-2D3A-E209-7188E67C5D0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41458" y="3152309"/>
              <a:ext cx="101225" cy="111467"/>
            </a:xfrm>
            <a:custGeom>
              <a:avLst/>
              <a:gdLst>
                <a:gd name="T0" fmla="*/ 33 w 94"/>
                <a:gd name="T1" fmla="*/ 0 h 102"/>
                <a:gd name="T2" fmla="*/ 33 w 94"/>
                <a:gd name="T3" fmla="*/ 0 h 102"/>
                <a:gd name="T4" fmla="*/ 49 w 94"/>
                <a:gd name="T5" fmla="*/ 9 h 102"/>
                <a:gd name="T6" fmla="*/ 54 w 94"/>
                <a:gd name="T7" fmla="*/ 7 h 102"/>
                <a:gd name="T8" fmla="*/ 56 w 94"/>
                <a:gd name="T9" fmla="*/ 17 h 102"/>
                <a:gd name="T10" fmla="*/ 71 w 94"/>
                <a:gd name="T11" fmla="*/ 19 h 102"/>
                <a:gd name="T12" fmla="*/ 75 w 94"/>
                <a:gd name="T13" fmla="*/ 14 h 102"/>
                <a:gd name="T14" fmla="*/ 82 w 94"/>
                <a:gd name="T15" fmla="*/ 21 h 102"/>
                <a:gd name="T16" fmla="*/ 92 w 94"/>
                <a:gd name="T17" fmla="*/ 24 h 102"/>
                <a:gd name="T18" fmla="*/ 94 w 94"/>
                <a:gd name="T19" fmla="*/ 36 h 102"/>
                <a:gd name="T20" fmla="*/ 87 w 94"/>
                <a:gd name="T21" fmla="*/ 47 h 102"/>
                <a:gd name="T22" fmla="*/ 71 w 94"/>
                <a:gd name="T23" fmla="*/ 64 h 102"/>
                <a:gd name="T24" fmla="*/ 49 w 94"/>
                <a:gd name="T25" fmla="*/ 71 h 102"/>
                <a:gd name="T26" fmla="*/ 40 w 94"/>
                <a:gd name="T27" fmla="*/ 85 h 102"/>
                <a:gd name="T28" fmla="*/ 38 w 94"/>
                <a:gd name="T29" fmla="*/ 95 h 102"/>
                <a:gd name="T30" fmla="*/ 28 w 94"/>
                <a:gd name="T31" fmla="*/ 102 h 102"/>
                <a:gd name="T32" fmla="*/ 21 w 94"/>
                <a:gd name="T33" fmla="*/ 95 h 102"/>
                <a:gd name="T34" fmla="*/ 14 w 94"/>
                <a:gd name="T35" fmla="*/ 92 h 102"/>
                <a:gd name="T36" fmla="*/ 9 w 94"/>
                <a:gd name="T37" fmla="*/ 92 h 102"/>
                <a:gd name="T38" fmla="*/ 7 w 94"/>
                <a:gd name="T39" fmla="*/ 88 h 102"/>
                <a:gd name="T40" fmla="*/ 12 w 94"/>
                <a:gd name="T41" fmla="*/ 83 h 102"/>
                <a:gd name="T42" fmla="*/ 9 w 94"/>
                <a:gd name="T43" fmla="*/ 78 h 102"/>
                <a:gd name="T44" fmla="*/ 19 w 94"/>
                <a:gd name="T45" fmla="*/ 64 h 102"/>
                <a:gd name="T46" fmla="*/ 16 w 94"/>
                <a:gd name="T47" fmla="*/ 57 h 102"/>
                <a:gd name="T48" fmla="*/ 9 w 94"/>
                <a:gd name="T49" fmla="*/ 66 h 102"/>
                <a:gd name="T50" fmla="*/ 0 w 94"/>
                <a:gd name="T51" fmla="*/ 57 h 102"/>
                <a:gd name="T52" fmla="*/ 2 w 94"/>
                <a:gd name="T53" fmla="*/ 54 h 102"/>
                <a:gd name="T54" fmla="*/ 0 w 94"/>
                <a:gd name="T55" fmla="*/ 40 h 102"/>
                <a:gd name="T56" fmla="*/ 7 w 94"/>
                <a:gd name="T57" fmla="*/ 36 h 102"/>
                <a:gd name="T58" fmla="*/ 9 w 94"/>
                <a:gd name="T59" fmla="*/ 26 h 102"/>
                <a:gd name="T60" fmla="*/ 14 w 94"/>
                <a:gd name="T61" fmla="*/ 17 h 102"/>
                <a:gd name="T62" fmla="*/ 14 w 94"/>
                <a:gd name="T63" fmla="*/ 9 h 102"/>
                <a:gd name="T64" fmla="*/ 23 w 94"/>
                <a:gd name="T65" fmla="*/ 7 h 102"/>
                <a:gd name="T66" fmla="*/ 33 w 94"/>
                <a:gd name="T67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4" h="102">
                  <a:moveTo>
                    <a:pt x="33" y="0"/>
                  </a:moveTo>
                  <a:lnTo>
                    <a:pt x="33" y="0"/>
                  </a:lnTo>
                  <a:lnTo>
                    <a:pt x="49" y="9"/>
                  </a:lnTo>
                  <a:lnTo>
                    <a:pt x="54" y="7"/>
                  </a:lnTo>
                  <a:lnTo>
                    <a:pt x="56" y="17"/>
                  </a:lnTo>
                  <a:lnTo>
                    <a:pt x="71" y="19"/>
                  </a:lnTo>
                  <a:lnTo>
                    <a:pt x="75" y="14"/>
                  </a:lnTo>
                  <a:lnTo>
                    <a:pt x="82" y="21"/>
                  </a:lnTo>
                  <a:lnTo>
                    <a:pt x="92" y="24"/>
                  </a:lnTo>
                  <a:lnTo>
                    <a:pt x="94" y="36"/>
                  </a:lnTo>
                  <a:lnTo>
                    <a:pt x="87" y="47"/>
                  </a:lnTo>
                  <a:lnTo>
                    <a:pt x="71" y="64"/>
                  </a:lnTo>
                  <a:lnTo>
                    <a:pt x="49" y="71"/>
                  </a:lnTo>
                  <a:lnTo>
                    <a:pt x="40" y="85"/>
                  </a:lnTo>
                  <a:lnTo>
                    <a:pt x="38" y="95"/>
                  </a:lnTo>
                  <a:lnTo>
                    <a:pt x="28" y="102"/>
                  </a:lnTo>
                  <a:lnTo>
                    <a:pt x="21" y="95"/>
                  </a:lnTo>
                  <a:lnTo>
                    <a:pt x="14" y="92"/>
                  </a:lnTo>
                  <a:lnTo>
                    <a:pt x="9" y="92"/>
                  </a:lnTo>
                  <a:lnTo>
                    <a:pt x="7" y="88"/>
                  </a:lnTo>
                  <a:lnTo>
                    <a:pt x="12" y="83"/>
                  </a:lnTo>
                  <a:lnTo>
                    <a:pt x="9" y="78"/>
                  </a:lnTo>
                  <a:lnTo>
                    <a:pt x="19" y="64"/>
                  </a:lnTo>
                  <a:lnTo>
                    <a:pt x="16" y="57"/>
                  </a:lnTo>
                  <a:lnTo>
                    <a:pt x="9" y="66"/>
                  </a:lnTo>
                  <a:lnTo>
                    <a:pt x="0" y="57"/>
                  </a:lnTo>
                  <a:lnTo>
                    <a:pt x="2" y="54"/>
                  </a:lnTo>
                  <a:lnTo>
                    <a:pt x="0" y="40"/>
                  </a:lnTo>
                  <a:lnTo>
                    <a:pt x="7" y="36"/>
                  </a:lnTo>
                  <a:lnTo>
                    <a:pt x="9" y="26"/>
                  </a:lnTo>
                  <a:lnTo>
                    <a:pt x="14" y="17"/>
                  </a:lnTo>
                  <a:lnTo>
                    <a:pt x="14" y="9"/>
                  </a:lnTo>
                  <a:lnTo>
                    <a:pt x="23" y="7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16" name="Freeform 92">
              <a:extLst>
                <a:ext uri="{FF2B5EF4-FFF2-40B4-BE49-F238E27FC236}">
                  <a16:creationId xmlns:a16="http://schemas.microsoft.com/office/drawing/2014/main" id="{19A8F2E6-F01F-8151-06FC-3845FBC43CD8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5035" y="2590597"/>
              <a:ext cx="211064" cy="189058"/>
            </a:xfrm>
            <a:custGeom>
              <a:avLst/>
              <a:gdLst>
                <a:gd name="T0" fmla="*/ 59 w 196"/>
                <a:gd name="T1" fmla="*/ 10 h 173"/>
                <a:gd name="T2" fmla="*/ 59 w 196"/>
                <a:gd name="T3" fmla="*/ 10 h 173"/>
                <a:gd name="T4" fmla="*/ 66 w 196"/>
                <a:gd name="T5" fmla="*/ 15 h 173"/>
                <a:gd name="T6" fmla="*/ 81 w 196"/>
                <a:gd name="T7" fmla="*/ 10 h 173"/>
                <a:gd name="T8" fmla="*/ 88 w 196"/>
                <a:gd name="T9" fmla="*/ 3 h 173"/>
                <a:gd name="T10" fmla="*/ 100 w 196"/>
                <a:gd name="T11" fmla="*/ 0 h 173"/>
                <a:gd name="T12" fmla="*/ 111 w 196"/>
                <a:gd name="T13" fmla="*/ 5 h 173"/>
                <a:gd name="T14" fmla="*/ 116 w 196"/>
                <a:gd name="T15" fmla="*/ 12 h 173"/>
                <a:gd name="T16" fmla="*/ 121 w 196"/>
                <a:gd name="T17" fmla="*/ 8 h 173"/>
                <a:gd name="T18" fmla="*/ 133 w 196"/>
                <a:gd name="T19" fmla="*/ 10 h 173"/>
                <a:gd name="T20" fmla="*/ 147 w 196"/>
                <a:gd name="T21" fmla="*/ 12 h 173"/>
                <a:gd name="T22" fmla="*/ 154 w 196"/>
                <a:gd name="T23" fmla="*/ 8 h 173"/>
                <a:gd name="T24" fmla="*/ 166 w 196"/>
                <a:gd name="T25" fmla="*/ 41 h 173"/>
                <a:gd name="T26" fmla="*/ 161 w 196"/>
                <a:gd name="T27" fmla="*/ 48 h 173"/>
                <a:gd name="T28" fmla="*/ 156 w 196"/>
                <a:gd name="T29" fmla="*/ 62 h 173"/>
                <a:gd name="T30" fmla="*/ 152 w 196"/>
                <a:gd name="T31" fmla="*/ 69 h 173"/>
                <a:gd name="T32" fmla="*/ 147 w 196"/>
                <a:gd name="T33" fmla="*/ 74 h 173"/>
                <a:gd name="T34" fmla="*/ 142 w 196"/>
                <a:gd name="T35" fmla="*/ 67 h 173"/>
                <a:gd name="T36" fmla="*/ 135 w 196"/>
                <a:gd name="T37" fmla="*/ 60 h 173"/>
                <a:gd name="T38" fmla="*/ 123 w 196"/>
                <a:gd name="T39" fmla="*/ 34 h 173"/>
                <a:gd name="T40" fmla="*/ 123 w 196"/>
                <a:gd name="T41" fmla="*/ 36 h 173"/>
                <a:gd name="T42" fmla="*/ 130 w 196"/>
                <a:gd name="T43" fmla="*/ 55 h 173"/>
                <a:gd name="T44" fmla="*/ 140 w 196"/>
                <a:gd name="T45" fmla="*/ 71 h 173"/>
                <a:gd name="T46" fmla="*/ 152 w 196"/>
                <a:gd name="T47" fmla="*/ 100 h 173"/>
                <a:gd name="T48" fmla="*/ 156 w 196"/>
                <a:gd name="T49" fmla="*/ 109 h 173"/>
                <a:gd name="T50" fmla="*/ 163 w 196"/>
                <a:gd name="T51" fmla="*/ 121 h 173"/>
                <a:gd name="T52" fmla="*/ 178 w 196"/>
                <a:gd name="T53" fmla="*/ 140 h 173"/>
                <a:gd name="T54" fmla="*/ 173 w 196"/>
                <a:gd name="T55" fmla="*/ 142 h 173"/>
                <a:gd name="T56" fmla="*/ 175 w 196"/>
                <a:gd name="T57" fmla="*/ 154 h 173"/>
                <a:gd name="T58" fmla="*/ 194 w 196"/>
                <a:gd name="T59" fmla="*/ 171 h 173"/>
                <a:gd name="T60" fmla="*/ 196 w 196"/>
                <a:gd name="T61" fmla="*/ 173 h 173"/>
                <a:gd name="T62" fmla="*/ 133 w 196"/>
                <a:gd name="T63" fmla="*/ 173 h 173"/>
                <a:gd name="T64" fmla="*/ 69 w 196"/>
                <a:gd name="T65" fmla="*/ 173 h 173"/>
                <a:gd name="T66" fmla="*/ 3 w 196"/>
                <a:gd name="T67" fmla="*/ 173 h 173"/>
                <a:gd name="T68" fmla="*/ 3 w 196"/>
                <a:gd name="T69" fmla="*/ 109 h 173"/>
                <a:gd name="T70" fmla="*/ 3 w 196"/>
                <a:gd name="T71" fmla="*/ 45 h 173"/>
                <a:gd name="T72" fmla="*/ 0 w 196"/>
                <a:gd name="T73" fmla="*/ 29 h 173"/>
                <a:gd name="T74" fmla="*/ 3 w 196"/>
                <a:gd name="T75" fmla="*/ 19 h 173"/>
                <a:gd name="T76" fmla="*/ 0 w 196"/>
                <a:gd name="T77" fmla="*/ 10 h 173"/>
                <a:gd name="T78" fmla="*/ 5 w 196"/>
                <a:gd name="T79" fmla="*/ 0 h 173"/>
                <a:gd name="T80" fmla="*/ 29 w 196"/>
                <a:gd name="T81" fmla="*/ 0 h 173"/>
                <a:gd name="T82" fmla="*/ 43 w 196"/>
                <a:gd name="T83" fmla="*/ 5 h 173"/>
                <a:gd name="T84" fmla="*/ 59 w 196"/>
                <a:gd name="T85" fmla="*/ 1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6" h="173">
                  <a:moveTo>
                    <a:pt x="59" y="10"/>
                  </a:moveTo>
                  <a:lnTo>
                    <a:pt x="59" y="10"/>
                  </a:lnTo>
                  <a:lnTo>
                    <a:pt x="66" y="15"/>
                  </a:lnTo>
                  <a:lnTo>
                    <a:pt x="81" y="10"/>
                  </a:lnTo>
                  <a:lnTo>
                    <a:pt x="88" y="3"/>
                  </a:lnTo>
                  <a:lnTo>
                    <a:pt x="100" y="0"/>
                  </a:lnTo>
                  <a:lnTo>
                    <a:pt x="111" y="5"/>
                  </a:lnTo>
                  <a:lnTo>
                    <a:pt x="116" y="12"/>
                  </a:lnTo>
                  <a:lnTo>
                    <a:pt x="121" y="8"/>
                  </a:lnTo>
                  <a:lnTo>
                    <a:pt x="133" y="10"/>
                  </a:lnTo>
                  <a:lnTo>
                    <a:pt x="147" y="12"/>
                  </a:lnTo>
                  <a:lnTo>
                    <a:pt x="154" y="8"/>
                  </a:lnTo>
                  <a:lnTo>
                    <a:pt x="166" y="41"/>
                  </a:lnTo>
                  <a:lnTo>
                    <a:pt x="161" y="48"/>
                  </a:lnTo>
                  <a:lnTo>
                    <a:pt x="156" y="62"/>
                  </a:lnTo>
                  <a:lnTo>
                    <a:pt x="152" y="69"/>
                  </a:lnTo>
                  <a:lnTo>
                    <a:pt x="147" y="74"/>
                  </a:lnTo>
                  <a:lnTo>
                    <a:pt x="142" y="67"/>
                  </a:lnTo>
                  <a:lnTo>
                    <a:pt x="135" y="60"/>
                  </a:lnTo>
                  <a:lnTo>
                    <a:pt x="123" y="34"/>
                  </a:lnTo>
                  <a:lnTo>
                    <a:pt x="123" y="36"/>
                  </a:lnTo>
                  <a:lnTo>
                    <a:pt x="130" y="55"/>
                  </a:lnTo>
                  <a:lnTo>
                    <a:pt x="140" y="71"/>
                  </a:lnTo>
                  <a:lnTo>
                    <a:pt x="152" y="100"/>
                  </a:lnTo>
                  <a:lnTo>
                    <a:pt x="156" y="109"/>
                  </a:lnTo>
                  <a:lnTo>
                    <a:pt x="163" y="121"/>
                  </a:lnTo>
                  <a:lnTo>
                    <a:pt x="178" y="140"/>
                  </a:lnTo>
                  <a:lnTo>
                    <a:pt x="173" y="142"/>
                  </a:lnTo>
                  <a:lnTo>
                    <a:pt x="175" y="154"/>
                  </a:lnTo>
                  <a:lnTo>
                    <a:pt x="194" y="171"/>
                  </a:lnTo>
                  <a:lnTo>
                    <a:pt x="196" y="173"/>
                  </a:lnTo>
                  <a:lnTo>
                    <a:pt x="133" y="173"/>
                  </a:lnTo>
                  <a:lnTo>
                    <a:pt x="69" y="173"/>
                  </a:lnTo>
                  <a:lnTo>
                    <a:pt x="3" y="173"/>
                  </a:lnTo>
                  <a:lnTo>
                    <a:pt x="3" y="109"/>
                  </a:lnTo>
                  <a:lnTo>
                    <a:pt x="3" y="45"/>
                  </a:lnTo>
                  <a:lnTo>
                    <a:pt x="0" y="29"/>
                  </a:lnTo>
                  <a:lnTo>
                    <a:pt x="3" y="19"/>
                  </a:lnTo>
                  <a:lnTo>
                    <a:pt x="0" y="10"/>
                  </a:lnTo>
                  <a:lnTo>
                    <a:pt x="5" y="0"/>
                  </a:lnTo>
                  <a:lnTo>
                    <a:pt x="29" y="0"/>
                  </a:lnTo>
                  <a:lnTo>
                    <a:pt x="43" y="5"/>
                  </a:lnTo>
                  <a:lnTo>
                    <a:pt x="59" y="1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17" name="Freeform 96">
              <a:extLst>
                <a:ext uri="{FF2B5EF4-FFF2-40B4-BE49-F238E27FC236}">
                  <a16:creationId xmlns:a16="http://schemas.microsoft.com/office/drawing/2014/main" id="{B038B1D5-B862-1F01-7436-061FE1944A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9536" y="2319576"/>
              <a:ext cx="216449" cy="178131"/>
            </a:xfrm>
            <a:custGeom>
              <a:avLst/>
              <a:gdLst>
                <a:gd name="T0" fmla="*/ 23 w 201"/>
                <a:gd name="T1" fmla="*/ 0 h 163"/>
                <a:gd name="T2" fmla="*/ 23 w 201"/>
                <a:gd name="T3" fmla="*/ 0 h 163"/>
                <a:gd name="T4" fmla="*/ 42 w 201"/>
                <a:gd name="T5" fmla="*/ 5 h 163"/>
                <a:gd name="T6" fmla="*/ 64 w 201"/>
                <a:gd name="T7" fmla="*/ 2 h 163"/>
                <a:gd name="T8" fmla="*/ 82 w 201"/>
                <a:gd name="T9" fmla="*/ 7 h 163"/>
                <a:gd name="T10" fmla="*/ 94 w 201"/>
                <a:gd name="T11" fmla="*/ 7 h 163"/>
                <a:gd name="T12" fmla="*/ 120 w 201"/>
                <a:gd name="T13" fmla="*/ 7 h 163"/>
                <a:gd name="T14" fmla="*/ 127 w 201"/>
                <a:gd name="T15" fmla="*/ 16 h 163"/>
                <a:gd name="T16" fmla="*/ 158 w 201"/>
                <a:gd name="T17" fmla="*/ 26 h 163"/>
                <a:gd name="T18" fmla="*/ 163 w 201"/>
                <a:gd name="T19" fmla="*/ 21 h 163"/>
                <a:gd name="T20" fmla="*/ 182 w 201"/>
                <a:gd name="T21" fmla="*/ 31 h 163"/>
                <a:gd name="T22" fmla="*/ 201 w 201"/>
                <a:gd name="T23" fmla="*/ 28 h 163"/>
                <a:gd name="T24" fmla="*/ 201 w 201"/>
                <a:gd name="T25" fmla="*/ 40 h 163"/>
                <a:gd name="T26" fmla="*/ 187 w 201"/>
                <a:gd name="T27" fmla="*/ 54 h 163"/>
                <a:gd name="T28" fmla="*/ 165 w 201"/>
                <a:gd name="T29" fmla="*/ 59 h 163"/>
                <a:gd name="T30" fmla="*/ 163 w 201"/>
                <a:gd name="T31" fmla="*/ 66 h 163"/>
                <a:gd name="T32" fmla="*/ 153 w 201"/>
                <a:gd name="T33" fmla="*/ 78 h 163"/>
                <a:gd name="T34" fmla="*/ 149 w 201"/>
                <a:gd name="T35" fmla="*/ 95 h 163"/>
                <a:gd name="T36" fmla="*/ 153 w 201"/>
                <a:gd name="T37" fmla="*/ 109 h 163"/>
                <a:gd name="T38" fmla="*/ 144 w 201"/>
                <a:gd name="T39" fmla="*/ 116 h 163"/>
                <a:gd name="T40" fmla="*/ 142 w 201"/>
                <a:gd name="T41" fmla="*/ 130 h 163"/>
                <a:gd name="T42" fmla="*/ 130 w 201"/>
                <a:gd name="T43" fmla="*/ 135 h 163"/>
                <a:gd name="T44" fmla="*/ 118 w 201"/>
                <a:gd name="T45" fmla="*/ 149 h 163"/>
                <a:gd name="T46" fmla="*/ 97 w 201"/>
                <a:gd name="T47" fmla="*/ 149 h 163"/>
                <a:gd name="T48" fmla="*/ 82 w 201"/>
                <a:gd name="T49" fmla="*/ 149 h 163"/>
                <a:gd name="T50" fmla="*/ 71 w 201"/>
                <a:gd name="T51" fmla="*/ 156 h 163"/>
                <a:gd name="T52" fmla="*/ 66 w 201"/>
                <a:gd name="T53" fmla="*/ 163 h 163"/>
                <a:gd name="T54" fmla="*/ 56 w 201"/>
                <a:gd name="T55" fmla="*/ 161 h 163"/>
                <a:gd name="T56" fmla="*/ 52 w 201"/>
                <a:gd name="T57" fmla="*/ 156 h 163"/>
                <a:gd name="T58" fmla="*/ 47 w 201"/>
                <a:gd name="T59" fmla="*/ 144 h 163"/>
                <a:gd name="T60" fmla="*/ 33 w 201"/>
                <a:gd name="T61" fmla="*/ 142 h 163"/>
                <a:gd name="T62" fmla="*/ 30 w 201"/>
                <a:gd name="T63" fmla="*/ 135 h 163"/>
                <a:gd name="T64" fmla="*/ 35 w 201"/>
                <a:gd name="T65" fmla="*/ 128 h 163"/>
                <a:gd name="T66" fmla="*/ 38 w 201"/>
                <a:gd name="T67" fmla="*/ 121 h 163"/>
                <a:gd name="T68" fmla="*/ 33 w 201"/>
                <a:gd name="T69" fmla="*/ 116 h 163"/>
                <a:gd name="T70" fmla="*/ 38 w 201"/>
                <a:gd name="T71" fmla="*/ 102 h 163"/>
                <a:gd name="T72" fmla="*/ 30 w 201"/>
                <a:gd name="T73" fmla="*/ 90 h 163"/>
                <a:gd name="T74" fmla="*/ 38 w 201"/>
                <a:gd name="T75" fmla="*/ 87 h 163"/>
                <a:gd name="T76" fmla="*/ 38 w 201"/>
                <a:gd name="T77" fmla="*/ 78 h 163"/>
                <a:gd name="T78" fmla="*/ 40 w 201"/>
                <a:gd name="T79" fmla="*/ 73 h 163"/>
                <a:gd name="T80" fmla="*/ 40 w 201"/>
                <a:gd name="T81" fmla="*/ 57 h 163"/>
                <a:gd name="T82" fmla="*/ 49 w 201"/>
                <a:gd name="T83" fmla="*/ 52 h 163"/>
                <a:gd name="T84" fmla="*/ 45 w 201"/>
                <a:gd name="T85" fmla="*/ 40 h 163"/>
                <a:gd name="T86" fmla="*/ 35 w 201"/>
                <a:gd name="T87" fmla="*/ 40 h 163"/>
                <a:gd name="T88" fmla="*/ 33 w 201"/>
                <a:gd name="T89" fmla="*/ 42 h 163"/>
                <a:gd name="T90" fmla="*/ 23 w 201"/>
                <a:gd name="T91" fmla="*/ 42 h 163"/>
                <a:gd name="T92" fmla="*/ 19 w 201"/>
                <a:gd name="T93" fmla="*/ 33 h 163"/>
                <a:gd name="T94" fmla="*/ 12 w 201"/>
                <a:gd name="T95" fmla="*/ 35 h 163"/>
                <a:gd name="T96" fmla="*/ 7 w 201"/>
                <a:gd name="T97" fmla="*/ 40 h 163"/>
                <a:gd name="T98" fmla="*/ 7 w 201"/>
                <a:gd name="T99" fmla="*/ 26 h 163"/>
                <a:gd name="T100" fmla="*/ 0 w 201"/>
                <a:gd name="T101" fmla="*/ 16 h 163"/>
                <a:gd name="T102" fmla="*/ 23 w 201"/>
                <a:gd name="T103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01" h="163">
                  <a:moveTo>
                    <a:pt x="23" y="0"/>
                  </a:moveTo>
                  <a:lnTo>
                    <a:pt x="23" y="0"/>
                  </a:lnTo>
                  <a:lnTo>
                    <a:pt x="42" y="5"/>
                  </a:lnTo>
                  <a:lnTo>
                    <a:pt x="64" y="2"/>
                  </a:lnTo>
                  <a:lnTo>
                    <a:pt x="82" y="7"/>
                  </a:lnTo>
                  <a:lnTo>
                    <a:pt x="94" y="7"/>
                  </a:lnTo>
                  <a:lnTo>
                    <a:pt x="120" y="7"/>
                  </a:lnTo>
                  <a:lnTo>
                    <a:pt x="127" y="16"/>
                  </a:lnTo>
                  <a:lnTo>
                    <a:pt x="158" y="26"/>
                  </a:lnTo>
                  <a:lnTo>
                    <a:pt x="163" y="21"/>
                  </a:lnTo>
                  <a:lnTo>
                    <a:pt x="182" y="31"/>
                  </a:lnTo>
                  <a:lnTo>
                    <a:pt x="201" y="28"/>
                  </a:lnTo>
                  <a:lnTo>
                    <a:pt x="201" y="40"/>
                  </a:lnTo>
                  <a:lnTo>
                    <a:pt x="187" y="54"/>
                  </a:lnTo>
                  <a:lnTo>
                    <a:pt x="165" y="59"/>
                  </a:lnTo>
                  <a:lnTo>
                    <a:pt x="163" y="66"/>
                  </a:lnTo>
                  <a:lnTo>
                    <a:pt x="153" y="78"/>
                  </a:lnTo>
                  <a:lnTo>
                    <a:pt x="149" y="95"/>
                  </a:lnTo>
                  <a:lnTo>
                    <a:pt x="153" y="109"/>
                  </a:lnTo>
                  <a:lnTo>
                    <a:pt x="144" y="116"/>
                  </a:lnTo>
                  <a:lnTo>
                    <a:pt x="142" y="130"/>
                  </a:lnTo>
                  <a:lnTo>
                    <a:pt x="130" y="135"/>
                  </a:lnTo>
                  <a:lnTo>
                    <a:pt x="118" y="149"/>
                  </a:lnTo>
                  <a:lnTo>
                    <a:pt x="97" y="149"/>
                  </a:lnTo>
                  <a:lnTo>
                    <a:pt x="82" y="149"/>
                  </a:lnTo>
                  <a:lnTo>
                    <a:pt x="71" y="156"/>
                  </a:lnTo>
                  <a:lnTo>
                    <a:pt x="66" y="163"/>
                  </a:lnTo>
                  <a:lnTo>
                    <a:pt x="56" y="161"/>
                  </a:lnTo>
                  <a:lnTo>
                    <a:pt x="52" y="156"/>
                  </a:lnTo>
                  <a:lnTo>
                    <a:pt x="47" y="144"/>
                  </a:lnTo>
                  <a:lnTo>
                    <a:pt x="33" y="142"/>
                  </a:lnTo>
                  <a:lnTo>
                    <a:pt x="30" y="135"/>
                  </a:lnTo>
                  <a:lnTo>
                    <a:pt x="35" y="128"/>
                  </a:lnTo>
                  <a:lnTo>
                    <a:pt x="38" y="121"/>
                  </a:lnTo>
                  <a:lnTo>
                    <a:pt x="33" y="116"/>
                  </a:lnTo>
                  <a:lnTo>
                    <a:pt x="38" y="102"/>
                  </a:lnTo>
                  <a:lnTo>
                    <a:pt x="30" y="90"/>
                  </a:lnTo>
                  <a:lnTo>
                    <a:pt x="38" y="87"/>
                  </a:lnTo>
                  <a:lnTo>
                    <a:pt x="38" y="78"/>
                  </a:lnTo>
                  <a:lnTo>
                    <a:pt x="40" y="73"/>
                  </a:lnTo>
                  <a:lnTo>
                    <a:pt x="40" y="57"/>
                  </a:lnTo>
                  <a:lnTo>
                    <a:pt x="49" y="52"/>
                  </a:lnTo>
                  <a:lnTo>
                    <a:pt x="45" y="40"/>
                  </a:lnTo>
                  <a:lnTo>
                    <a:pt x="35" y="40"/>
                  </a:lnTo>
                  <a:lnTo>
                    <a:pt x="33" y="42"/>
                  </a:lnTo>
                  <a:lnTo>
                    <a:pt x="23" y="42"/>
                  </a:lnTo>
                  <a:lnTo>
                    <a:pt x="19" y="33"/>
                  </a:lnTo>
                  <a:lnTo>
                    <a:pt x="12" y="35"/>
                  </a:lnTo>
                  <a:lnTo>
                    <a:pt x="7" y="40"/>
                  </a:lnTo>
                  <a:lnTo>
                    <a:pt x="7" y="26"/>
                  </a:lnTo>
                  <a:lnTo>
                    <a:pt x="0" y="16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18" name="Freeform 98">
              <a:extLst>
                <a:ext uri="{FF2B5EF4-FFF2-40B4-BE49-F238E27FC236}">
                  <a16:creationId xmlns:a16="http://schemas.microsoft.com/office/drawing/2014/main" id="{8F7EAC34-0A26-AB22-67D4-21DFB07D08F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60267" y="1863871"/>
              <a:ext cx="83995" cy="73219"/>
            </a:xfrm>
            <a:custGeom>
              <a:avLst/>
              <a:gdLst>
                <a:gd name="T0" fmla="*/ 42 w 78"/>
                <a:gd name="T1" fmla="*/ 0 h 67"/>
                <a:gd name="T2" fmla="*/ 42 w 78"/>
                <a:gd name="T3" fmla="*/ 0 h 67"/>
                <a:gd name="T4" fmla="*/ 59 w 78"/>
                <a:gd name="T5" fmla="*/ 5 h 67"/>
                <a:gd name="T6" fmla="*/ 75 w 78"/>
                <a:gd name="T7" fmla="*/ 5 h 67"/>
                <a:gd name="T8" fmla="*/ 78 w 78"/>
                <a:gd name="T9" fmla="*/ 10 h 67"/>
                <a:gd name="T10" fmla="*/ 66 w 78"/>
                <a:gd name="T11" fmla="*/ 29 h 67"/>
                <a:gd name="T12" fmla="*/ 70 w 78"/>
                <a:gd name="T13" fmla="*/ 57 h 67"/>
                <a:gd name="T14" fmla="*/ 63 w 78"/>
                <a:gd name="T15" fmla="*/ 67 h 67"/>
                <a:gd name="T16" fmla="*/ 52 w 78"/>
                <a:gd name="T17" fmla="*/ 67 h 67"/>
                <a:gd name="T18" fmla="*/ 37 w 78"/>
                <a:gd name="T19" fmla="*/ 55 h 67"/>
                <a:gd name="T20" fmla="*/ 30 w 78"/>
                <a:gd name="T21" fmla="*/ 52 h 67"/>
                <a:gd name="T22" fmla="*/ 16 w 78"/>
                <a:gd name="T23" fmla="*/ 57 h 67"/>
                <a:gd name="T24" fmla="*/ 18 w 78"/>
                <a:gd name="T25" fmla="*/ 38 h 67"/>
                <a:gd name="T26" fmla="*/ 11 w 78"/>
                <a:gd name="T27" fmla="*/ 43 h 67"/>
                <a:gd name="T28" fmla="*/ 2 w 78"/>
                <a:gd name="T29" fmla="*/ 31 h 67"/>
                <a:gd name="T30" fmla="*/ 0 w 78"/>
                <a:gd name="T31" fmla="*/ 14 h 67"/>
                <a:gd name="T32" fmla="*/ 21 w 78"/>
                <a:gd name="T33" fmla="*/ 5 h 67"/>
                <a:gd name="T34" fmla="*/ 42 w 78"/>
                <a:gd name="T35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67">
                  <a:moveTo>
                    <a:pt x="42" y="0"/>
                  </a:moveTo>
                  <a:lnTo>
                    <a:pt x="42" y="0"/>
                  </a:lnTo>
                  <a:lnTo>
                    <a:pt x="59" y="5"/>
                  </a:lnTo>
                  <a:lnTo>
                    <a:pt x="75" y="5"/>
                  </a:lnTo>
                  <a:lnTo>
                    <a:pt x="78" y="10"/>
                  </a:lnTo>
                  <a:lnTo>
                    <a:pt x="66" y="29"/>
                  </a:lnTo>
                  <a:lnTo>
                    <a:pt x="70" y="57"/>
                  </a:lnTo>
                  <a:lnTo>
                    <a:pt x="63" y="67"/>
                  </a:lnTo>
                  <a:lnTo>
                    <a:pt x="52" y="67"/>
                  </a:lnTo>
                  <a:lnTo>
                    <a:pt x="37" y="55"/>
                  </a:lnTo>
                  <a:lnTo>
                    <a:pt x="30" y="52"/>
                  </a:lnTo>
                  <a:lnTo>
                    <a:pt x="16" y="57"/>
                  </a:lnTo>
                  <a:lnTo>
                    <a:pt x="18" y="38"/>
                  </a:lnTo>
                  <a:lnTo>
                    <a:pt x="11" y="43"/>
                  </a:lnTo>
                  <a:lnTo>
                    <a:pt x="2" y="31"/>
                  </a:lnTo>
                  <a:lnTo>
                    <a:pt x="0" y="14"/>
                  </a:lnTo>
                  <a:lnTo>
                    <a:pt x="21" y="5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19" name="Freeform 102">
              <a:extLst>
                <a:ext uri="{FF2B5EF4-FFF2-40B4-BE49-F238E27FC236}">
                  <a16:creationId xmlns:a16="http://schemas.microsoft.com/office/drawing/2014/main" id="{DFCB8EC1-6027-C6B9-E728-06F22A0C94B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963" y="1422371"/>
              <a:ext cx="188450" cy="433851"/>
            </a:xfrm>
            <a:custGeom>
              <a:avLst/>
              <a:gdLst>
                <a:gd name="T0" fmla="*/ 128 w 175"/>
                <a:gd name="T1" fmla="*/ 49 h 397"/>
                <a:gd name="T2" fmla="*/ 128 w 175"/>
                <a:gd name="T3" fmla="*/ 49 h 397"/>
                <a:gd name="T4" fmla="*/ 125 w 175"/>
                <a:gd name="T5" fmla="*/ 82 h 397"/>
                <a:gd name="T6" fmla="*/ 151 w 175"/>
                <a:gd name="T7" fmla="*/ 111 h 397"/>
                <a:gd name="T8" fmla="*/ 137 w 175"/>
                <a:gd name="T9" fmla="*/ 142 h 397"/>
                <a:gd name="T10" fmla="*/ 154 w 175"/>
                <a:gd name="T11" fmla="*/ 187 h 397"/>
                <a:gd name="T12" fmla="*/ 144 w 175"/>
                <a:gd name="T13" fmla="*/ 220 h 397"/>
                <a:gd name="T14" fmla="*/ 158 w 175"/>
                <a:gd name="T15" fmla="*/ 248 h 397"/>
                <a:gd name="T16" fmla="*/ 151 w 175"/>
                <a:gd name="T17" fmla="*/ 272 h 397"/>
                <a:gd name="T18" fmla="*/ 175 w 175"/>
                <a:gd name="T19" fmla="*/ 295 h 397"/>
                <a:gd name="T20" fmla="*/ 170 w 175"/>
                <a:gd name="T21" fmla="*/ 314 h 397"/>
                <a:gd name="T22" fmla="*/ 154 w 175"/>
                <a:gd name="T23" fmla="*/ 333 h 397"/>
                <a:gd name="T24" fmla="*/ 118 w 175"/>
                <a:gd name="T25" fmla="*/ 376 h 397"/>
                <a:gd name="T26" fmla="*/ 90 w 175"/>
                <a:gd name="T27" fmla="*/ 378 h 397"/>
                <a:gd name="T28" fmla="*/ 61 w 175"/>
                <a:gd name="T29" fmla="*/ 390 h 397"/>
                <a:gd name="T30" fmla="*/ 35 w 175"/>
                <a:gd name="T31" fmla="*/ 397 h 397"/>
                <a:gd name="T32" fmla="*/ 26 w 175"/>
                <a:gd name="T33" fmla="*/ 378 h 397"/>
                <a:gd name="T34" fmla="*/ 9 w 175"/>
                <a:gd name="T35" fmla="*/ 369 h 397"/>
                <a:gd name="T36" fmla="*/ 14 w 175"/>
                <a:gd name="T37" fmla="*/ 336 h 397"/>
                <a:gd name="T38" fmla="*/ 5 w 175"/>
                <a:gd name="T39" fmla="*/ 305 h 397"/>
                <a:gd name="T40" fmla="*/ 14 w 175"/>
                <a:gd name="T41" fmla="*/ 284 h 397"/>
                <a:gd name="T42" fmla="*/ 28 w 175"/>
                <a:gd name="T43" fmla="*/ 262 h 397"/>
                <a:gd name="T44" fmla="*/ 66 w 175"/>
                <a:gd name="T45" fmla="*/ 222 h 397"/>
                <a:gd name="T46" fmla="*/ 76 w 175"/>
                <a:gd name="T47" fmla="*/ 213 h 397"/>
                <a:gd name="T48" fmla="*/ 76 w 175"/>
                <a:gd name="T49" fmla="*/ 198 h 397"/>
                <a:gd name="T50" fmla="*/ 52 w 175"/>
                <a:gd name="T51" fmla="*/ 179 h 397"/>
                <a:gd name="T52" fmla="*/ 47 w 175"/>
                <a:gd name="T53" fmla="*/ 163 h 397"/>
                <a:gd name="T54" fmla="*/ 47 w 175"/>
                <a:gd name="T55" fmla="*/ 99 h 397"/>
                <a:gd name="T56" fmla="*/ 21 w 175"/>
                <a:gd name="T57" fmla="*/ 71 h 397"/>
                <a:gd name="T58" fmla="*/ 0 w 175"/>
                <a:gd name="T59" fmla="*/ 49 h 397"/>
                <a:gd name="T60" fmla="*/ 9 w 175"/>
                <a:gd name="T61" fmla="*/ 37 h 397"/>
                <a:gd name="T62" fmla="*/ 26 w 175"/>
                <a:gd name="T63" fmla="*/ 61 h 397"/>
                <a:gd name="T64" fmla="*/ 47 w 175"/>
                <a:gd name="T65" fmla="*/ 59 h 397"/>
                <a:gd name="T66" fmla="*/ 66 w 175"/>
                <a:gd name="T67" fmla="*/ 68 h 397"/>
                <a:gd name="T68" fmla="*/ 80 w 175"/>
                <a:gd name="T69" fmla="*/ 49 h 397"/>
                <a:gd name="T70" fmla="*/ 90 w 175"/>
                <a:gd name="T71" fmla="*/ 16 h 397"/>
                <a:gd name="T72" fmla="*/ 113 w 175"/>
                <a:gd name="T73" fmla="*/ 0 h 397"/>
                <a:gd name="T74" fmla="*/ 135 w 175"/>
                <a:gd name="T75" fmla="*/ 18 h 397"/>
                <a:gd name="T76" fmla="*/ 128 w 175"/>
                <a:gd name="T77" fmla="*/ 49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5" h="397">
                  <a:moveTo>
                    <a:pt x="128" y="49"/>
                  </a:moveTo>
                  <a:lnTo>
                    <a:pt x="128" y="49"/>
                  </a:lnTo>
                  <a:lnTo>
                    <a:pt x="125" y="82"/>
                  </a:lnTo>
                  <a:lnTo>
                    <a:pt x="151" y="111"/>
                  </a:lnTo>
                  <a:lnTo>
                    <a:pt x="137" y="142"/>
                  </a:lnTo>
                  <a:lnTo>
                    <a:pt x="154" y="187"/>
                  </a:lnTo>
                  <a:lnTo>
                    <a:pt x="144" y="220"/>
                  </a:lnTo>
                  <a:lnTo>
                    <a:pt x="158" y="248"/>
                  </a:lnTo>
                  <a:lnTo>
                    <a:pt x="151" y="272"/>
                  </a:lnTo>
                  <a:lnTo>
                    <a:pt x="175" y="295"/>
                  </a:lnTo>
                  <a:lnTo>
                    <a:pt x="170" y="314"/>
                  </a:lnTo>
                  <a:lnTo>
                    <a:pt x="154" y="333"/>
                  </a:lnTo>
                  <a:lnTo>
                    <a:pt x="118" y="376"/>
                  </a:lnTo>
                  <a:lnTo>
                    <a:pt x="90" y="378"/>
                  </a:lnTo>
                  <a:lnTo>
                    <a:pt x="61" y="390"/>
                  </a:lnTo>
                  <a:lnTo>
                    <a:pt x="35" y="397"/>
                  </a:lnTo>
                  <a:lnTo>
                    <a:pt x="26" y="378"/>
                  </a:lnTo>
                  <a:lnTo>
                    <a:pt x="9" y="369"/>
                  </a:lnTo>
                  <a:lnTo>
                    <a:pt x="14" y="336"/>
                  </a:lnTo>
                  <a:lnTo>
                    <a:pt x="5" y="305"/>
                  </a:lnTo>
                  <a:lnTo>
                    <a:pt x="14" y="284"/>
                  </a:lnTo>
                  <a:lnTo>
                    <a:pt x="28" y="262"/>
                  </a:lnTo>
                  <a:lnTo>
                    <a:pt x="66" y="222"/>
                  </a:lnTo>
                  <a:lnTo>
                    <a:pt x="76" y="213"/>
                  </a:lnTo>
                  <a:lnTo>
                    <a:pt x="76" y="198"/>
                  </a:lnTo>
                  <a:lnTo>
                    <a:pt x="52" y="179"/>
                  </a:lnTo>
                  <a:lnTo>
                    <a:pt x="47" y="163"/>
                  </a:lnTo>
                  <a:lnTo>
                    <a:pt x="47" y="99"/>
                  </a:lnTo>
                  <a:lnTo>
                    <a:pt x="21" y="71"/>
                  </a:lnTo>
                  <a:lnTo>
                    <a:pt x="0" y="49"/>
                  </a:lnTo>
                  <a:lnTo>
                    <a:pt x="9" y="37"/>
                  </a:lnTo>
                  <a:lnTo>
                    <a:pt x="26" y="61"/>
                  </a:lnTo>
                  <a:lnTo>
                    <a:pt x="47" y="59"/>
                  </a:lnTo>
                  <a:lnTo>
                    <a:pt x="66" y="68"/>
                  </a:lnTo>
                  <a:lnTo>
                    <a:pt x="80" y="49"/>
                  </a:lnTo>
                  <a:lnTo>
                    <a:pt x="90" y="16"/>
                  </a:lnTo>
                  <a:lnTo>
                    <a:pt x="113" y="0"/>
                  </a:lnTo>
                  <a:lnTo>
                    <a:pt x="135" y="18"/>
                  </a:lnTo>
                  <a:lnTo>
                    <a:pt x="128" y="49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20" name="Freeform 107">
              <a:extLst>
                <a:ext uri="{FF2B5EF4-FFF2-40B4-BE49-F238E27FC236}">
                  <a16:creationId xmlns:a16="http://schemas.microsoft.com/office/drawing/2014/main" id="{031B0B35-81AF-79D6-D92D-05B32F896F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7129" y="4223274"/>
              <a:ext cx="59227" cy="33878"/>
            </a:xfrm>
            <a:custGeom>
              <a:avLst/>
              <a:gdLst>
                <a:gd name="T0" fmla="*/ 43 w 55"/>
                <a:gd name="T1" fmla="*/ 0 h 31"/>
                <a:gd name="T2" fmla="*/ 43 w 55"/>
                <a:gd name="T3" fmla="*/ 0 h 31"/>
                <a:gd name="T4" fmla="*/ 55 w 55"/>
                <a:gd name="T5" fmla="*/ 12 h 31"/>
                <a:gd name="T6" fmla="*/ 50 w 55"/>
                <a:gd name="T7" fmla="*/ 21 h 31"/>
                <a:gd name="T8" fmla="*/ 29 w 55"/>
                <a:gd name="T9" fmla="*/ 28 h 31"/>
                <a:gd name="T10" fmla="*/ 22 w 55"/>
                <a:gd name="T11" fmla="*/ 19 h 31"/>
                <a:gd name="T12" fmla="*/ 7 w 55"/>
                <a:gd name="T13" fmla="*/ 31 h 31"/>
                <a:gd name="T14" fmla="*/ 0 w 55"/>
                <a:gd name="T15" fmla="*/ 19 h 31"/>
                <a:gd name="T16" fmla="*/ 19 w 55"/>
                <a:gd name="T17" fmla="*/ 5 h 31"/>
                <a:gd name="T18" fmla="*/ 33 w 55"/>
                <a:gd name="T19" fmla="*/ 12 h 31"/>
                <a:gd name="T20" fmla="*/ 43 w 55"/>
                <a:gd name="T2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" h="31">
                  <a:moveTo>
                    <a:pt x="43" y="0"/>
                  </a:moveTo>
                  <a:lnTo>
                    <a:pt x="43" y="0"/>
                  </a:lnTo>
                  <a:lnTo>
                    <a:pt x="55" y="12"/>
                  </a:lnTo>
                  <a:lnTo>
                    <a:pt x="50" y="21"/>
                  </a:lnTo>
                  <a:lnTo>
                    <a:pt x="29" y="28"/>
                  </a:lnTo>
                  <a:lnTo>
                    <a:pt x="22" y="19"/>
                  </a:lnTo>
                  <a:lnTo>
                    <a:pt x="7" y="31"/>
                  </a:lnTo>
                  <a:lnTo>
                    <a:pt x="0" y="19"/>
                  </a:lnTo>
                  <a:lnTo>
                    <a:pt x="19" y="5"/>
                  </a:lnTo>
                  <a:lnTo>
                    <a:pt x="33" y="12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21" name="Freeform 109">
              <a:extLst>
                <a:ext uri="{FF2B5EF4-FFF2-40B4-BE49-F238E27FC236}">
                  <a16:creationId xmlns:a16="http://schemas.microsoft.com/office/drawing/2014/main" id="{ACD4A99E-7552-22AB-9F0F-B7A18DAC6B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2352" y="3074718"/>
              <a:ext cx="50613" cy="64476"/>
            </a:xfrm>
            <a:custGeom>
              <a:avLst/>
              <a:gdLst>
                <a:gd name="T0" fmla="*/ 33 w 47"/>
                <a:gd name="T1" fmla="*/ 52 h 59"/>
                <a:gd name="T2" fmla="*/ 33 w 47"/>
                <a:gd name="T3" fmla="*/ 52 h 59"/>
                <a:gd name="T4" fmla="*/ 33 w 47"/>
                <a:gd name="T5" fmla="*/ 52 h 59"/>
                <a:gd name="T6" fmla="*/ 33 w 47"/>
                <a:gd name="T7" fmla="*/ 52 h 59"/>
                <a:gd name="T8" fmla="*/ 26 w 47"/>
                <a:gd name="T9" fmla="*/ 59 h 59"/>
                <a:gd name="T10" fmla="*/ 19 w 47"/>
                <a:gd name="T11" fmla="*/ 59 h 59"/>
                <a:gd name="T12" fmla="*/ 16 w 47"/>
                <a:gd name="T13" fmla="*/ 54 h 59"/>
                <a:gd name="T14" fmla="*/ 12 w 47"/>
                <a:gd name="T15" fmla="*/ 54 h 59"/>
                <a:gd name="T16" fmla="*/ 7 w 47"/>
                <a:gd name="T17" fmla="*/ 59 h 59"/>
                <a:gd name="T18" fmla="*/ 0 w 47"/>
                <a:gd name="T19" fmla="*/ 57 h 59"/>
                <a:gd name="T20" fmla="*/ 5 w 47"/>
                <a:gd name="T21" fmla="*/ 50 h 59"/>
                <a:gd name="T22" fmla="*/ 7 w 47"/>
                <a:gd name="T23" fmla="*/ 40 h 59"/>
                <a:gd name="T24" fmla="*/ 9 w 47"/>
                <a:gd name="T25" fmla="*/ 36 h 59"/>
                <a:gd name="T26" fmla="*/ 2 w 47"/>
                <a:gd name="T27" fmla="*/ 26 h 59"/>
                <a:gd name="T28" fmla="*/ 0 w 47"/>
                <a:gd name="T29" fmla="*/ 14 h 59"/>
                <a:gd name="T30" fmla="*/ 9 w 47"/>
                <a:gd name="T31" fmla="*/ 0 h 59"/>
                <a:gd name="T32" fmla="*/ 14 w 47"/>
                <a:gd name="T33" fmla="*/ 2 h 59"/>
                <a:gd name="T34" fmla="*/ 26 w 47"/>
                <a:gd name="T35" fmla="*/ 5 h 59"/>
                <a:gd name="T36" fmla="*/ 45 w 47"/>
                <a:gd name="T37" fmla="*/ 19 h 59"/>
                <a:gd name="T38" fmla="*/ 47 w 47"/>
                <a:gd name="T39" fmla="*/ 26 h 59"/>
                <a:gd name="T40" fmla="*/ 33 w 47"/>
                <a:gd name="T41" fmla="*/ 5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7" h="59">
                  <a:moveTo>
                    <a:pt x="33" y="52"/>
                  </a:moveTo>
                  <a:lnTo>
                    <a:pt x="33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26" y="59"/>
                  </a:lnTo>
                  <a:lnTo>
                    <a:pt x="19" y="59"/>
                  </a:lnTo>
                  <a:lnTo>
                    <a:pt x="16" y="54"/>
                  </a:lnTo>
                  <a:lnTo>
                    <a:pt x="12" y="54"/>
                  </a:lnTo>
                  <a:lnTo>
                    <a:pt x="7" y="59"/>
                  </a:lnTo>
                  <a:lnTo>
                    <a:pt x="0" y="57"/>
                  </a:lnTo>
                  <a:lnTo>
                    <a:pt x="5" y="50"/>
                  </a:lnTo>
                  <a:lnTo>
                    <a:pt x="7" y="40"/>
                  </a:lnTo>
                  <a:lnTo>
                    <a:pt x="9" y="36"/>
                  </a:lnTo>
                  <a:lnTo>
                    <a:pt x="2" y="26"/>
                  </a:lnTo>
                  <a:lnTo>
                    <a:pt x="0" y="14"/>
                  </a:lnTo>
                  <a:lnTo>
                    <a:pt x="9" y="0"/>
                  </a:lnTo>
                  <a:lnTo>
                    <a:pt x="14" y="2"/>
                  </a:lnTo>
                  <a:lnTo>
                    <a:pt x="26" y="5"/>
                  </a:lnTo>
                  <a:lnTo>
                    <a:pt x="45" y="19"/>
                  </a:lnTo>
                  <a:lnTo>
                    <a:pt x="47" y="26"/>
                  </a:lnTo>
                  <a:lnTo>
                    <a:pt x="33" y="5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22" name="Freeform 111">
              <a:extLst>
                <a:ext uri="{FF2B5EF4-FFF2-40B4-BE49-F238E27FC236}">
                  <a16:creationId xmlns:a16="http://schemas.microsoft.com/office/drawing/2014/main" id="{BEFE4423-4F9A-2535-05C3-9CF213D1A5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2898" y="2337063"/>
              <a:ext cx="17229" cy="39342"/>
            </a:xfrm>
            <a:custGeom>
              <a:avLst/>
              <a:gdLst>
                <a:gd name="T0" fmla="*/ 16 w 16"/>
                <a:gd name="T1" fmla="*/ 19 h 36"/>
                <a:gd name="T2" fmla="*/ 16 w 16"/>
                <a:gd name="T3" fmla="*/ 19 h 36"/>
                <a:gd name="T4" fmla="*/ 9 w 16"/>
                <a:gd name="T5" fmla="*/ 36 h 36"/>
                <a:gd name="T6" fmla="*/ 2 w 16"/>
                <a:gd name="T7" fmla="*/ 31 h 36"/>
                <a:gd name="T8" fmla="*/ 0 w 16"/>
                <a:gd name="T9" fmla="*/ 17 h 36"/>
                <a:gd name="T10" fmla="*/ 2 w 16"/>
                <a:gd name="T11" fmla="*/ 10 h 36"/>
                <a:gd name="T12" fmla="*/ 14 w 16"/>
                <a:gd name="T13" fmla="*/ 0 h 36"/>
                <a:gd name="T14" fmla="*/ 16 w 16"/>
                <a:gd name="T15" fmla="*/ 19 h 36"/>
                <a:gd name="T16" fmla="*/ 16 w 16"/>
                <a:gd name="T17" fmla="*/ 19 h 36"/>
                <a:gd name="T18" fmla="*/ 16 w 16"/>
                <a:gd name="T19" fmla="*/ 1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36">
                  <a:moveTo>
                    <a:pt x="16" y="19"/>
                  </a:moveTo>
                  <a:lnTo>
                    <a:pt x="16" y="19"/>
                  </a:lnTo>
                  <a:lnTo>
                    <a:pt x="9" y="36"/>
                  </a:lnTo>
                  <a:lnTo>
                    <a:pt x="2" y="31"/>
                  </a:lnTo>
                  <a:lnTo>
                    <a:pt x="0" y="17"/>
                  </a:lnTo>
                  <a:lnTo>
                    <a:pt x="2" y="10"/>
                  </a:lnTo>
                  <a:lnTo>
                    <a:pt x="14" y="0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23" name="Freeform 115">
              <a:extLst>
                <a:ext uri="{FF2B5EF4-FFF2-40B4-BE49-F238E27FC236}">
                  <a16:creationId xmlns:a16="http://schemas.microsoft.com/office/drawing/2014/main" id="{D72F7D31-6DF2-5CDB-D3F7-E346C61A12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21840" y="1897748"/>
              <a:ext cx="160452" cy="263370"/>
            </a:xfrm>
            <a:custGeom>
              <a:avLst/>
              <a:gdLst>
                <a:gd name="T0" fmla="*/ 31 w 149"/>
                <a:gd name="T1" fmla="*/ 121 h 241"/>
                <a:gd name="T2" fmla="*/ 31 w 149"/>
                <a:gd name="T3" fmla="*/ 121 h 241"/>
                <a:gd name="T4" fmla="*/ 22 w 149"/>
                <a:gd name="T5" fmla="*/ 137 h 241"/>
                <a:gd name="T6" fmla="*/ 10 w 149"/>
                <a:gd name="T7" fmla="*/ 133 h 241"/>
                <a:gd name="T8" fmla="*/ 0 w 149"/>
                <a:gd name="T9" fmla="*/ 133 h 241"/>
                <a:gd name="T10" fmla="*/ 3 w 149"/>
                <a:gd name="T11" fmla="*/ 118 h 241"/>
                <a:gd name="T12" fmla="*/ 0 w 149"/>
                <a:gd name="T13" fmla="*/ 104 h 241"/>
                <a:gd name="T14" fmla="*/ 12 w 149"/>
                <a:gd name="T15" fmla="*/ 102 h 241"/>
                <a:gd name="T16" fmla="*/ 31 w 149"/>
                <a:gd name="T17" fmla="*/ 121 h 241"/>
                <a:gd name="T18" fmla="*/ 74 w 149"/>
                <a:gd name="T19" fmla="*/ 0 h 241"/>
                <a:gd name="T20" fmla="*/ 74 w 149"/>
                <a:gd name="T21" fmla="*/ 0 h 241"/>
                <a:gd name="T22" fmla="*/ 57 w 149"/>
                <a:gd name="T23" fmla="*/ 33 h 241"/>
                <a:gd name="T24" fmla="*/ 74 w 149"/>
                <a:gd name="T25" fmla="*/ 28 h 241"/>
                <a:gd name="T26" fmla="*/ 90 w 149"/>
                <a:gd name="T27" fmla="*/ 28 h 241"/>
                <a:gd name="T28" fmla="*/ 86 w 149"/>
                <a:gd name="T29" fmla="*/ 54 h 241"/>
                <a:gd name="T30" fmla="*/ 71 w 149"/>
                <a:gd name="T31" fmla="*/ 81 h 241"/>
                <a:gd name="T32" fmla="*/ 88 w 149"/>
                <a:gd name="T33" fmla="*/ 81 h 241"/>
                <a:gd name="T34" fmla="*/ 105 w 149"/>
                <a:gd name="T35" fmla="*/ 118 h 241"/>
                <a:gd name="T36" fmla="*/ 116 w 149"/>
                <a:gd name="T37" fmla="*/ 121 h 241"/>
                <a:gd name="T38" fmla="*/ 126 w 149"/>
                <a:gd name="T39" fmla="*/ 154 h 241"/>
                <a:gd name="T40" fmla="*/ 131 w 149"/>
                <a:gd name="T41" fmla="*/ 163 h 241"/>
                <a:gd name="T42" fmla="*/ 149 w 149"/>
                <a:gd name="T43" fmla="*/ 168 h 241"/>
                <a:gd name="T44" fmla="*/ 147 w 149"/>
                <a:gd name="T45" fmla="*/ 185 h 241"/>
                <a:gd name="T46" fmla="*/ 140 w 149"/>
                <a:gd name="T47" fmla="*/ 194 h 241"/>
                <a:gd name="T48" fmla="*/ 145 w 149"/>
                <a:gd name="T49" fmla="*/ 206 h 241"/>
                <a:gd name="T50" fmla="*/ 131 w 149"/>
                <a:gd name="T51" fmla="*/ 220 h 241"/>
                <a:gd name="T52" fmla="*/ 109 w 149"/>
                <a:gd name="T53" fmla="*/ 220 h 241"/>
                <a:gd name="T54" fmla="*/ 83 w 149"/>
                <a:gd name="T55" fmla="*/ 227 h 241"/>
                <a:gd name="T56" fmla="*/ 74 w 149"/>
                <a:gd name="T57" fmla="*/ 223 h 241"/>
                <a:gd name="T58" fmla="*/ 64 w 149"/>
                <a:gd name="T59" fmla="*/ 234 h 241"/>
                <a:gd name="T60" fmla="*/ 48 w 149"/>
                <a:gd name="T61" fmla="*/ 230 h 241"/>
                <a:gd name="T62" fmla="*/ 38 w 149"/>
                <a:gd name="T63" fmla="*/ 241 h 241"/>
                <a:gd name="T64" fmla="*/ 29 w 149"/>
                <a:gd name="T65" fmla="*/ 237 h 241"/>
                <a:gd name="T66" fmla="*/ 52 w 149"/>
                <a:gd name="T67" fmla="*/ 208 h 241"/>
                <a:gd name="T68" fmla="*/ 67 w 149"/>
                <a:gd name="T69" fmla="*/ 204 h 241"/>
                <a:gd name="T70" fmla="*/ 43 w 149"/>
                <a:gd name="T71" fmla="*/ 199 h 241"/>
                <a:gd name="T72" fmla="*/ 36 w 149"/>
                <a:gd name="T73" fmla="*/ 189 h 241"/>
                <a:gd name="T74" fmla="*/ 55 w 149"/>
                <a:gd name="T75" fmla="*/ 180 h 241"/>
                <a:gd name="T76" fmla="*/ 45 w 149"/>
                <a:gd name="T77" fmla="*/ 166 h 241"/>
                <a:gd name="T78" fmla="*/ 48 w 149"/>
                <a:gd name="T79" fmla="*/ 149 h 241"/>
                <a:gd name="T80" fmla="*/ 71 w 149"/>
                <a:gd name="T81" fmla="*/ 152 h 241"/>
                <a:gd name="T82" fmla="*/ 76 w 149"/>
                <a:gd name="T83" fmla="*/ 135 h 241"/>
                <a:gd name="T84" fmla="*/ 64 w 149"/>
                <a:gd name="T85" fmla="*/ 118 h 241"/>
                <a:gd name="T86" fmla="*/ 43 w 149"/>
                <a:gd name="T87" fmla="*/ 114 h 241"/>
                <a:gd name="T88" fmla="*/ 41 w 149"/>
                <a:gd name="T89" fmla="*/ 107 h 241"/>
                <a:gd name="T90" fmla="*/ 45 w 149"/>
                <a:gd name="T91" fmla="*/ 92 h 241"/>
                <a:gd name="T92" fmla="*/ 41 w 149"/>
                <a:gd name="T93" fmla="*/ 85 h 241"/>
                <a:gd name="T94" fmla="*/ 31 w 149"/>
                <a:gd name="T95" fmla="*/ 99 h 241"/>
                <a:gd name="T96" fmla="*/ 31 w 149"/>
                <a:gd name="T97" fmla="*/ 71 h 241"/>
                <a:gd name="T98" fmla="*/ 22 w 149"/>
                <a:gd name="T99" fmla="*/ 57 h 241"/>
                <a:gd name="T100" fmla="*/ 29 w 149"/>
                <a:gd name="T101" fmla="*/ 26 h 241"/>
                <a:gd name="T102" fmla="*/ 41 w 149"/>
                <a:gd name="T103" fmla="*/ 0 h 241"/>
                <a:gd name="T104" fmla="*/ 55 w 149"/>
                <a:gd name="T105" fmla="*/ 2 h 241"/>
                <a:gd name="T106" fmla="*/ 74 w 149"/>
                <a:gd name="T10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9" h="241">
                  <a:moveTo>
                    <a:pt x="31" y="121"/>
                  </a:moveTo>
                  <a:lnTo>
                    <a:pt x="31" y="121"/>
                  </a:lnTo>
                  <a:lnTo>
                    <a:pt x="22" y="137"/>
                  </a:lnTo>
                  <a:lnTo>
                    <a:pt x="10" y="133"/>
                  </a:lnTo>
                  <a:lnTo>
                    <a:pt x="0" y="133"/>
                  </a:lnTo>
                  <a:lnTo>
                    <a:pt x="3" y="118"/>
                  </a:lnTo>
                  <a:lnTo>
                    <a:pt x="0" y="104"/>
                  </a:lnTo>
                  <a:lnTo>
                    <a:pt x="12" y="102"/>
                  </a:lnTo>
                  <a:lnTo>
                    <a:pt x="31" y="121"/>
                  </a:lnTo>
                  <a:close/>
                  <a:moveTo>
                    <a:pt x="74" y="0"/>
                  </a:moveTo>
                  <a:lnTo>
                    <a:pt x="74" y="0"/>
                  </a:lnTo>
                  <a:lnTo>
                    <a:pt x="57" y="33"/>
                  </a:lnTo>
                  <a:lnTo>
                    <a:pt x="74" y="28"/>
                  </a:lnTo>
                  <a:lnTo>
                    <a:pt x="90" y="28"/>
                  </a:lnTo>
                  <a:lnTo>
                    <a:pt x="86" y="54"/>
                  </a:lnTo>
                  <a:lnTo>
                    <a:pt x="71" y="81"/>
                  </a:lnTo>
                  <a:lnTo>
                    <a:pt x="88" y="81"/>
                  </a:lnTo>
                  <a:lnTo>
                    <a:pt x="105" y="118"/>
                  </a:lnTo>
                  <a:lnTo>
                    <a:pt x="116" y="121"/>
                  </a:lnTo>
                  <a:lnTo>
                    <a:pt x="126" y="154"/>
                  </a:lnTo>
                  <a:lnTo>
                    <a:pt x="131" y="163"/>
                  </a:lnTo>
                  <a:lnTo>
                    <a:pt x="149" y="168"/>
                  </a:lnTo>
                  <a:lnTo>
                    <a:pt x="147" y="185"/>
                  </a:lnTo>
                  <a:lnTo>
                    <a:pt x="140" y="194"/>
                  </a:lnTo>
                  <a:lnTo>
                    <a:pt x="145" y="206"/>
                  </a:lnTo>
                  <a:lnTo>
                    <a:pt x="131" y="220"/>
                  </a:lnTo>
                  <a:lnTo>
                    <a:pt x="109" y="220"/>
                  </a:lnTo>
                  <a:lnTo>
                    <a:pt x="83" y="227"/>
                  </a:lnTo>
                  <a:lnTo>
                    <a:pt x="74" y="223"/>
                  </a:lnTo>
                  <a:lnTo>
                    <a:pt x="64" y="234"/>
                  </a:lnTo>
                  <a:lnTo>
                    <a:pt x="48" y="230"/>
                  </a:lnTo>
                  <a:lnTo>
                    <a:pt x="38" y="241"/>
                  </a:lnTo>
                  <a:lnTo>
                    <a:pt x="29" y="237"/>
                  </a:lnTo>
                  <a:lnTo>
                    <a:pt x="52" y="208"/>
                  </a:lnTo>
                  <a:lnTo>
                    <a:pt x="67" y="204"/>
                  </a:lnTo>
                  <a:lnTo>
                    <a:pt x="43" y="199"/>
                  </a:lnTo>
                  <a:lnTo>
                    <a:pt x="36" y="189"/>
                  </a:lnTo>
                  <a:lnTo>
                    <a:pt x="55" y="180"/>
                  </a:lnTo>
                  <a:lnTo>
                    <a:pt x="45" y="166"/>
                  </a:lnTo>
                  <a:lnTo>
                    <a:pt x="48" y="149"/>
                  </a:lnTo>
                  <a:lnTo>
                    <a:pt x="71" y="152"/>
                  </a:lnTo>
                  <a:lnTo>
                    <a:pt x="76" y="135"/>
                  </a:lnTo>
                  <a:lnTo>
                    <a:pt x="64" y="118"/>
                  </a:lnTo>
                  <a:lnTo>
                    <a:pt x="43" y="114"/>
                  </a:lnTo>
                  <a:lnTo>
                    <a:pt x="41" y="107"/>
                  </a:lnTo>
                  <a:lnTo>
                    <a:pt x="45" y="92"/>
                  </a:lnTo>
                  <a:lnTo>
                    <a:pt x="41" y="85"/>
                  </a:lnTo>
                  <a:lnTo>
                    <a:pt x="31" y="99"/>
                  </a:lnTo>
                  <a:lnTo>
                    <a:pt x="31" y="71"/>
                  </a:lnTo>
                  <a:lnTo>
                    <a:pt x="22" y="57"/>
                  </a:lnTo>
                  <a:lnTo>
                    <a:pt x="29" y="26"/>
                  </a:lnTo>
                  <a:lnTo>
                    <a:pt x="41" y="0"/>
                  </a:lnTo>
                  <a:lnTo>
                    <a:pt x="55" y="2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24" name="Freeform 111">
              <a:extLst>
                <a:ext uri="{FF2B5EF4-FFF2-40B4-BE49-F238E27FC236}">
                  <a16:creationId xmlns:a16="http://schemas.microsoft.com/office/drawing/2014/main" id="{F492A9EF-4DCA-5560-2B75-D7A063ED2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9234" y="2929373"/>
              <a:ext cx="53843" cy="16549"/>
            </a:xfrm>
            <a:custGeom>
              <a:avLst/>
              <a:gdLst>
                <a:gd name="connsiteX0" fmla="*/ 54539 w 113623"/>
                <a:gd name="connsiteY0" fmla="*/ 0 h 34413"/>
                <a:gd name="connsiteX1" fmla="*/ 63629 w 113623"/>
                <a:gd name="connsiteY1" fmla="*/ 0 h 34413"/>
                <a:gd name="connsiteX2" fmla="*/ 81809 w 113623"/>
                <a:gd name="connsiteY2" fmla="*/ 11363 h 34413"/>
                <a:gd name="connsiteX3" fmla="*/ 90899 w 113623"/>
                <a:gd name="connsiteY3" fmla="*/ 11363 h 34413"/>
                <a:gd name="connsiteX4" fmla="*/ 102261 w 113623"/>
                <a:gd name="connsiteY4" fmla="*/ 0 h 34413"/>
                <a:gd name="connsiteX5" fmla="*/ 113623 w 113623"/>
                <a:gd name="connsiteY5" fmla="*/ 18180 h 34413"/>
                <a:gd name="connsiteX6" fmla="*/ 109835 w 113623"/>
                <a:gd name="connsiteY6" fmla="*/ 19263 h 34413"/>
                <a:gd name="connsiteX7" fmla="*/ 113623 w 113623"/>
                <a:gd name="connsiteY7" fmla="*/ 25323 h 34413"/>
                <a:gd name="connsiteX8" fmla="*/ 97716 w 113623"/>
                <a:gd name="connsiteY8" fmla="*/ 29868 h 34413"/>
                <a:gd name="connsiteX9" fmla="*/ 81809 w 113623"/>
                <a:gd name="connsiteY9" fmla="*/ 29868 h 34413"/>
                <a:gd name="connsiteX10" fmla="*/ 63629 w 113623"/>
                <a:gd name="connsiteY10" fmla="*/ 25323 h 34413"/>
                <a:gd name="connsiteX11" fmla="*/ 47722 w 113623"/>
                <a:gd name="connsiteY11" fmla="*/ 29868 h 34413"/>
                <a:gd name="connsiteX12" fmla="*/ 43177 w 113623"/>
                <a:gd name="connsiteY12" fmla="*/ 29868 h 34413"/>
                <a:gd name="connsiteX13" fmla="*/ 31815 w 113623"/>
                <a:gd name="connsiteY13" fmla="*/ 34413 h 34413"/>
                <a:gd name="connsiteX14" fmla="*/ 0 w 113623"/>
                <a:gd name="connsiteY14" fmla="*/ 34413 h 34413"/>
                <a:gd name="connsiteX15" fmla="*/ 2041 w 113623"/>
                <a:gd name="connsiteY15" fmla="*/ 27270 h 34413"/>
                <a:gd name="connsiteX16" fmla="*/ 0 w 113623"/>
                <a:gd name="connsiteY16" fmla="*/ 27270 h 34413"/>
                <a:gd name="connsiteX17" fmla="*/ 4545 w 113623"/>
                <a:gd name="connsiteY17" fmla="*/ 11363 h 34413"/>
                <a:gd name="connsiteX18" fmla="*/ 43177 w 113623"/>
                <a:gd name="connsiteY18" fmla="*/ 11363 h 34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3623" h="34413">
                  <a:moveTo>
                    <a:pt x="54539" y="0"/>
                  </a:moveTo>
                  <a:lnTo>
                    <a:pt x="63629" y="0"/>
                  </a:lnTo>
                  <a:lnTo>
                    <a:pt x="81809" y="11363"/>
                  </a:lnTo>
                  <a:lnTo>
                    <a:pt x="90899" y="11363"/>
                  </a:lnTo>
                  <a:lnTo>
                    <a:pt x="102261" y="0"/>
                  </a:lnTo>
                  <a:lnTo>
                    <a:pt x="113623" y="18180"/>
                  </a:lnTo>
                  <a:lnTo>
                    <a:pt x="109835" y="19263"/>
                  </a:lnTo>
                  <a:lnTo>
                    <a:pt x="113623" y="25323"/>
                  </a:lnTo>
                  <a:lnTo>
                    <a:pt x="97716" y="29868"/>
                  </a:lnTo>
                  <a:lnTo>
                    <a:pt x="81809" y="29868"/>
                  </a:lnTo>
                  <a:lnTo>
                    <a:pt x="63629" y="25323"/>
                  </a:lnTo>
                  <a:lnTo>
                    <a:pt x="47722" y="29868"/>
                  </a:lnTo>
                  <a:lnTo>
                    <a:pt x="43177" y="29868"/>
                  </a:lnTo>
                  <a:lnTo>
                    <a:pt x="31815" y="34413"/>
                  </a:lnTo>
                  <a:lnTo>
                    <a:pt x="0" y="34413"/>
                  </a:lnTo>
                  <a:lnTo>
                    <a:pt x="2041" y="27270"/>
                  </a:lnTo>
                  <a:lnTo>
                    <a:pt x="0" y="27270"/>
                  </a:lnTo>
                  <a:lnTo>
                    <a:pt x="4545" y="11363"/>
                  </a:lnTo>
                  <a:lnTo>
                    <a:pt x="43177" y="11363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25" name="Freeform 125">
              <a:extLst>
                <a:ext uri="{FF2B5EF4-FFF2-40B4-BE49-F238E27FC236}">
                  <a16:creationId xmlns:a16="http://schemas.microsoft.com/office/drawing/2014/main" id="{ADA8C0E5-AC78-7682-967D-3B36DE845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1388" y="2953414"/>
              <a:ext cx="53843" cy="28413"/>
            </a:xfrm>
            <a:custGeom>
              <a:avLst/>
              <a:gdLst>
                <a:gd name="T0" fmla="*/ 50 w 50"/>
                <a:gd name="T1" fmla="*/ 0 h 26"/>
                <a:gd name="T2" fmla="*/ 50 w 50"/>
                <a:gd name="T3" fmla="*/ 0 h 26"/>
                <a:gd name="T4" fmla="*/ 48 w 50"/>
                <a:gd name="T5" fmla="*/ 7 h 26"/>
                <a:gd name="T6" fmla="*/ 48 w 50"/>
                <a:gd name="T7" fmla="*/ 7 h 26"/>
                <a:gd name="T8" fmla="*/ 48 w 50"/>
                <a:gd name="T9" fmla="*/ 12 h 26"/>
                <a:gd name="T10" fmla="*/ 45 w 50"/>
                <a:gd name="T11" fmla="*/ 14 h 26"/>
                <a:gd name="T12" fmla="*/ 43 w 50"/>
                <a:gd name="T13" fmla="*/ 14 h 26"/>
                <a:gd name="T14" fmla="*/ 38 w 50"/>
                <a:gd name="T15" fmla="*/ 19 h 26"/>
                <a:gd name="T16" fmla="*/ 34 w 50"/>
                <a:gd name="T17" fmla="*/ 19 h 26"/>
                <a:gd name="T18" fmla="*/ 26 w 50"/>
                <a:gd name="T19" fmla="*/ 26 h 26"/>
                <a:gd name="T20" fmla="*/ 17 w 50"/>
                <a:gd name="T21" fmla="*/ 19 h 26"/>
                <a:gd name="T22" fmla="*/ 12 w 50"/>
                <a:gd name="T23" fmla="*/ 19 h 26"/>
                <a:gd name="T24" fmla="*/ 8 w 50"/>
                <a:gd name="T25" fmla="*/ 12 h 26"/>
                <a:gd name="T26" fmla="*/ 8 w 50"/>
                <a:gd name="T27" fmla="*/ 9 h 26"/>
                <a:gd name="T28" fmla="*/ 3 w 50"/>
                <a:gd name="T29" fmla="*/ 7 h 26"/>
                <a:gd name="T30" fmla="*/ 0 w 50"/>
                <a:gd name="T31" fmla="*/ 5 h 26"/>
                <a:gd name="T32" fmla="*/ 10 w 50"/>
                <a:gd name="T33" fmla="*/ 0 h 26"/>
                <a:gd name="T34" fmla="*/ 15 w 50"/>
                <a:gd name="T35" fmla="*/ 2 h 26"/>
                <a:gd name="T36" fmla="*/ 19 w 50"/>
                <a:gd name="T37" fmla="*/ 0 h 26"/>
                <a:gd name="T38" fmla="*/ 50 w 50"/>
                <a:gd name="T3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0" h="26">
                  <a:moveTo>
                    <a:pt x="50" y="0"/>
                  </a:moveTo>
                  <a:lnTo>
                    <a:pt x="50" y="0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12"/>
                  </a:lnTo>
                  <a:lnTo>
                    <a:pt x="45" y="14"/>
                  </a:lnTo>
                  <a:lnTo>
                    <a:pt x="43" y="14"/>
                  </a:lnTo>
                  <a:lnTo>
                    <a:pt x="38" y="19"/>
                  </a:lnTo>
                  <a:lnTo>
                    <a:pt x="34" y="19"/>
                  </a:lnTo>
                  <a:lnTo>
                    <a:pt x="26" y="26"/>
                  </a:lnTo>
                  <a:lnTo>
                    <a:pt x="17" y="19"/>
                  </a:lnTo>
                  <a:lnTo>
                    <a:pt x="12" y="19"/>
                  </a:lnTo>
                  <a:lnTo>
                    <a:pt x="8" y="12"/>
                  </a:lnTo>
                  <a:lnTo>
                    <a:pt x="8" y="9"/>
                  </a:lnTo>
                  <a:lnTo>
                    <a:pt x="3" y="7"/>
                  </a:lnTo>
                  <a:lnTo>
                    <a:pt x="0" y="5"/>
                  </a:lnTo>
                  <a:lnTo>
                    <a:pt x="10" y="0"/>
                  </a:lnTo>
                  <a:lnTo>
                    <a:pt x="15" y="2"/>
                  </a:lnTo>
                  <a:lnTo>
                    <a:pt x="19" y="0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26" name="Freeform 129">
              <a:extLst>
                <a:ext uri="{FF2B5EF4-FFF2-40B4-BE49-F238E27FC236}">
                  <a16:creationId xmlns:a16="http://schemas.microsoft.com/office/drawing/2014/main" id="{E5109E8E-185C-6D9D-D043-AFB2CC34D6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03194" y="2363187"/>
              <a:ext cx="115225" cy="155181"/>
            </a:xfrm>
            <a:custGeom>
              <a:avLst/>
              <a:gdLst>
                <a:gd name="T0" fmla="*/ 60 w 107"/>
                <a:gd name="T1" fmla="*/ 126 h 142"/>
                <a:gd name="T2" fmla="*/ 60 w 107"/>
                <a:gd name="T3" fmla="*/ 126 h 142"/>
                <a:gd name="T4" fmla="*/ 67 w 107"/>
                <a:gd name="T5" fmla="*/ 133 h 142"/>
                <a:gd name="T6" fmla="*/ 81 w 107"/>
                <a:gd name="T7" fmla="*/ 133 h 142"/>
                <a:gd name="T8" fmla="*/ 93 w 107"/>
                <a:gd name="T9" fmla="*/ 133 h 142"/>
                <a:gd name="T10" fmla="*/ 93 w 107"/>
                <a:gd name="T11" fmla="*/ 138 h 142"/>
                <a:gd name="T12" fmla="*/ 100 w 107"/>
                <a:gd name="T13" fmla="*/ 135 h 142"/>
                <a:gd name="T14" fmla="*/ 97 w 107"/>
                <a:gd name="T15" fmla="*/ 140 h 142"/>
                <a:gd name="T16" fmla="*/ 76 w 107"/>
                <a:gd name="T17" fmla="*/ 142 h 142"/>
                <a:gd name="T18" fmla="*/ 76 w 107"/>
                <a:gd name="T19" fmla="*/ 138 h 142"/>
                <a:gd name="T20" fmla="*/ 55 w 107"/>
                <a:gd name="T21" fmla="*/ 135 h 142"/>
                <a:gd name="T22" fmla="*/ 60 w 107"/>
                <a:gd name="T23" fmla="*/ 126 h 142"/>
                <a:gd name="T24" fmla="*/ 107 w 107"/>
                <a:gd name="T25" fmla="*/ 5 h 142"/>
                <a:gd name="T26" fmla="*/ 107 w 107"/>
                <a:gd name="T27" fmla="*/ 5 h 142"/>
                <a:gd name="T28" fmla="*/ 100 w 107"/>
                <a:gd name="T29" fmla="*/ 19 h 142"/>
                <a:gd name="T30" fmla="*/ 97 w 107"/>
                <a:gd name="T31" fmla="*/ 22 h 142"/>
                <a:gd name="T32" fmla="*/ 86 w 107"/>
                <a:gd name="T33" fmla="*/ 22 h 142"/>
                <a:gd name="T34" fmla="*/ 79 w 107"/>
                <a:gd name="T35" fmla="*/ 19 h 142"/>
                <a:gd name="T36" fmla="*/ 60 w 107"/>
                <a:gd name="T37" fmla="*/ 24 h 142"/>
                <a:gd name="T38" fmla="*/ 69 w 107"/>
                <a:gd name="T39" fmla="*/ 38 h 142"/>
                <a:gd name="T40" fmla="*/ 62 w 107"/>
                <a:gd name="T41" fmla="*/ 41 h 142"/>
                <a:gd name="T42" fmla="*/ 53 w 107"/>
                <a:gd name="T43" fmla="*/ 41 h 142"/>
                <a:gd name="T44" fmla="*/ 45 w 107"/>
                <a:gd name="T45" fmla="*/ 29 h 142"/>
                <a:gd name="T46" fmla="*/ 41 w 107"/>
                <a:gd name="T47" fmla="*/ 34 h 142"/>
                <a:gd name="T48" fmla="*/ 45 w 107"/>
                <a:gd name="T49" fmla="*/ 45 h 142"/>
                <a:gd name="T50" fmla="*/ 53 w 107"/>
                <a:gd name="T51" fmla="*/ 57 h 142"/>
                <a:gd name="T52" fmla="*/ 48 w 107"/>
                <a:gd name="T53" fmla="*/ 60 h 142"/>
                <a:gd name="T54" fmla="*/ 57 w 107"/>
                <a:gd name="T55" fmla="*/ 71 h 142"/>
                <a:gd name="T56" fmla="*/ 64 w 107"/>
                <a:gd name="T57" fmla="*/ 76 h 142"/>
                <a:gd name="T58" fmla="*/ 64 w 107"/>
                <a:gd name="T59" fmla="*/ 88 h 142"/>
                <a:gd name="T60" fmla="*/ 50 w 107"/>
                <a:gd name="T61" fmla="*/ 83 h 142"/>
                <a:gd name="T62" fmla="*/ 55 w 107"/>
                <a:gd name="T63" fmla="*/ 93 h 142"/>
                <a:gd name="T64" fmla="*/ 43 w 107"/>
                <a:gd name="T65" fmla="*/ 95 h 142"/>
                <a:gd name="T66" fmla="*/ 50 w 107"/>
                <a:gd name="T67" fmla="*/ 112 h 142"/>
                <a:gd name="T68" fmla="*/ 38 w 107"/>
                <a:gd name="T69" fmla="*/ 114 h 142"/>
                <a:gd name="T70" fmla="*/ 26 w 107"/>
                <a:gd name="T71" fmla="*/ 105 h 142"/>
                <a:gd name="T72" fmla="*/ 19 w 107"/>
                <a:gd name="T73" fmla="*/ 88 h 142"/>
                <a:gd name="T74" fmla="*/ 17 w 107"/>
                <a:gd name="T75" fmla="*/ 74 h 142"/>
                <a:gd name="T76" fmla="*/ 12 w 107"/>
                <a:gd name="T77" fmla="*/ 64 h 142"/>
                <a:gd name="T78" fmla="*/ 3 w 107"/>
                <a:gd name="T79" fmla="*/ 53 h 142"/>
                <a:gd name="T80" fmla="*/ 0 w 107"/>
                <a:gd name="T81" fmla="*/ 48 h 142"/>
                <a:gd name="T82" fmla="*/ 10 w 107"/>
                <a:gd name="T83" fmla="*/ 38 h 142"/>
                <a:gd name="T84" fmla="*/ 10 w 107"/>
                <a:gd name="T85" fmla="*/ 31 h 142"/>
                <a:gd name="T86" fmla="*/ 15 w 107"/>
                <a:gd name="T87" fmla="*/ 27 h 142"/>
                <a:gd name="T88" fmla="*/ 15 w 107"/>
                <a:gd name="T89" fmla="*/ 22 h 142"/>
                <a:gd name="T90" fmla="*/ 26 w 107"/>
                <a:gd name="T91" fmla="*/ 19 h 142"/>
                <a:gd name="T92" fmla="*/ 34 w 107"/>
                <a:gd name="T93" fmla="*/ 15 h 142"/>
                <a:gd name="T94" fmla="*/ 41 w 107"/>
                <a:gd name="T95" fmla="*/ 15 h 142"/>
                <a:gd name="T96" fmla="*/ 43 w 107"/>
                <a:gd name="T97" fmla="*/ 12 h 142"/>
                <a:gd name="T98" fmla="*/ 48 w 107"/>
                <a:gd name="T99" fmla="*/ 12 h 142"/>
                <a:gd name="T100" fmla="*/ 60 w 107"/>
                <a:gd name="T101" fmla="*/ 12 h 142"/>
                <a:gd name="T102" fmla="*/ 71 w 107"/>
                <a:gd name="T103" fmla="*/ 5 h 142"/>
                <a:gd name="T104" fmla="*/ 83 w 107"/>
                <a:gd name="T105" fmla="*/ 15 h 142"/>
                <a:gd name="T106" fmla="*/ 97 w 107"/>
                <a:gd name="T107" fmla="*/ 12 h 142"/>
                <a:gd name="T108" fmla="*/ 97 w 107"/>
                <a:gd name="T109" fmla="*/ 0 h 142"/>
                <a:gd name="T110" fmla="*/ 107 w 107"/>
                <a:gd name="T111" fmla="*/ 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7" h="142">
                  <a:moveTo>
                    <a:pt x="60" y="126"/>
                  </a:moveTo>
                  <a:lnTo>
                    <a:pt x="60" y="126"/>
                  </a:lnTo>
                  <a:lnTo>
                    <a:pt x="67" y="133"/>
                  </a:lnTo>
                  <a:lnTo>
                    <a:pt x="81" y="133"/>
                  </a:lnTo>
                  <a:lnTo>
                    <a:pt x="93" y="133"/>
                  </a:lnTo>
                  <a:lnTo>
                    <a:pt x="93" y="138"/>
                  </a:lnTo>
                  <a:lnTo>
                    <a:pt x="100" y="135"/>
                  </a:lnTo>
                  <a:lnTo>
                    <a:pt x="97" y="140"/>
                  </a:lnTo>
                  <a:lnTo>
                    <a:pt x="76" y="142"/>
                  </a:lnTo>
                  <a:lnTo>
                    <a:pt x="76" y="138"/>
                  </a:lnTo>
                  <a:lnTo>
                    <a:pt x="55" y="135"/>
                  </a:lnTo>
                  <a:lnTo>
                    <a:pt x="60" y="126"/>
                  </a:lnTo>
                  <a:close/>
                  <a:moveTo>
                    <a:pt x="107" y="5"/>
                  </a:moveTo>
                  <a:lnTo>
                    <a:pt x="107" y="5"/>
                  </a:lnTo>
                  <a:lnTo>
                    <a:pt x="100" y="19"/>
                  </a:lnTo>
                  <a:lnTo>
                    <a:pt x="97" y="22"/>
                  </a:lnTo>
                  <a:lnTo>
                    <a:pt x="86" y="22"/>
                  </a:lnTo>
                  <a:lnTo>
                    <a:pt x="79" y="19"/>
                  </a:lnTo>
                  <a:lnTo>
                    <a:pt x="60" y="24"/>
                  </a:lnTo>
                  <a:lnTo>
                    <a:pt x="69" y="38"/>
                  </a:lnTo>
                  <a:lnTo>
                    <a:pt x="62" y="41"/>
                  </a:lnTo>
                  <a:lnTo>
                    <a:pt x="53" y="41"/>
                  </a:lnTo>
                  <a:lnTo>
                    <a:pt x="45" y="29"/>
                  </a:lnTo>
                  <a:lnTo>
                    <a:pt x="41" y="34"/>
                  </a:lnTo>
                  <a:lnTo>
                    <a:pt x="45" y="45"/>
                  </a:lnTo>
                  <a:lnTo>
                    <a:pt x="53" y="57"/>
                  </a:lnTo>
                  <a:lnTo>
                    <a:pt x="48" y="60"/>
                  </a:lnTo>
                  <a:lnTo>
                    <a:pt x="57" y="71"/>
                  </a:lnTo>
                  <a:lnTo>
                    <a:pt x="64" y="76"/>
                  </a:lnTo>
                  <a:lnTo>
                    <a:pt x="64" y="88"/>
                  </a:lnTo>
                  <a:lnTo>
                    <a:pt x="50" y="83"/>
                  </a:lnTo>
                  <a:lnTo>
                    <a:pt x="55" y="93"/>
                  </a:lnTo>
                  <a:lnTo>
                    <a:pt x="43" y="95"/>
                  </a:lnTo>
                  <a:lnTo>
                    <a:pt x="50" y="112"/>
                  </a:lnTo>
                  <a:lnTo>
                    <a:pt x="38" y="114"/>
                  </a:lnTo>
                  <a:lnTo>
                    <a:pt x="26" y="105"/>
                  </a:lnTo>
                  <a:lnTo>
                    <a:pt x="19" y="88"/>
                  </a:lnTo>
                  <a:lnTo>
                    <a:pt x="17" y="74"/>
                  </a:lnTo>
                  <a:lnTo>
                    <a:pt x="12" y="64"/>
                  </a:lnTo>
                  <a:lnTo>
                    <a:pt x="3" y="53"/>
                  </a:lnTo>
                  <a:lnTo>
                    <a:pt x="0" y="48"/>
                  </a:lnTo>
                  <a:lnTo>
                    <a:pt x="10" y="38"/>
                  </a:lnTo>
                  <a:lnTo>
                    <a:pt x="10" y="31"/>
                  </a:lnTo>
                  <a:lnTo>
                    <a:pt x="15" y="27"/>
                  </a:lnTo>
                  <a:lnTo>
                    <a:pt x="15" y="22"/>
                  </a:lnTo>
                  <a:lnTo>
                    <a:pt x="26" y="19"/>
                  </a:lnTo>
                  <a:lnTo>
                    <a:pt x="34" y="15"/>
                  </a:lnTo>
                  <a:lnTo>
                    <a:pt x="41" y="15"/>
                  </a:lnTo>
                  <a:lnTo>
                    <a:pt x="43" y="12"/>
                  </a:lnTo>
                  <a:lnTo>
                    <a:pt x="48" y="12"/>
                  </a:lnTo>
                  <a:lnTo>
                    <a:pt x="60" y="12"/>
                  </a:lnTo>
                  <a:lnTo>
                    <a:pt x="71" y="5"/>
                  </a:lnTo>
                  <a:lnTo>
                    <a:pt x="83" y="15"/>
                  </a:lnTo>
                  <a:lnTo>
                    <a:pt x="97" y="12"/>
                  </a:lnTo>
                  <a:lnTo>
                    <a:pt x="97" y="0"/>
                  </a:lnTo>
                  <a:lnTo>
                    <a:pt x="107" y="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27" name="Freeform 131">
              <a:extLst>
                <a:ext uri="{FF2B5EF4-FFF2-40B4-BE49-F238E27FC236}">
                  <a16:creationId xmlns:a16="http://schemas.microsoft.com/office/drawing/2014/main" id="{877E1A3C-68EB-89D8-75A4-D5FCEE068BD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6065" y="265073"/>
              <a:ext cx="1065010" cy="1583499"/>
            </a:xfrm>
            <a:custGeom>
              <a:avLst/>
              <a:gdLst>
                <a:gd name="T0" fmla="*/ 849 w 989"/>
                <a:gd name="T1" fmla="*/ 126 h 1449"/>
                <a:gd name="T2" fmla="*/ 669 w 989"/>
                <a:gd name="T3" fmla="*/ 190 h 1449"/>
                <a:gd name="T4" fmla="*/ 783 w 989"/>
                <a:gd name="T5" fmla="*/ 237 h 1449"/>
                <a:gd name="T6" fmla="*/ 811 w 989"/>
                <a:gd name="T7" fmla="*/ 308 h 1449"/>
                <a:gd name="T8" fmla="*/ 979 w 989"/>
                <a:gd name="T9" fmla="*/ 247 h 1449"/>
                <a:gd name="T10" fmla="*/ 913 w 989"/>
                <a:gd name="T11" fmla="*/ 386 h 1449"/>
                <a:gd name="T12" fmla="*/ 880 w 989"/>
                <a:gd name="T13" fmla="*/ 474 h 1449"/>
                <a:gd name="T14" fmla="*/ 887 w 989"/>
                <a:gd name="T15" fmla="*/ 666 h 1449"/>
                <a:gd name="T16" fmla="*/ 863 w 989"/>
                <a:gd name="T17" fmla="*/ 727 h 1449"/>
                <a:gd name="T18" fmla="*/ 873 w 989"/>
                <a:gd name="T19" fmla="*/ 841 h 1449"/>
                <a:gd name="T20" fmla="*/ 849 w 989"/>
                <a:gd name="T21" fmla="*/ 888 h 1449"/>
                <a:gd name="T22" fmla="*/ 826 w 989"/>
                <a:gd name="T23" fmla="*/ 933 h 1449"/>
                <a:gd name="T24" fmla="*/ 785 w 989"/>
                <a:gd name="T25" fmla="*/ 950 h 1449"/>
                <a:gd name="T26" fmla="*/ 835 w 989"/>
                <a:gd name="T27" fmla="*/ 1035 h 1449"/>
                <a:gd name="T28" fmla="*/ 773 w 989"/>
                <a:gd name="T29" fmla="*/ 997 h 1449"/>
                <a:gd name="T30" fmla="*/ 802 w 989"/>
                <a:gd name="T31" fmla="*/ 1059 h 1449"/>
                <a:gd name="T32" fmla="*/ 736 w 989"/>
                <a:gd name="T33" fmla="*/ 1137 h 1449"/>
                <a:gd name="T34" fmla="*/ 655 w 989"/>
                <a:gd name="T35" fmla="*/ 1167 h 1449"/>
                <a:gd name="T36" fmla="*/ 587 w 989"/>
                <a:gd name="T37" fmla="*/ 1241 h 1449"/>
                <a:gd name="T38" fmla="*/ 528 w 989"/>
                <a:gd name="T39" fmla="*/ 1283 h 1449"/>
                <a:gd name="T40" fmla="*/ 492 w 989"/>
                <a:gd name="T41" fmla="*/ 1362 h 1449"/>
                <a:gd name="T42" fmla="*/ 485 w 989"/>
                <a:gd name="T43" fmla="*/ 1449 h 1449"/>
                <a:gd name="T44" fmla="*/ 405 w 989"/>
                <a:gd name="T45" fmla="*/ 1423 h 1449"/>
                <a:gd name="T46" fmla="*/ 350 w 989"/>
                <a:gd name="T47" fmla="*/ 1328 h 1449"/>
                <a:gd name="T48" fmla="*/ 317 w 989"/>
                <a:gd name="T49" fmla="*/ 1234 h 1449"/>
                <a:gd name="T50" fmla="*/ 329 w 989"/>
                <a:gd name="T51" fmla="*/ 1141 h 1449"/>
                <a:gd name="T52" fmla="*/ 362 w 989"/>
                <a:gd name="T53" fmla="*/ 1070 h 1449"/>
                <a:gd name="T54" fmla="*/ 322 w 989"/>
                <a:gd name="T55" fmla="*/ 1099 h 1449"/>
                <a:gd name="T56" fmla="*/ 305 w 989"/>
                <a:gd name="T57" fmla="*/ 1028 h 1449"/>
                <a:gd name="T58" fmla="*/ 326 w 989"/>
                <a:gd name="T59" fmla="*/ 1006 h 1449"/>
                <a:gd name="T60" fmla="*/ 282 w 989"/>
                <a:gd name="T61" fmla="*/ 985 h 1449"/>
                <a:gd name="T62" fmla="*/ 277 w 989"/>
                <a:gd name="T63" fmla="*/ 876 h 1449"/>
                <a:gd name="T64" fmla="*/ 237 w 989"/>
                <a:gd name="T65" fmla="*/ 763 h 1449"/>
                <a:gd name="T66" fmla="*/ 116 w 989"/>
                <a:gd name="T67" fmla="*/ 722 h 1449"/>
                <a:gd name="T68" fmla="*/ 31 w 989"/>
                <a:gd name="T69" fmla="*/ 663 h 1449"/>
                <a:gd name="T70" fmla="*/ 36 w 989"/>
                <a:gd name="T71" fmla="*/ 616 h 1449"/>
                <a:gd name="T72" fmla="*/ 64 w 989"/>
                <a:gd name="T73" fmla="*/ 516 h 1449"/>
                <a:gd name="T74" fmla="*/ 85 w 989"/>
                <a:gd name="T75" fmla="*/ 410 h 1449"/>
                <a:gd name="T76" fmla="*/ 177 w 989"/>
                <a:gd name="T77" fmla="*/ 289 h 1449"/>
                <a:gd name="T78" fmla="*/ 260 w 989"/>
                <a:gd name="T79" fmla="*/ 192 h 1449"/>
                <a:gd name="T80" fmla="*/ 371 w 989"/>
                <a:gd name="T81" fmla="*/ 161 h 1449"/>
                <a:gd name="T82" fmla="*/ 466 w 989"/>
                <a:gd name="T83" fmla="*/ 251 h 1449"/>
                <a:gd name="T84" fmla="*/ 483 w 989"/>
                <a:gd name="T85" fmla="*/ 60 h 1449"/>
                <a:gd name="T86" fmla="*/ 617 w 989"/>
                <a:gd name="T87" fmla="*/ 0 h 1449"/>
                <a:gd name="T88" fmla="*/ 747 w 989"/>
                <a:gd name="T89" fmla="*/ 19 h 1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89" h="1449">
                  <a:moveTo>
                    <a:pt x="747" y="19"/>
                  </a:moveTo>
                  <a:lnTo>
                    <a:pt x="747" y="19"/>
                  </a:lnTo>
                  <a:lnTo>
                    <a:pt x="849" y="126"/>
                  </a:lnTo>
                  <a:lnTo>
                    <a:pt x="818" y="173"/>
                  </a:lnTo>
                  <a:lnTo>
                    <a:pt x="757" y="178"/>
                  </a:lnTo>
                  <a:lnTo>
                    <a:pt x="669" y="190"/>
                  </a:lnTo>
                  <a:lnTo>
                    <a:pt x="677" y="211"/>
                  </a:lnTo>
                  <a:lnTo>
                    <a:pt x="736" y="199"/>
                  </a:lnTo>
                  <a:lnTo>
                    <a:pt x="783" y="237"/>
                  </a:lnTo>
                  <a:lnTo>
                    <a:pt x="814" y="204"/>
                  </a:lnTo>
                  <a:lnTo>
                    <a:pt x="828" y="244"/>
                  </a:lnTo>
                  <a:lnTo>
                    <a:pt x="811" y="308"/>
                  </a:lnTo>
                  <a:lnTo>
                    <a:pt x="852" y="268"/>
                  </a:lnTo>
                  <a:lnTo>
                    <a:pt x="930" y="225"/>
                  </a:lnTo>
                  <a:lnTo>
                    <a:pt x="979" y="247"/>
                  </a:lnTo>
                  <a:lnTo>
                    <a:pt x="989" y="292"/>
                  </a:lnTo>
                  <a:lnTo>
                    <a:pt x="923" y="365"/>
                  </a:lnTo>
                  <a:lnTo>
                    <a:pt x="913" y="386"/>
                  </a:lnTo>
                  <a:lnTo>
                    <a:pt x="861" y="403"/>
                  </a:lnTo>
                  <a:lnTo>
                    <a:pt x="899" y="408"/>
                  </a:lnTo>
                  <a:lnTo>
                    <a:pt x="880" y="474"/>
                  </a:lnTo>
                  <a:lnTo>
                    <a:pt x="866" y="528"/>
                  </a:lnTo>
                  <a:lnTo>
                    <a:pt x="868" y="616"/>
                  </a:lnTo>
                  <a:lnTo>
                    <a:pt x="887" y="666"/>
                  </a:lnTo>
                  <a:lnTo>
                    <a:pt x="861" y="668"/>
                  </a:lnTo>
                  <a:lnTo>
                    <a:pt x="835" y="689"/>
                  </a:lnTo>
                  <a:lnTo>
                    <a:pt x="863" y="727"/>
                  </a:lnTo>
                  <a:lnTo>
                    <a:pt x="868" y="782"/>
                  </a:lnTo>
                  <a:lnTo>
                    <a:pt x="852" y="786"/>
                  </a:lnTo>
                  <a:lnTo>
                    <a:pt x="873" y="841"/>
                  </a:lnTo>
                  <a:lnTo>
                    <a:pt x="835" y="843"/>
                  </a:lnTo>
                  <a:lnTo>
                    <a:pt x="856" y="869"/>
                  </a:lnTo>
                  <a:lnTo>
                    <a:pt x="849" y="888"/>
                  </a:lnTo>
                  <a:lnTo>
                    <a:pt x="828" y="895"/>
                  </a:lnTo>
                  <a:lnTo>
                    <a:pt x="804" y="895"/>
                  </a:lnTo>
                  <a:lnTo>
                    <a:pt x="826" y="933"/>
                  </a:lnTo>
                  <a:lnTo>
                    <a:pt x="826" y="957"/>
                  </a:lnTo>
                  <a:lnTo>
                    <a:pt x="792" y="935"/>
                  </a:lnTo>
                  <a:lnTo>
                    <a:pt x="785" y="950"/>
                  </a:lnTo>
                  <a:lnTo>
                    <a:pt x="807" y="964"/>
                  </a:lnTo>
                  <a:lnTo>
                    <a:pt x="828" y="995"/>
                  </a:lnTo>
                  <a:lnTo>
                    <a:pt x="835" y="1035"/>
                  </a:lnTo>
                  <a:lnTo>
                    <a:pt x="804" y="1044"/>
                  </a:lnTo>
                  <a:lnTo>
                    <a:pt x="792" y="1025"/>
                  </a:lnTo>
                  <a:lnTo>
                    <a:pt x="773" y="997"/>
                  </a:lnTo>
                  <a:lnTo>
                    <a:pt x="778" y="1030"/>
                  </a:lnTo>
                  <a:lnTo>
                    <a:pt x="759" y="1056"/>
                  </a:lnTo>
                  <a:lnTo>
                    <a:pt x="802" y="1059"/>
                  </a:lnTo>
                  <a:lnTo>
                    <a:pt x="823" y="1061"/>
                  </a:lnTo>
                  <a:lnTo>
                    <a:pt x="781" y="1101"/>
                  </a:lnTo>
                  <a:lnTo>
                    <a:pt x="736" y="1137"/>
                  </a:lnTo>
                  <a:lnTo>
                    <a:pt x="688" y="1151"/>
                  </a:lnTo>
                  <a:lnTo>
                    <a:pt x="672" y="1151"/>
                  </a:lnTo>
                  <a:lnTo>
                    <a:pt x="655" y="1167"/>
                  </a:lnTo>
                  <a:lnTo>
                    <a:pt x="632" y="1210"/>
                  </a:lnTo>
                  <a:lnTo>
                    <a:pt x="598" y="1238"/>
                  </a:lnTo>
                  <a:lnTo>
                    <a:pt x="587" y="1241"/>
                  </a:lnTo>
                  <a:lnTo>
                    <a:pt x="565" y="1250"/>
                  </a:lnTo>
                  <a:lnTo>
                    <a:pt x="542" y="1260"/>
                  </a:lnTo>
                  <a:lnTo>
                    <a:pt x="528" y="1283"/>
                  </a:lnTo>
                  <a:lnTo>
                    <a:pt x="528" y="1309"/>
                  </a:lnTo>
                  <a:lnTo>
                    <a:pt x="518" y="1333"/>
                  </a:lnTo>
                  <a:lnTo>
                    <a:pt x="492" y="1362"/>
                  </a:lnTo>
                  <a:lnTo>
                    <a:pt x="499" y="1388"/>
                  </a:lnTo>
                  <a:lnTo>
                    <a:pt x="492" y="1416"/>
                  </a:lnTo>
                  <a:lnTo>
                    <a:pt x="485" y="1449"/>
                  </a:lnTo>
                  <a:lnTo>
                    <a:pt x="461" y="1449"/>
                  </a:lnTo>
                  <a:lnTo>
                    <a:pt x="438" y="1423"/>
                  </a:lnTo>
                  <a:lnTo>
                    <a:pt x="405" y="1423"/>
                  </a:lnTo>
                  <a:lnTo>
                    <a:pt x="388" y="1404"/>
                  </a:lnTo>
                  <a:lnTo>
                    <a:pt x="378" y="1373"/>
                  </a:lnTo>
                  <a:lnTo>
                    <a:pt x="350" y="1328"/>
                  </a:lnTo>
                  <a:lnTo>
                    <a:pt x="343" y="1305"/>
                  </a:lnTo>
                  <a:lnTo>
                    <a:pt x="341" y="1272"/>
                  </a:lnTo>
                  <a:lnTo>
                    <a:pt x="317" y="1234"/>
                  </a:lnTo>
                  <a:lnTo>
                    <a:pt x="324" y="1205"/>
                  </a:lnTo>
                  <a:lnTo>
                    <a:pt x="312" y="1189"/>
                  </a:lnTo>
                  <a:lnTo>
                    <a:pt x="329" y="1141"/>
                  </a:lnTo>
                  <a:lnTo>
                    <a:pt x="352" y="1125"/>
                  </a:lnTo>
                  <a:lnTo>
                    <a:pt x="360" y="1106"/>
                  </a:lnTo>
                  <a:lnTo>
                    <a:pt x="362" y="1070"/>
                  </a:lnTo>
                  <a:lnTo>
                    <a:pt x="343" y="1085"/>
                  </a:lnTo>
                  <a:lnTo>
                    <a:pt x="336" y="1092"/>
                  </a:lnTo>
                  <a:lnTo>
                    <a:pt x="322" y="1099"/>
                  </a:lnTo>
                  <a:lnTo>
                    <a:pt x="300" y="1085"/>
                  </a:lnTo>
                  <a:lnTo>
                    <a:pt x="300" y="1051"/>
                  </a:lnTo>
                  <a:lnTo>
                    <a:pt x="305" y="1028"/>
                  </a:lnTo>
                  <a:lnTo>
                    <a:pt x="322" y="1025"/>
                  </a:lnTo>
                  <a:lnTo>
                    <a:pt x="355" y="1040"/>
                  </a:lnTo>
                  <a:lnTo>
                    <a:pt x="326" y="1006"/>
                  </a:lnTo>
                  <a:lnTo>
                    <a:pt x="312" y="990"/>
                  </a:lnTo>
                  <a:lnTo>
                    <a:pt x="296" y="997"/>
                  </a:lnTo>
                  <a:lnTo>
                    <a:pt x="282" y="985"/>
                  </a:lnTo>
                  <a:lnTo>
                    <a:pt x="300" y="935"/>
                  </a:lnTo>
                  <a:lnTo>
                    <a:pt x="291" y="917"/>
                  </a:lnTo>
                  <a:lnTo>
                    <a:pt x="277" y="876"/>
                  </a:lnTo>
                  <a:lnTo>
                    <a:pt x="258" y="815"/>
                  </a:lnTo>
                  <a:lnTo>
                    <a:pt x="237" y="791"/>
                  </a:lnTo>
                  <a:lnTo>
                    <a:pt x="237" y="763"/>
                  </a:lnTo>
                  <a:lnTo>
                    <a:pt x="194" y="725"/>
                  </a:lnTo>
                  <a:lnTo>
                    <a:pt x="161" y="720"/>
                  </a:lnTo>
                  <a:lnTo>
                    <a:pt x="116" y="722"/>
                  </a:lnTo>
                  <a:lnTo>
                    <a:pt x="78" y="730"/>
                  </a:lnTo>
                  <a:lnTo>
                    <a:pt x="59" y="706"/>
                  </a:lnTo>
                  <a:lnTo>
                    <a:pt x="31" y="663"/>
                  </a:lnTo>
                  <a:lnTo>
                    <a:pt x="73" y="640"/>
                  </a:lnTo>
                  <a:lnTo>
                    <a:pt x="104" y="635"/>
                  </a:lnTo>
                  <a:lnTo>
                    <a:pt x="36" y="616"/>
                  </a:lnTo>
                  <a:lnTo>
                    <a:pt x="0" y="585"/>
                  </a:lnTo>
                  <a:lnTo>
                    <a:pt x="2" y="554"/>
                  </a:lnTo>
                  <a:lnTo>
                    <a:pt x="64" y="516"/>
                  </a:lnTo>
                  <a:lnTo>
                    <a:pt x="123" y="474"/>
                  </a:lnTo>
                  <a:lnTo>
                    <a:pt x="128" y="443"/>
                  </a:lnTo>
                  <a:lnTo>
                    <a:pt x="85" y="410"/>
                  </a:lnTo>
                  <a:lnTo>
                    <a:pt x="99" y="372"/>
                  </a:lnTo>
                  <a:lnTo>
                    <a:pt x="154" y="301"/>
                  </a:lnTo>
                  <a:lnTo>
                    <a:pt x="177" y="289"/>
                  </a:lnTo>
                  <a:lnTo>
                    <a:pt x="170" y="240"/>
                  </a:lnTo>
                  <a:lnTo>
                    <a:pt x="211" y="209"/>
                  </a:lnTo>
                  <a:lnTo>
                    <a:pt x="260" y="192"/>
                  </a:lnTo>
                  <a:lnTo>
                    <a:pt x="310" y="190"/>
                  </a:lnTo>
                  <a:lnTo>
                    <a:pt x="329" y="228"/>
                  </a:lnTo>
                  <a:lnTo>
                    <a:pt x="371" y="161"/>
                  </a:lnTo>
                  <a:lnTo>
                    <a:pt x="409" y="206"/>
                  </a:lnTo>
                  <a:lnTo>
                    <a:pt x="433" y="216"/>
                  </a:lnTo>
                  <a:lnTo>
                    <a:pt x="466" y="251"/>
                  </a:lnTo>
                  <a:lnTo>
                    <a:pt x="426" y="190"/>
                  </a:lnTo>
                  <a:lnTo>
                    <a:pt x="428" y="138"/>
                  </a:lnTo>
                  <a:lnTo>
                    <a:pt x="483" y="60"/>
                  </a:lnTo>
                  <a:lnTo>
                    <a:pt x="539" y="67"/>
                  </a:lnTo>
                  <a:lnTo>
                    <a:pt x="561" y="15"/>
                  </a:lnTo>
                  <a:lnTo>
                    <a:pt x="617" y="0"/>
                  </a:lnTo>
                  <a:lnTo>
                    <a:pt x="747" y="19"/>
                  </a:lnTo>
                  <a:lnTo>
                    <a:pt x="747" y="19"/>
                  </a:lnTo>
                  <a:lnTo>
                    <a:pt x="747" y="19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28" name="Freeform 132">
              <a:extLst>
                <a:ext uri="{FF2B5EF4-FFF2-40B4-BE49-F238E27FC236}">
                  <a16:creationId xmlns:a16="http://schemas.microsoft.com/office/drawing/2014/main" id="{3F129A1E-260F-DFAE-CEAC-B23223E48EA4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5471" y="2857246"/>
              <a:ext cx="71072" cy="75406"/>
            </a:xfrm>
            <a:custGeom>
              <a:avLst/>
              <a:gdLst>
                <a:gd name="T0" fmla="*/ 49 w 66"/>
                <a:gd name="T1" fmla="*/ 14 h 69"/>
                <a:gd name="T2" fmla="*/ 49 w 66"/>
                <a:gd name="T3" fmla="*/ 14 h 69"/>
                <a:gd name="T4" fmla="*/ 49 w 66"/>
                <a:gd name="T5" fmla="*/ 33 h 69"/>
                <a:gd name="T6" fmla="*/ 54 w 66"/>
                <a:gd name="T7" fmla="*/ 33 h 69"/>
                <a:gd name="T8" fmla="*/ 59 w 66"/>
                <a:gd name="T9" fmla="*/ 36 h 69"/>
                <a:gd name="T10" fmla="*/ 61 w 66"/>
                <a:gd name="T11" fmla="*/ 33 h 69"/>
                <a:gd name="T12" fmla="*/ 66 w 66"/>
                <a:gd name="T13" fmla="*/ 36 h 69"/>
                <a:gd name="T14" fmla="*/ 56 w 66"/>
                <a:gd name="T15" fmla="*/ 43 h 69"/>
                <a:gd name="T16" fmla="*/ 49 w 66"/>
                <a:gd name="T17" fmla="*/ 48 h 69"/>
                <a:gd name="T18" fmla="*/ 49 w 66"/>
                <a:gd name="T19" fmla="*/ 50 h 69"/>
                <a:gd name="T20" fmla="*/ 52 w 66"/>
                <a:gd name="T21" fmla="*/ 52 h 69"/>
                <a:gd name="T22" fmla="*/ 47 w 66"/>
                <a:gd name="T23" fmla="*/ 57 h 69"/>
                <a:gd name="T24" fmla="*/ 42 w 66"/>
                <a:gd name="T25" fmla="*/ 59 h 69"/>
                <a:gd name="T26" fmla="*/ 44 w 66"/>
                <a:gd name="T27" fmla="*/ 59 h 69"/>
                <a:gd name="T28" fmla="*/ 40 w 66"/>
                <a:gd name="T29" fmla="*/ 62 h 69"/>
                <a:gd name="T30" fmla="*/ 35 w 66"/>
                <a:gd name="T31" fmla="*/ 66 h 69"/>
                <a:gd name="T32" fmla="*/ 35 w 66"/>
                <a:gd name="T33" fmla="*/ 69 h 69"/>
                <a:gd name="T34" fmla="*/ 26 w 66"/>
                <a:gd name="T35" fmla="*/ 66 h 69"/>
                <a:gd name="T36" fmla="*/ 16 w 66"/>
                <a:gd name="T37" fmla="*/ 64 h 69"/>
                <a:gd name="T38" fmla="*/ 9 w 66"/>
                <a:gd name="T39" fmla="*/ 62 h 69"/>
                <a:gd name="T40" fmla="*/ 0 w 66"/>
                <a:gd name="T41" fmla="*/ 55 h 69"/>
                <a:gd name="T42" fmla="*/ 0 w 66"/>
                <a:gd name="T43" fmla="*/ 50 h 69"/>
                <a:gd name="T44" fmla="*/ 2 w 66"/>
                <a:gd name="T45" fmla="*/ 48 h 69"/>
                <a:gd name="T46" fmla="*/ 0 w 66"/>
                <a:gd name="T47" fmla="*/ 43 h 69"/>
                <a:gd name="T48" fmla="*/ 7 w 66"/>
                <a:gd name="T49" fmla="*/ 31 h 69"/>
                <a:gd name="T50" fmla="*/ 28 w 66"/>
                <a:gd name="T51" fmla="*/ 31 h 69"/>
                <a:gd name="T52" fmla="*/ 28 w 66"/>
                <a:gd name="T53" fmla="*/ 24 h 69"/>
                <a:gd name="T54" fmla="*/ 26 w 66"/>
                <a:gd name="T55" fmla="*/ 24 h 69"/>
                <a:gd name="T56" fmla="*/ 23 w 66"/>
                <a:gd name="T57" fmla="*/ 19 h 69"/>
                <a:gd name="T58" fmla="*/ 18 w 66"/>
                <a:gd name="T59" fmla="*/ 17 h 69"/>
                <a:gd name="T60" fmla="*/ 11 w 66"/>
                <a:gd name="T61" fmla="*/ 10 h 69"/>
                <a:gd name="T62" fmla="*/ 18 w 66"/>
                <a:gd name="T63" fmla="*/ 10 h 69"/>
                <a:gd name="T64" fmla="*/ 18 w 66"/>
                <a:gd name="T65" fmla="*/ 0 h 69"/>
                <a:gd name="T66" fmla="*/ 35 w 66"/>
                <a:gd name="T67" fmla="*/ 0 h 69"/>
                <a:gd name="T68" fmla="*/ 52 w 66"/>
                <a:gd name="T69" fmla="*/ 0 h 69"/>
                <a:gd name="T70" fmla="*/ 49 w 66"/>
                <a:gd name="T71" fmla="*/ 1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6" h="69">
                  <a:moveTo>
                    <a:pt x="49" y="14"/>
                  </a:moveTo>
                  <a:lnTo>
                    <a:pt x="49" y="14"/>
                  </a:lnTo>
                  <a:lnTo>
                    <a:pt x="49" y="33"/>
                  </a:lnTo>
                  <a:lnTo>
                    <a:pt x="54" y="33"/>
                  </a:lnTo>
                  <a:lnTo>
                    <a:pt x="59" y="36"/>
                  </a:lnTo>
                  <a:lnTo>
                    <a:pt x="61" y="33"/>
                  </a:lnTo>
                  <a:lnTo>
                    <a:pt x="66" y="36"/>
                  </a:lnTo>
                  <a:lnTo>
                    <a:pt x="56" y="43"/>
                  </a:lnTo>
                  <a:lnTo>
                    <a:pt x="49" y="48"/>
                  </a:lnTo>
                  <a:lnTo>
                    <a:pt x="49" y="50"/>
                  </a:lnTo>
                  <a:lnTo>
                    <a:pt x="52" y="52"/>
                  </a:lnTo>
                  <a:lnTo>
                    <a:pt x="47" y="57"/>
                  </a:lnTo>
                  <a:lnTo>
                    <a:pt x="42" y="59"/>
                  </a:lnTo>
                  <a:lnTo>
                    <a:pt x="44" y="59"/>
                  </a:lnTo>
                  <a:lnTo>
                    <a:pt x="40" y="62"/>
                  </a:lnTo>
                  <a:lnTo>
                    <a:pt x="35" y="66"/>
                  </a:lnTo>
                  <a:lnTo>
                    <a:pt x="35" y="69"/>
                  </a:lnTo>
                  <a:lnTo>
                    <a:pt x="26" y="66"/>
                  </a:lnTo>
                  <a:lnTo>
                    <a:pt x="16" y="64"/>
                  </a:lnTo>
                  <a:lnTo>
                    <a:pt x="9" y="62"/>
                  </a:lnTo>
                  <a:lnTo>
                    <a:pt x="0" y="55"/>
                  </a:lnTo>
                  <a:lnTo>
                    <a:pt x="0" y="50"/>
                  </a:lnTo>
                  <a:lnTo>
                    <a:pt x="2" y="48"/>
                  </a:lnTo>
                  <a:lnTo>
                    <a:pt x="0" y="43"/>
                  </a:lnTo>
                  <a:lnTo>
                    <a:pt x="7" y="31"/>
                  </a:lnTo>
                  <a:lnTo>
                    <a:pt x="28" y="31"/>
                  </a:lnTo>
                  <a:lnTo>
                    <a:pt x="28" y="24"/>
                  </a:lnTo>
                  <a:lnTo>
                    <a:pt x="26" y="24"/>
                  </a:lnTo>
                  <a:lnTo>
                    <a:pt x="23" y="19"/>
                  </a:lnTo>
                  <a:lnTo>
                    <a:pt x="18" y="17"/>
                  </a:lnTo>
                  <a:lnTo>
                    <a:pt x="11" y="10"/>
                  </a:lnTo>
                  <a:lnTo>
                    <a:pt x="18" y="10"/>
                  </a:lnTo>
                  <a:lnTo>
                    <a:pt x="18" y="0"/>
                  </a:lnTo>
                  <a:lnTo>
                    <a:pt x="35" y="0"/>
                  </a:lnTo>
                  <a:lnTo>
                    <a:pt x="52" y="0"/>
                  </a:lnTo>
                  <a:lnTo>
                    <a:pt x="49" y="14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29" name="Freeform 134">
              <a:extLst>
                <a:ext uri="{FF2B5EF4-FFF2-40B4-BE49-F238E27FC236}">
                  <a16:creationId xmlns:a16="http://schemas.microsoft.com/office/drawing/2014/main" id="{3D6CF5C3-B11D-270C-09AD-CA7FFB1BA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2822" y="3027726"/>
              <a:ext cx="86147" cy="126769"/>
            </a:xfrm>
            <a:custGeom>
              <a:avLst/>
              <a:gdLst>
                <a:gd name="T0" fmla="*/ 68 w 80"/>
                <a:gd name="T1" fmla="*/ 41 h 116"/>
                <a:gd name="T2" fmla="*/ 68 w 80"/>
                <a:gd name="T3" fmla="*/ 41 h 116"/>
                <a:gd name="T4" fmla="*/ 66 w 80"/>
                <a:gd name="T5" fmla="*/ 55 h 116"/>
                <a:gd name="T6" fmla="*/ 56 w 80"/>
                <a:gd name="T7" fmla="*/ 60 h 116"/>
                <a:gd name="T8" fmla="*/ 59 w 80"/>
                <a:gd name="T9" fmla="*/ 62 h 116"/>
                <a:gd name="T10" fmla="*/ 54 w 80"/>
                <a:gd name="T11" fmla="*/ 71 h 116"/>
                <a:gd name="T12" fmla="*/ 61 w 80"/>
                <a:gd name="T13" fmla="*/ 83 h 116"/>
                <a:gd name="T14" fmla="*/ 66 w 80"/>
                <a:gd name="T15" fmla="*/ 83 h 116"/>
                <a:gd name="T16" fmla="*/ 68 w 80"/>
                <a:gd name="T17" fmla="*/ 93 h 116"/>
                <a:gd name="T18" fmla="*/ 80 w 80"/>
                <a:gd name="T19" fmla="*/ 107 h 116"/>
                <a:gd name="T20" fmla="*/ 75 w 80"/>
                <a:gd name="T21" fmla="*/ 107 h 116"/>
                <a:gd name="T22" fmla="*/ 66 w 80"/>
                <a:gd name="T23" fmla="*/ 105 h 116"/>
                <a:gd name="T24" fmla="*/ 61 w 80"/>
                <a:gd name="T25" fmla="*/ 109 h 116"/>
                <a:gd name="T26" fmla="*/ 54 w 80"/>
                <a:gd name="T27" fmla="*/ 112 h 116"/>
                <a:gd name="T28" fmla="*/ 49 w 80"/>
                <a:gd name="T29" fmla="*/ 114 h 116"/>
                <a:gd name="T30" fmla="*/ 47 w 80"/>
                <a:gd name="T31" fmla="*/ 116 h 116"/>
                <a:gd name="T32" fmla="*/ 37 w 80"/>
                <a:gd name="T33" fmla="*/ 116 h 116"/>
                <a:gd name="T34" fmla="*/ 28 w 80"/>
                <a:gd name="T35" fmla="*/ 107 h 116"/>
                <a:gd name="T36" fmla="*/ 26 w 80"/>
                <a:gd name="T37" fmla="*/ 100 h 116"/>
                <a:gd name="T38" fmla="*/ 23 w 80"/>
                <a:gd name="T39" fmla="*/ 93 h 116"/>
                <a:gd name="T40" fmla="*/ 26 w 80"/>
                <a:gd name="T41" fmla="*/ 79 h 116"/>
                <a:gd name="T42" fmla="*/ 30 w 80"/>
                <a:gd name="T43" fmla="*/ 71 h 116"/>
                <a:gd name="T44" fmla="*/ 26 w 80"/>
                <a:gd name="T45" fmla="*/ 67 h 116"/>
                <a:gd name="T46" fmla="*/ 21 w 80"/>
                <a:gd name="T47" fmla="*/ 62 h 116"/>
                <a:gd name="T48" fmla="*/ 23 w 80"/>
                <a:gd name="T49" fmla="*/ 55 h 116"/>
                <a:gd name="T50" fmla="*/ 19 w 80"/>
                <a:gd name="T51" fmla="*/ 52 h 116"/>
                <a:gd name="T52" fmla="*/ 11 w 80"/>
                <a:gd name="T53" fmla="*/ 52 h 116"/>
                <a:gd name="T54" fmla="*/ 0 w 80"/>
                <a:gd name="T55" fmla="*/ 41 h 116"/>
                <a:gd name="T56" fmla="*/ 4 w 80"/>
                <a:gd name="T57" fmla="*/ 36 h 116"/>
                <a:gd name="T58" fmla="*/ 4 w 80"/>
                <a:gd name="T59" fmla="*/ 29 h 116"/>
                <a:gd name="T60" fmla="*/ 14 w 80"/>
                <a:gd name="T61" fmla="*/ 26 h 116"/>
                <a:gd name="T62" fmla="*/ 16 w 80"/>
                <a:gd name="T63" fmla="*/ 22 h 116"/>
                <a:gd name="T64" fmla="*/ 11 w 80"/>
                <a:gd name="T65" fmla="*/ 17 h 116"/>
                <a:gd name="T66" fmla="*/ 14 w 80"/>
                <a:gd name="T67" fmla="*/ 10 h 116"/>
                <a:gd name="T68" fmla="*/ 26 w 80"/>
                <a:gd name="T69" fmla="*/ 0 h 116"/>
                <a:gd name="T70" fmla="*/ 37 w 80"/>
                <a:gd name="T71" fmla="*/ 8 h 116"/>
                <a:gd name="T72" fmla="*/ 47 w 80"/>
                <a:gd name="T73" fmla="*/ 17 h 116"/>
                <a:gd name="T74" fmla="*/ 47 w 80"/>
                <a:gd name="T75" fmla="*/ 26 h 116"/>
                <a:gd name="T76" fmla="*/ 54 w 80"/>
                <a:gd name="T77" fmla="*/ 26 h 116"/>
                <a:gd name="T78" fmla="*/ 61 w 80"/>
                <a:gd name="T79" fmla="*/ 34 h 116"/>
                <a:gd name="T80" fmla="*/ 68 w 80"/>
                <a:gd name="T81" fmla="*/ 4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0" h="116">
                  <a:moveTo>
                    <a:pt x="68" y="41"/>
                  </a:moveTo>
                  <a:lnTo>
                    <a:pt x="68" y="41"/>
                  </a:lnTo>
                  <a:lnTo>
                    <a:pt x="66" y="55"/>
                  </a:lnTo>
                  <a:lnTo>
                    <a:pt x="56" y="60"/>
                  </a:lnTo>
                  <a:lnTo>
                    <a:pt x="59" y="62"/>
                  </a:lnTo>
                  <a:lnTo>
                    <a:pt x="54" y="71"/>
                  </a:lnTo>
                  <a:lnTo>
                    <a:pt x="61" y="83"/>
                  </a:lnTo>
                  <a:lnTo>
                    <a:pt x="66" y="83"/>
                  </a:lnTo>
                  <a:lnTo>
                    <a:pt x="68" y="93"/>
                  </a:lnTo>
                  <a:lnTo>
                    <a:pt x="80" y="107"/>
                  </a:lnTo>
                  <a:lnTo>
                    <a:pt x="75" y="107"/>
                  </a:lnTo>
                  <a:lnTo>
                    <a:pt x="66" y="105"/>
                  </a:lnTo>
                  <a:lnTo>
                    <a:pt x="61" y="109"/>
                  </a:lnTo>
                  <a:lnTo>
                    <a:pt x="54" y="112"/>
                  </a:lnTo>
                  <a:lnTo>
                    <a:pt x="49" y="114"/>
                  </a:lnTo>
                  <a:lnTo>
                    <a:pt x="47" y="116"/>
                  </a:lnTo>
                  <a:lnTo>
                    <a:pt x="37" y="116"/>
                  </a:lnTo>
                  <a:lnTo>
                    <a:pt x="28" y="107"/>
                  </a:lnTo>
                  <a:lnTo>
                    <a:pt x="26" y="100"/>
                  </a:lnTo>
                  <a:lnTo>
                    <a:pt x="23" y="93"/>
                  </a:lnTo>
                  <a:lnTo>
                    <a:pt x="26" y="79"/>
                  </a:lnTo>
                  <a:lnTo>
                    <a:pt x="30" y="71"/>
                  </a:lnTo>
                  <a:lnTo>
                    <a:pt x="26" y="67"/>
                  </a:lnTo>
                  <a:lnTo>
                    <a:pt x="21" y="62"/>
                  </a:lnTo>
                  <a:lnTo>
                    <a:pt x="23" y="55"/>
                  </a:lnTo>
                  <a:lnTo>
                    <a:pt x="19" y="52"/>
                  </a:lnTo>
                  <a:lnTo>
                    <a:pt x="11" y="52"/>
                  </a:lnTo>
                  <a:lnTo>
                    <a:pt x="0" y="41"/>
                  </a:lnTo>
                  <a:lnTo>
                    <a:pt x="4" y="36"/>
                  </a:lnTo>
                  <a:lnTo>
                    <a:pt x="4" y="29"/>
                  </a:lnTo>
                  <a:lnTo>
                    <a:pt x="14" y="26"/>
                  </a:lnTo>
                  <a:lnTo>
                    <a:pt x="16" y="22"/>
                  </a:lnTo>
                  <a:lnTo>
                    <a:pt x="11" y="17"/>
                  </a:lnTo>
                  <a:lnTo>
                    <a:pt x="14" y="10"/>
                  </a:lnTo>
                  <a:lnTo>
                    <a:pt x="26" y="0"/>
                  </a:lnTo>
                  <a:lnTo>
                    <a:pt x="37" y="8"/>
                  </a:lnTo>
                  <a:lnTo>
                    <a:pt x="47" y="17"/>
                  </a:lnTo>
                  <a:lnTo>
                    <a:pt x="47" y="26"/>
                  </a:lnTo>
                  <a:lnTo>
                    <a:pt x="54" y="26"/>
                  </a:lnTo>
                  <a:lnTo>
                    <a:pt x="61" y="34"/>
                  </a:lnTo>
                  <a:lnTo>
                    <a:pt x="68" y="41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30" name="Freeform 136">
              <a:extLst>
                <a:ext uri="{FF2B5EF4-FFF2-40B4-BE49-F238E27FC236}">
                  <a16:creationId xmlns:a16="http://schemas.microsoft.com/office/drawing/2014/main" id="{B47AF5B5-A6E2-315B-7FC0-14A217214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6084" y="2891123"/>
              <a:ext cx="106610" cy="54640"/>
            </a:xfrm>
            <a:custGeom>
              <a:avLst/>
              <a:gdLst>
                <a:gd name="T0" fmla="*/ 59 w 99"/>
                <a:gd name="T1" fmla="*/ 2 h 50"/>
                <a:gd name="T2" fmla="*/ 59 w 99"/>
                <a:gd name="T3" fmla="*/ 2 h 50"/>
                <a:gd name="T4" fmla="*/ 64 w 99"/>
                <a:gd name="T5" fmla="*/ 2 h 50"/>
                <a:gd name="T6" fmla="*/ 66 w 99"/>
                <a:gd name="T7" fmla="*/ 2 h 50"/>
                <a:gd name="T8" fmla="*/ 71 w 99"/>
                <a:gd name="T9" fmla="*/ 0 h 50"/>
                <a:gd name="T10" fmla="*/ 78 w 99"/>
                <a:gd name="T11" fmla="*/ 2 h 50"/>
                <a:gd name="T12" fmla="*/ 80 w 99"/>
                <a:gd name="T13" fmla="*/ 2 h 50"/>
                <a:gd name="T14" fmla="*/ 85 w 99"/>
                <a:gd name="T15" fmla="*/ 7 h 50"/>
                <a:gd name="T16" fmla="*/ 90 w 99"/>
                <a:gd name="T17" fmla="*/ 9 h 50"/>
                <a:gd name="T18" fmla="*/ 97 w 99"/>
                <a:gd name="T19" fmla="*/ 12 h 50"/>
                <a:gd name="T20" fmla="*/ 99 w 99"/>
                <a:gd name="T21" fmla="*/ 17 h 50"/>
                <a:gd name="T22" fmla="*/ 94 w 99"/>
                <a:gd name="T23" fmla="*/ 17 h 50"/>
                <a:gd name="T24" fmla="*/ 92 w 99"/>
                <a:gd name="T25" fmla="*/ 19 h 50"/>
                <a:gd name="T26" fmla="*/ 85 w 99"/>
                <a:gd name="T27" fmla="*/ 21 h 50"/>
                <a:gd name="T28" fmla="*/ 83 w 99"/>
                <a:gd name="T29" fmla="*/ 21 h 50"/>
                <a:gd name="T30" fmla="*/ 78 w 99"/>
                <a:gd name="T31" fmla="*/ 24 h 50"/>
                <a:gd name="T32" fmla="*/ 76 w 99"/>
                <a:gd name="T33" fmla="*/ 21 h 50"/>
                <a:gd name="T34" fmla="*/ 73 w 99"/>
                <a:gd name="T35" fmla="*/ 19 h 50"/>
                <a:gd name="T36" fmla="*/ 71 w 99"/>
                <a:gd name="T37" fmla="*/ 21 h 50"/>
                <a:gd name="T38" fmla="*/ 68 w 99"/>
                <a:gd name="T39" fmla="*/ 24 h 50"/>
                <a:gd name="T40" fmla="*/ 68 w 99"/>
                <a:gd name="T41" fmla="*/ 24 h 50"/>
                <a:gd name="T42" fmla="*/ 68 w 99"/>
                <a:gd name="T43" fmla="*/ 28 h 50"/>
                <a:gd name="T44" fmla="*/ 61 w 99"/>
                <a:gd name="T45" fmla="*/ 33 h 50"/>
                <a:gd name="T46" fmla="*/ 59 w 99"/>
                <a:gd name="T47" fmla="*/ 35 h 50"/>
                <a:gd name="T48" fmla="*/ 57 w 99"/>
                <a:gd name="T49" fmla="*/ 38 h 50"/>
                <a:gd name="T50" fmla="*/ 52 w 99"/>
                <a:gd name="T51" fmla="*/ 33 h 50"/>
                <a:gd name="T52" fmla="*/ 50 w 99"/>
                <a:gd name="T53" fmla="*/ 38 h 50"/>
                <a:gd name="T54" fmla="*/ 45 w 99"/>
                <a:gd name="T55" fmla="*/ 38 h 50"/>
                <a:gd name="T56" fmla="*/ 42 w 99"/>
                <a:gd name="T57" fmla="*/ 38 h 50"/>
                <a:gd name="T58" fmla="*/ 42 w 99"/>
                <a:gd name="T59" fmla="*/ 45 h 50"/>
                <a:gd name="T60" fmla="*/ 40 w 99"/>
                <a:gd name="T61" fmla="*/ 45 h 50"/>
                <a:gd name="T62" fmla="*/ 38 w 99"/>
                <a:gd name="T63" fmla="*/ 50 h 50"/>
                <a:gd name="T64" fmla="*/ 33 w 99"/>
                <a:gd name="T65" fmla="*/ 50 h 50"/>
                <a:gd name="T66" fmla="*/ 31 w 99"/>
                <a:gd name="T67" fmla="*/ 45 h 50"/>
                <a:gd name="T68" fmla="*/ 24 w 99"/>
                <a:gd name="T69" fmla="*/ 45 h 50"/>
                <a:gd name="T70" fmla="*/ 26 w 99"/>
                <a:gd name="T71" fmla="*/ 38 h 50"/>
                <a:gd name="T72" fmla="*/ 24 w 99"/>
                <a:gd name="T73" fmla="*/ 35 h 50"/>
                <a:gd name="T74" fmla="*/ 19 w 99"/>
                <a:gd name="T75" fmla="*/ 35 h 50"/>
                <a:gd name="T76" fmla="*/ 12 w 99"/>
                <a:gd name="T77" fmla="*/ 38 h 50"/>
                <a:gd name="T78" fmla="*/ 12 w 99"/>
                <a:gd name="T79" fmla="*/ 35 h 50"/>
                <a:gd name="T80" fmla="*/ 7 w 99"/>
                <a:gd name="T81" fmla="*/ 31 h 50"/>
                <a:gd name="T82" fmla="*/ 5 w 99"/>
                <a:gd name="T83" fmla="*/ 28 h 50"/>
                <a:gd name="T84" fmla="*/ 0 w 99"/>
                <a:gd name="T85" fmla="*/ 26 h 50"/>
                <a:gd name="T86" fmla="*/ 2 w 99"/>
                <a:gd name="T87" fmla="*/ 21 h 50"/>
                <a:gd name="T88" fmla="*/ 2 w 99"/>
                <a:gd name="T89" fmla="*/ 19 h 50"/>
                <a:gd name="T90" fmla="*/ 2 w 99"/>
                <a:gd name="T91" fmla="*/ 17 h 50"/>
                <a:gd name="T92" fmla="*/ 9 w 99"/>
                <a:gd name="T93" fmla="*/ 12 h 50"/>
                <a:gd name="T94" fmla="*/ 16 w 99"/>
                <a:gd name="T95" fmla="*/ 5 h 50"/>
                <a:gd name="T96" fmla="*/ 19 w 99"/>
                <a:gd name="T97" fmla="*/ 5 h 50"/>
                <a:gd name="T98" fmla="*/ 24 w 99"/>
                <a:gd name="T99" fmla="*/ 2 h 50"/>
                <a:gd name="T100" fmla="*/ 28 w 99"/>
                <a:gd name="T101" fmla="*/ 2 h 50"/>
                <a:gd name="T102" fmla="*/ 28 w 99"/>
                <a:gd name="T103" fmla="*/ 5 h 50"/>
                <a:gd name="T104" fmla="*/ 31 w 99"/>
                <a:gd name="T105" fmla="*/ 2 h 50"/>
                <a:gd name="T106" fmla="*/ 40 w 99"/>
                <a:gd name="T107" fmla="*/ 5 h 50"/>
                <a:gd name="T108" fmla="*/ 47 w 99"/>
                <a:gd name="T109" fmla="*/ 5 h 50"/>
                <a:gd name="T110" fmla="*/ 52 w 99"/>
                <a:gd name="T111" fmla="*/ 2 h 50"/>
                <a:gd name="T112" fmla="*/ 54 w 99"/>
                <a:gd name="T113" fmla="*/ 0 h 50"/>
                <a:gd name="T114" fmla="*/ 59 w 99"/>
                <a:gd name="T115" fmla="*/ 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9" h="50">
                  <a:moveTo>
                    <a:pt x="59" y="2"/>
                  </a:moveTo>
                  <a:lnTo>
                    <a:pt x="59" y="2"/>
                  </a:lnTo>
                  <a:lnTo>
                    <a:pt x="64" y="2"/>
                  </a:lnTo>
                  <a:lnTo>
                    <a:pt x="66" y="2"/>
                  </a:lnTo>
                  <a:lnTo>
                    <a:pt x="71" y="0"/>
                  </a:lnTo>
                  <a:lnTo>
                    <a:pt x="78" y="2"/>
                  </a:lnTo>
                  <a:lnTo>
                    <a:pt x="80" y="2"/>
                  </a:lnTo>
                  <a:lnTo>
                    <a:pt x="85" y="7"/>
                  </a:lnTo>
                  <a:lnTo>
                    <a:pt x="90" y="9"/>
                  </a:lnTo>
                  <a:lnTo>
                    <a:pt x="97" y="12"/>
                  </a:lnTo>
                  <a:lnTo>
                    <a:pt x="99" y="17"/>
                  </a:lnTo>
                  <a:lnTo>
                    <a:pt x="94" y="17"/>
                  </a:lnTo>
                  <a:lnTo>
                    <a:pt x="92" y="19"/>
                  </a:lnTo>
                  <a:lnTo>
                    <a:pt x="85" y="21"/>
                  </a:lnTo>
                  <a:lnTo>
                    <a:pt x="83" y="21"/>
                  </a:lnTo>
                  <a:lnTo>
                    <a:pt x="78" y="24"/>
                  </a:lnTo>
                  <a:lnTo>
                    <a:pt x="76" y="21"/>
                  </a:lnTo>
                  <a:lnTo>
                    <a:pt x="73" y="19"/>
                  </a:lnTo>
                  <a:lnTo>
                    <a:pt x="71" y="21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61" y="33"/>
                  </a:lnTo>
                  <a:lnTo>
                    <a:pt x="59" y="35"/>
                  </a:lnTo>
                  <a:lnTo>
                    <a:pt x="57" y="38"/>
                  </a:lnTo>
                  <a:lnTo>
                    <a:pt x="52" y="33"/>
                  </a:lnTo>
                  <a:lnTo>
                    <a:pt x="50" y="38"/>
                  </a:lnTo>
                  <a:lnTo>
                    <a:pt x="45" y="38"/>
                  </a:lnTo>
                  <a:lnTo>
                    <a:pt x="42" y="38"/>
                  </a:lnTo>
                  <a:lnTo>
                    <a:pt x="42" y="45"/>
                  </a:lnTo>
                  <a:lnTo>
                    <a:pt x="40" y="45"/>
                  </a:lnTo>
                  <a:lnTo>
                    <a:pt x="38" y="50"/>
                  </a:lnTo>
                  <a:lnTo>
                    <a:pt x="33" y="50"/>
                  </a:lnTo>
                  <a:lnTo>
                    <a:pt x="31" y="45"/>
                  </a:lnTo>
                  <a:lnTo>
                    <a:pt x="24" y="45"/>
                  </a:lnTo>
                  <a:lnTo>
                    <a:pt x="26" y="38"/>
                  </a:lnTo>
                  <a:lnTo>
                    <a:pt x="24" y="35"/>
                  </a:lnTo>
                  <a:lnTo>
                    <a:pt x="19" y="35"/>
                  </a:lnTo>
                  <a:lnTo>
                    <a:pt x="12" y="38"/>
                  </a:lnTo>
                  <a:lnTo>
                    <a:pt x="12" y="35"/>
                  </a:lnTo>
                  <a:lnTo>
                    <a:pt x="7" y="31"/>
                  </a:lnTo>
                  <a:lnTo>
                    <a:pt x="5" y="28"/>
                  </a:lnTo>
                  <a:lnTo>
                    <a:pt x="0" y="26"/>
                  </a:lnTo>
                  <a:lnTo>
                    <a:pt x="2" y="21"/>
                  </a:lnTo>
                  <a:lnTo>
                    <a:pt x="2" y="19"/>
                  </a:lnTo>
                  <a:lnTo>
                    <a:pt x="2" y="17"/>
                  </a:lnTo>
                  <a:lnTo>
                    <a:pt x="9" y="12"/>
                  </a:lnTo>
                  <a:lnTo>
                    <a:pt x="16" y="5"/>
                  </a:lnTo>
                  <a:lnTo>
                    <a:pt x="19" y="5"/>
                  </a:lnTo>
                  <a:lnTo>
                    <a:pt x="24" y="2"/>
                  </a:lnTo>
                  <a:lnTo>
                    <a:pt x="28" y="2"/>
                  </a:lnTo>
                  <a:lnTo>
                    <a:pt x="28" y="5"/>
                  </a:lnTo>
                  <a:lnTo>
                    <a:pt x="31" y="2"/>
                  </a:lnTo>
                  <a:lnTo>
                    <a:pt x="40" y="5"/>
                  </a:lnTo>
                  <a:lnTo>
                    <a:pt x="47" y="5"/>
                  </a:lnTo>
                  <a:lnTo>
                    <a:pt x="52" y="2"/>
                  </a:lnTo>
                  <a:lnTo>
                    <a:pt x="54" y="0"/>
                  </a:lnTo>
                  <a:lnTo>
                    <a:pt x="59" y="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31" name="Freeform 138">
              <a:extLst>
                <a:ext uri="{FF2B5EF4-FFF2-40B4-BE49-F238E27FC236}">
                  <a16:creationId xmlns:a16="http://schemas.microsoft.com/office/drawing/2014/main" id="{B8687735-2D74-4A7E-C3AE-5768081C61F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91201" y="2251824"/>
              <a:ext cx="100148" cy="98354"/>
            </a:xfrm>
            <a:custGeom>
              <a:avLst/>
              <a:gdLst>
                <a:gd name="T0" fmla="*/ 64 w 93"/>
                <a:gd name="T1" fmla="*/ 12 h 90"/>
                <a:gd name="T2" fmla="*/ 64 w 93"/>
                <a:gd name="T3" fmla="*/ 12 h 90"/>
                <a:gd name="T4" fmla="*/ 78 w 93"/>
                <a:gd name="T5" fmla="*/ 17 h 90"/>
                <a:gd name="T6" fmla="*/ 83 w 93"/>
                <a:gd name="T7" fmla="*/ 15 h 90"/>
                <a:gd name="T8" fmla="*/ 88 w 93"/>
                <a:gd name="T9" fmla="*/ 24 h 90"/>
                <a:gd name="T10" fmla="*/ 93 w 93"/>
                <a:gd name="T11" fmla="*/ 29 h 90"/>
                <a:gd name="T12" fmla="*/ 86 w 93"/>
                <a:gd name="T13" fmla="*/ 38 h 90"/>
                <a:gd name="T14" fmla="*/ 81 w 93"/>
                <a:gd name="T15" fmla="*/ 33 h 90"/>
                <a:gd name="T16" fmla="*/ 69 w 93"/>
                <a:gd name="T17" fmla="*/ 33 h 90"/>
                <a:gd name="T18" fmla="*/ 55 w 93"/>
                <a:gd name="T19" fmla="*/ 29 h 90"/>
                <a:gd name="T20" fmla="*/ 48 w 93"/>
                <a:gd name="T21" fmla="*/ 29 h 90"/>
                <a:gd name="T22" fmla="*/ 43 w 93"/>
                <a:gd name="T23" fmla="*/ 33 h 90"/>
                <a:gd name="T24" fmla="*/ 38 w 93"/>
                <a:gd name="T25" fmla="*/ 29 h 90"/>
                <a:gd name="T26" fmla="*/ 34 w 93"/>
                <a:gd name="T27" fmla="*/ 38 h 90"/>
                <a:gd name="T28" fmla="*/ 43 w 93"/>
                <a:gd name="T29" fmla="*/ 50 h 90"/>
                <a:gd name="T30" fmla="*/ 45 w 93"/>
                <a:gd name="T31" fmla="*/ 57 h 90"/>
                <a:gd name="T32" fmla="*/ 52 w 93"/>
                <a:gd name="T33" fmla="*/ 64 h 90"/>
                <a:gd name="T34" fmla="*/ 60 w 93"/>
                <a:gd name="T35" fmla="*/ 69 h 90"/>
                <a:gd name="T36" fmla="*/ 64 w 93"/>
                <a:gd name="T37" fmla="*/ 78 h 90"/>
                <a:gd name="T38" fmla="*/ 81 w 93"/>
                <a:gd name="T39" fmla="*/ 86 h 90"/>
                <a:gd name="T40" fmla="*/ 78 w 93"/>
                <a:gd name="T41" fmla="*/ 90 h 90"/>
                <a:gd name="T42" fmla="*/ 62 w 93"/>
                <a:gd name="T43" fmla="*/ 83 h 90"/>
                <a:gd name="T44" fmla="*/ 52 w 93"/>
                <a:gd name="T45" fmla="*/ 74 h 90"/>
                <a:gd name="T46" fmla="*/ 38 w 93"/>
                <a:gd name="T47" fmla="*/ 69 h 90"/>
                <a:gd name="T48" fmla="*/ 24 w 93"/>
                <a:gd name="T49" fmla="*/ 52 h 90"/>
                <a:gd name="T50" fmla="*/ 29 w 93"/>
                <a:gd name="T51" fmla="*/ 50 h 90"/>
                <a:gd name="T52" fmla="*/ 19 w 93"/>
                <a:gd name="T53" fmla="*/ 41 h 90"/>
                <a:gd name="T54" fmla="*/ 19 w 93"/>
                <a:gd name="T55" fmla="*/ 33 h 90"/>
                <a:gd name="T56" fmla="*/ 10 w 93"/>
                <a:gd name="T57" fmla="*/ 29 h 90"/>
                <a:gd name="T58" fmla="*/ 5 w 93"/>
                <a:gd name="T59" fmla="*/ 41 h 90"/>
                <a:gd name="T60" fmla="*/ 0 w 93"/>
                <a:gd name="T61" fmla="*/ 31 h 90"/>
                <a:gd name="T62" fmla="*/ 0 w 93"/>
                <a:gd name="T63" fmla="*/ 24 h 90"/>
                <a:gd name="T64" fmla="*/ 0 w 93"/>
                <a:gd name="T65" fmla="*/ 24 h 90"/>
                <a:gd name="T66" fmla="*/ 12 w 93"/>
                <a:gd name="T67" fmla="*/ 24 h 90"/>
                <a:gd name="T68" fmla="*/ 15 w 93"/>
                <a:gd name="T69" fmla="*/ 19 h 90"/>
                <a:gd name="T70" fmla="*/ 19 w 93"/>
                <a:gd name="T71" fmla="*/ 24 h 90"/>
                <a:gd name="T72" fmla="*/ 26 w 93"/>
                <a:gd name="T73" fmla="*/ 24 h 90"/>
                <a:gd name="T74" fmla="*/ 26 w 93"/>
                <a:gd name="T75" fmla="*/ 17 h 90"/>
                <a:gd name="T76" fmla="*/ 34 w 93"/>
                <a:gd name="T77" fmla="*/ 15 h 90"/>
                <a:gd name="T78" fmla="*/ 34 w 93"/>
                <a:gd name="T79" fmla="*/ 7 h 90"/>
                <a:gd name="T80" fmla="*/ 48 w 93"/>
                <a:gd name="T81" fmla="*/ 0 h 90"/>
                <a:gd name="T82" fmla="*/ 52 w 93"/>
                <a:gd name="T83" fmla="*/ 3 h 90"/>
                <a:gd name="T84" fmla="*/ 64 w 93"/>
                <a:gd name="T85" fmla="*/ 1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3" h="90">
                  <a:moveTo>
                    <a:pt x="64" y="12"/>
                  </a:moveTo>
                  <a:lnTo>
                    <a:pt x="64" y="12"/>
                  </a:lnTo>
                  <a:lnTo>
                    <a:pt x="78" y="17"/>
                  </a:lnTo>
                  <a:lnTo>
                    <a:pt x="83" y="15"/>
                  </a:lnTo>
                  <a:lnTo>
                    <a:pt x="88" y="24"/>
                  </a:lnTo>
                  <a:lnTo>
                    <a:pt x="93" y="29"/>
                  </a:lnTo>
                  <a:lnTo>
                    <a:pt x="86" y="38"/>
                  </a:lnTo>
                  <a:lnTo>
                    <a:pt x="81" y="33"/>
                  </a:lnTo>
                  <a:lnTo>
                    <a:pt x="69" y="33"/>
                  </a:lnTo>
                  <a:lnTo>
                    <a:pt x="55" y="29"/>
                  </a:lnTo>
                  <a:lnTo>
                    <a:pt x="48" y="29"/>
                  </a:lnTo>
                  <a:lnTo>
                    <a:pt x="43" y="33"/>
                  </a:lnTo>
                  <a:lnTo>
                    <a:pt x="38" y="29"/>
                  </a:lnTo>
                  <a:lnTo>
                    <a:pt x="34" y="38"/>
                  </a:lnTo>
                  <a:lnTo>
                    <a:pt x="43" y="50"/>
                  </a:lnTo>
                  <a:lnTo>
                    <a:pt x="45" y="57"/>
                  </a:lnTo>
                  <a:lnTo>
                    <a:pt x="52" y="64"/>
                  </a:lnTo>
                  <a:lnTo>
                    <a:pt x="60" y="69"/>
                  </a:lnTo>
                  <a:lnTo>
                    <a:pt x="64" y="78"/>
                  </a:lnTo>
                  <a:lnTo>
                    <a:pt x="81" y="86"/>
                  </a:lnTo>
                  <a:lnTo>
                    <a:pt x="78" y="90"/>
                  </a:lnTo>
                  <a:lnTo>
                    <a:pt x="62" y="83"/>
                  </a:lnTo>
                  <a:lnTo>
                    <a:pt x="52" y="74"/>
                  </a:lnTo>
                  <a:lnTo>
                    <a:pt x="38" y="69"/>
                  </a:lnTo>
                  <a:lnTo>
                    <a:pt x="24" y="52"/>
                  </a:lnTo>
                  <a:lnTo>
                    <a:pt x="29" y="50"/>
                  </a:lnTo>
                  <a:lnTo>
                    <a:pt x="19" y="41"/>
                  </a:lnTo>
                  <a:lnTo>
                    <a:pt x="19" y="33"/>
                  </a:lnTo>
                  <a:lnTo>
                    <a:pt x="10" y="29"/>
                  </a:lnTo>
                  <a:lnTo>
                    <a:pt x="5" y="41"/>
                  </a:lnTo>
                  <a:lnTo>
                    <a:pt x="0" y="31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12" y="24"/>
                  </a:lnTo>
                  <a:lnTo>
                    <a:pt x="15" y="19"/>
                  </a:lnTo>
                  <a:lnTo>
                    <a:pt x="19" y="24"/>
                  </a:lnTo>
                  <a:lnTo>
                    <a:pt x="26" y="24"/>
                  </a:lnTo>
                  <a:lnTo>
                    <a:pt x="26" y="17"/>
                  </a:lnTo>
                  <a:lnTo>
                    <a:pt x="34" y="15"/>
                  </a:lnTo>
                  <a:lnTo>
                    <a:pt x="34" y="7"/>
                  </a:lnTo>
                  <a:lnTo>
                    <a:pt x="48" y="0"/>
                  </a:lnTo>
                  <a:lnTo>
                    <a:pt x="52" y="3"/>
                  </a:lnTo>
                  <a:lnTo>
                    <a:pt x="64" y="1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32" name="Freeform 140">
              <a:extLst>
                <a:ext uri="{FF2B5EF4-FFF2-40B4-BE49-F238E27FC236}">
                  <a16:creationId xmlns:a16="http://schemas.microsoft.com/office/drawing/2014/main" id="{5172668F-1E3B-CB87-CC64-463D5A71748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5604" y="2818997"/>
              <a:ext cx="48460" cy="36063"/>
            </a:xfrm>
            <a:custGeom>
              <a:avLst/>
              <a:gdLst>
                <a:gd name="T0" fmla="*/ 40 w 45"/>
                <a:gd name="T1" fmla="*/ 23 h 33"/>
                <a:gd name="T2" fmla="*/ 40 w 45"/>
                <a:gd name="T3" fmla="*/ 23 h 33"/>
                <a:gd name="T4" fmla="*/ 45 w 45"/>
                <a:gd name="T5" fmla="*/ 28 h 33"/>
                <a:gd name="T6" fmla="*/ 43 w 45"/>
                <a:gd name="T7" fmla="*/ 33 h 33"/>
                <a:gd name="T8" fmla="*/ 33 w 45"/>
                <a:gd name="T9" fmla="*/ 30 h 33"/>
                <a:gd name="T10" fmla="*/ 26 w 45"/>
                <a:gd name="T11" fmla="*/ 30 h 33"/>
                <a:gd name="T12" fmla="*/ 17 w 45"/>
                <a:gd name="T13" fmla="*/ 30 h 33"/>
                <a:gd name="T14" fmla="*/ 7 w 45"/>
                <a:gd name="T15" fmla="*/ 33 h 33"/>
                <a:gd name="T16" fmla="*/ 0 w 45"/>
                <a:gd name="T17" fmla="*/ 28 h 33"/>
                <a:gd name="T18" fmla="*/ 0 w 45"/>
                <a:gd name="T19" fmla="*/ 21 h 33"/>
                <a:gd name="T20" fmla="*/ 17 w 45"/>
                <a:gd name="T21" fmla="*/ 26 h 33"/>
                <a:gd name="T22" fmla="*/ 29 w 45"/>
                <a:gd name="T23" fmla="*/ 26 h 33"/>
                <a:gd name="T24" fmla="*/ 33 w 45"/>
                <a:gd name="T25" fmla="*/ 21 h 33"/>
                <a:gd name="T26" fmla="*/ 26 w 45"/>
                <a:gd name="T27" fmla="*/ 14 h 33"/>
                <a:gd name="T28" fmla="*/ 26 w 45"/>
                <a:gd name="T29" fmla="*/ 9 h 33"/>
                <a:gd name="T30" fmla="*/ 17 w 45"/>
                <a:gd name="T31" fmla="*/ 4 h 33"/>
                <a:gd name="T32" fmla="*/ 19 w 45"/>
                <a:gd name="T33" fmla="*/ 0 h 33"/>
                <a:gd name="T34" fmla="*/ 31 w 45"/>
                <a:gd name="T35" fmla="*/ 2 h 33"/>
                <a:gd name="T36" fmla="*/ 43 w 45"/>
                <a:gd name="T37" fmla="*/ 4 h 33"/>
                <a:gd name="T38" fmla="*/ 45 w 45"/>
                <a:gd name="T39" fmla="*/ 14 h 33"/>
                <a:gd name="T40" fmla="*/ 43 w 45"/>
                <a:gd name="T41" fmla="*/ 21 h 33"/>
                <a:gd name="T42" fmla="*/ 40 w 45"/>
                <a:gd name="T43" fmla="*/ 2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5" h="33">
                  <a:moveTo>
                    <a:pt x="40" y="23"/>
                  </a:moveTo>
                  <a:lnTo>
                    <a:pt x="40" y="23"/>
                  </a:lnTo>
                  <a:lnTo>
                    <a:pt x="45" y="28"/>
                  </a:lnTo>
                  <a:lnTo>
                    <a:pt x="43" y="33"/>
                  </a:lnTo>
                  <a:lnTo>
                    <a:pt x="33" y="30"/>
                  </a:lnTo>
                  <a:lnTo>
                    <a:pt x="26" y="30"/>
                  </a:lnTo>
                  <a:lnTo>
                    <a:pt x="17" y="30"/>
                  </a:lnTo>
                  <a:lnTo>
                    <a:pt x="7" y="33"/>
                  </a:lnTo>
                  <a:lnTo>
                    <a:pt x="0" y="28"/>
                  </a:lnTo>
                  <a:lnTo>
                    <a:pt x="0" y="21"/>
                  </a:lnTo>
                  <a:lnTo>
                    <a:pt x="17" y="26"/>
                  </a:lnTo>
                  <a:lnTo>
                    <a:pt x="29" y="26"/>
                  </a:lnTo>
                  <a:lnTo>
                    <a:pt x="33" y="21"/>
                  </a:lnTo>
                  <a:lnTo>
                    <a:pt x="26" y="14"/>
                  </a:lnTo>
                  <a:lnTo>
                    <a:pt x="26" y="9"/>
                  </a:lnTo>
                  <a:lnTo>
                    <a:pt x="17" y="4"/>
                  </a:lnTo>
                  <a:lnTo>
                    <a:pt x="19" y="0"/>
                  </a:lnTo>
                  <a:lnTo>
                    <a:pt x="31" y="2"/>
                  </a:lnTo>
                  <a:lnTo>
                    <a:pt x="43" y="4"/>
                  </a:lnTo>
                  <a:lnTo>
                    <a:pt x="45" y="14"/>
                  </a:lnTo>
                  <a:lnTo>
                    <a:pt x="43" y="21"/>
                  </a:lnTo>
                  <a:lnTo>
                    <a:pt x="40" y="23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33" name="Freeform 142">
              <a:extLst>
                <a:ext uri="{FF2B5EF4-FFF2-40B4-BE49-F238E27FC236}">
                  <a16:creationId xmlns:a16="http://schemas.microsoft.com/office/drawing/2014/main" id="{FC6AF573-2F98-F5D4-F9B4-0B2D826BB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935352" y="2194995"/>
              <a:ext cx="114147" cy="75406"/>
            </a:xfrm>
            <a:custGeom>
              <a:avLst/>
              <a:gdLst>
                <a:gd name="T0" fmla="*/ 75 w 106"/>
                <a:gd name="T1" fmla="*/ 0 h 69"/>
                <a:gd name="T2" fmla="*/ 75 w 106"/>
                <a:gd name="T3" fmla="*/ 0 h 69"/>
                <a:gd name="T4" fmla="*/ 92 w 106"/>
                <a:gd name="T5" fmla="*/ 7 h 69"/>
                <a:gd name="T6" fmla="*/ 94 w 106"/>
                <a:gd name="T7" fmla="*/ 5 h 69"/>
                <a:gd name="T8" fmla="*/ 104 w 106"/>
                <a:gd name="T9" fmla="*/ 12 h 69"/>
                <a:gd name="T10" fmla="*/ 106 w 106"/>
                <a:gd name="T11" fmla="*/ 19 h 69"/>
                <a:gd name="T12" fmla="*/ 94 w 106"/>
                <a:gd name="T13" fmla="*/ 24 h 69"/>
                <a:gd name="T14" fmla="*/ 89 w 106"/>
                <a:gd name="T15" fmla="*/ 40 h 69"/>
                <a:gd name="T16" fmla="*/ 78 w 106"/>
                <a:gd name="T17" fmla="*/ 57 h 69"/>
                <a:gd name="T18" fmla="*/ 66 w 106"/>
                <a:gd name="T19" fmla="*/ 62 h 69"/>
                <a:gd name="T20" fmla="*/ 56 w 106"/>
                <a:gd name="T21" fmla="*/ 59 h 69"/>
                <a:gd name="T22" fmla="*/ 45 w 106"/>
                <a:gd name="T23" fmla="*/ 67 h 69"/>
                <a:gd name="T24" fmla="*/ 37 w 106"/>
                <a:gd name="T25" fmla="*/ 69 h 69"/>
                <a:gd name="T26" fmla="*/ 23 w 106"/>
                <a:gd name="T27" fmla="*/ 64 h 69"/>
                <a:gd name="T28" fmla="*/ 11 w 106"/>
                <a:gd name="T29" fmla="*/ 55 h 69"/>
                <a:gd name="T30" fmla="*/ 7 w 106"/>
                <a:gd name="T31" fmla="*/ 52 h 69"/>
                <a:gd name="T32" fmla="*/ 2 w 106"/>
                <a:gd name="T33" fmla="*/ 43 h 69"/>
                <a:gd name="T34" fmla="*/ 0 w 106"/>
                <a:gd name="T35" fmla="*/ 43 h 69"/>
                <a:gd name="T36" fmla="*/ 7 w 106"/>
                <a:gd name="T37" fmla="*/ 29 h 69"/>
                <a:gd name="T38" fmla="*/ 2 w 106"/>
                <a:gd name="T39" fmla="*/ 24 h 69"/>
                <a:gd name="T40" fmla="*/ 11 w 106"/>
                <a:gd name="T41" fmla="*/ 24 h 69"/>
                <a:gd name="T42" fmla="*/ 14 w 106"/>
                <a:gd name="T43" fmla="*/ 14 h 69"/>
                <a:gd name="T44" fmla="*/ 21 w 106"/>
                <a:gd name="T45" fmla="*/ 19 h 69"/>
                <a:gd name="T46" fmla="*/ 28 w 106"/>
                <a:gd name="T47" fmla="*/ 22 h 69"/>
                <a:gd name="T48" fmla="*/ 42 w 106"/>
                <a:gd name="T49" fmla="*/ 19 h 69"/>
                <a:gd name="T50" fmla="*/ 42 w 106"/>
                <a:gd name="T51" fmla="*/ 14 h 69"/>
                <a:gd name="T52" fmla="*/ 49 w 106"/>
                <a:gd name="T53" fmla="*/ 14 h 69"/>
                <a:gd name="T54" fmla="*/ 56 w 106"/>
                <a:gd name="T55" fmla="*/ 10 h 69"/>
                <a:gd name="T56" fmla="*/ 59 w 106"/>
                <a:gd name="T57" fmla="*/ 12 h 69"/>
                <a:gd name="T58" fmla="*/ 66 w 106"/>
                <a:gd name="T59" fmla="*/ 7 h 69"/>
                <a:gd name="T60" fmla="*/ 68 w 106"/>
                <a:gd name="T61" fmla="*/ 3 h 69"/>
                <a:gd name="T62" fmla="*/ 75 w 106"/>
                <a:gd name="T6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" h="69">
                  <a:moveTo>
                    <a:pt x="75" y="0"/>
                  </a:moveTo>
                  <a:lnTo>
                    <a:pt x="75" y="0"/>
                  </a:lnTo>
                  <a:lnTo>
                    <a:pt x="92" y="7"/>
                  </a:lnTo>
                  <a:lnTo>
                    <a:pt x="94" y="5"/>
                  </a:lnTo>
                  <a:lnTo>
                    <a:pt x="104" y="12"/>
                  </a:lnTo>
                  <a:lnTo>
                    <a:pt x="106" y="19"/>
                  </a:lnTo>
                  <a:lnTo>
                    <a:pt x="94" y="24"/>
                  </a:lnTo>
                  <a:lnTo>
                    <a:pt x="89" y="40"/>
                  </a:lnTo>
                  <a:lnTo>
                    <a:pt x="78" y="57"/>
                  </a:lnTo>
                  <a:lnTo>
                    <a:pt x="66" y="62"/>
                  </a:lnTo>
                  <a:lnTo>
                    <a:pt x="56" y="59"/>
                  </a:lnTo>
                  <a:lnTo>
                    <a:pt x="45" y="67"/>
                  </a:lnTo>
                  <a:lnTo>
                    <a:pt x="37" y="69"/>
                  </a:lnTo>
                  <a:lnTo>
                    <a:pt x="23" y="64"/>
                  </a:lnTo>
                  <a:lnTo>
                    <a:pt x="11" y="55"/>
                  </a:lnTo>
                  <a:lnTo>
                    <a:pt x="7" y="52"/>
                  </a:lnTo>
                  <a:lnTo>
                    <a:pt x="2" y="43"/>
                  </a:lnTo>
                  <a:lnTo>
                    <a:pt x="0" y="43"/>
                  </a:lnTo>
                  <a:lnTo>
                    <a:pt x="7" y="29"/>
                  </a:lnTo>
                  <a:lnTo>
                    <a:pt x="2" y="24"/>
                  </a:lnTo>
                  <a:lnTo>
                    <a:pt x="11" y="24"/>
                  </a:lnTo>
                  <a:lnTo>
                    <a:pt x="14" y="14"/>
                  </a:lnTo>
                  <a:lnTo>
                    <a:pt x="21" y="19"/>
                  </a:lnTo>
                  <a:lnTo>
                    <a:pt x="28" y="22"/>
                  </a:lnTo>
                  <a:lnTo>
                    <a:pt x="42" y="19"/>
                  </a:lnTo>
                  <a:lnTo>
                    <a:pt x="42" y="14"/>
                  </a:lnTo>
                  <a:lnTo>
                    <a:pt x="49" y="14"/>
                  </a:lnTo>
                  <a:lnTo>
                    <a:pt x="56" y="10"/>
                  </a:lnTo>
                  <a:lnTo>
                    <a:pt x="59" y="12"/>
                  </a:lnTo>
                  <a:lnTo>
                    <a:pt x="66" y="7"/>
                  </a:lnTo>
                  <a:lnTo>
                    <a:pt x="68" y="3"/>
                  </a:lnTo>
                  <a:lnTo>
                    <a:pt x="75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34" name="Freeform 144">
              <a:extLst>
                <a:ext uri="{FF2B5EF4-FFF2-40B4-BE49-F238E27FC236}">
                  <a16:creationId xmlns:a16="http://schemas.microsoft.com/office/drawing/2014/main" id="{C74695F5-746F-828E-35FA-707C76E09D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15880" y="3080182"/>
              <a:ext cx="796873" cy="278671"/>
            </a:xfrm>
            <a:custGeom>
              <a:avLst/>
              <a:gdLst>
                <a:gd name="T0" fmla="*/ 397 w 740"/>
                <a:gd name="T1" fmla="*/ 239 h 255"/>
                <a:gd name="T2" fmla="*/ 470 w 740"/>
                <a:gd name="T3" fmla="*/ 251 h 255"/>
                <a:gd name="T4" fmla="*/ 480 w 740"/>
                <a:gd name="T5" fmla="*/ 232 h 255"/>
                <a:gd name="T6" fmla="*/ 366 w 740"/>
                <a:gd name="T7" fmla="*/ 218 h 255"/>
                <a:gd name="T8" fmla="*/ 354 w 740"/>
                <a:gd name="T9" fmla="*/ 234 h 255"/>
                <a:gd name="T10" fmla="*/ 447 w 740"/>
                <a:gd name="T11" fmla="*/ 218 h 255"/>
                <a:gd name="T12" fmla="*/ 397 w 740"/>
                <a:gd name="T13" fmla="*/ 225 h 255"/>
                <a:gd name="T14" fmla="*/ 215 w 740"/>
                <a:gd name="T15" fmla="*/ 199 h 255"/>
                <a:gd name="T16" fmla="*/ 286 w 740"/>
                <a:gd name="T17" fmla="*/ 210 h 255"/>
                <a:gd name="T18" fmla="*/ 279 w 740"/>
                <a:gd name="T19" fmla="*/ 225 h 255"/>
                <a:gd name="T20" fmla="*/ 210 w 740"/>
                <a:gd name="T21" fmla="*/ 213 h 255"/>
                <a:gd name="T22" fmla="*/ 194 w 740"/>
                <a:gd name="T23" fmla="*/ 184 h 255"/>
                <a:gd name="T24" fmla="*/ 638 w 740"/>
                <a:gd name="T25" fmla="*/ 187 h 255"/>
                <a:gd name="T26" fmla="*/ 638 w 740"/>
                <a:gd name="T27" fmla="*/ 182 h 255"/>
                <a:gd name="T28" fmla="*/ 499 w 740"/>
                <a:gd name="T29" fmla="*/ 147 h 255"/>
                <a:gd name="T30" fmla="*/ 570 w 740"/>
                <a:gd name="T31" fmla="*/ 139 h 255"/>
                <a:gd name="T32" fmla="*/ 527 w 740"/>
                <a:gd name="T33" fmla="*/ 142 h 255"/>
                <a:gd name="T34" fmla="*/ 629 w 740"/>
                <a:gd name="T35" fmla="*/ 106 h 255"/>
                <a:gd name="T36" fmla="*/ 695 w 740"/>
                <a:gd name="T37" fmla="*/ 116 h 255"/>
                <a:gd name="T38" fmla="*/ 740 w 740"/>
                <a:gd name="T39" fmla="*/ 234 h 255"/>
                <a:gd name="T40" fmla="*/ 690 w 740"/>
                <a:gd name="T41" fmla="*/ 210 h 255"/>
                <a:gd name="T42" fmla="*/ 645 w 740"/>
                <a:gd name="T43" fmla="*/ 161 h 255"/>
                <a:gd name="T44" fmla="*/ 605 w 740"/>
                <a:gd name="T45" fmla="*/ 142 h 255"/>
                <a:gd name="T46" fmla="*/ 598 w 740"/>
                <a:gd name="T47" fmla="*/ 123 h 255"/>
                <a:gd name="T48" fmla="*/ 600 w 740"/>
                <a:gd name="T49" fmla="*/ 94 h 255"/>
                <a:gd name="T50" fmla="*/ 470 w 740"/>
                <a:gd name="T51" fmla="*/ 80 h 255"/>
                <a:gd name="T52" fmla="*/ 399 w 740"/>
                <a:gd name="T53" fmla="*/ 97 h 255"/>
                <a:gd name="T54" fmla="*/ 444 w 740"/>
                <a:gd name="T55" fmla="*/ 104 h 255"/>
                <a:gd name="T56" fmla="*/ 449 w 740"/>
                <a:gd name="T57" fmla="*/ 163 h 255"/>
                <a:gd name="T58" fmla="*/ 428 w 740"/>
                <a:gd name="T59" fmla="*/ 165 h 255"/>
                <a:gd name="T60" fmla="*/ 404 w 740"/>
                <a:gd name="T61" fmla="*/ 135 h 255"/>
                <a:gd name="T62" fmla="*/ 395 w 740"/>
                <a:gd name="T63" fmla="*/ 161 h 255"/>
                <a:gd name="T64" fmla="*/ 388 w 740"/>
                <a:gd name="T65" fmla="*/ 109 h 255"/>
                <a:gd name="T66" fmla="*/ 447 w 740"/>
                <a:gd name="T67" fmla="*/ 75 h 255"/>
                <a:gd name="T68" fmla="*/ 539 w 740"/>
                <a:gd name="T69" fmla="*/ 71 h 255"/>
                <a:gd name="T70" fmla="*/ 529 w 740"/>
                <a:gd name="T71" fmla="*/ 102 h 255"/>
                <a:gd name="T72" fmla="*/ 529 w 740"/>
                <a:gd name="T73" fmla="*/ 61 h 255"/>
                <a:gd name="T74" fmla="*/ 383 w 740"/>
                <a:gd name="T75" fmla="*/ 73 h 255"/>
                <a:gd name="T76" fmla="*/ 343 w 740"/>
                <a:gd name="T77" fmla="*/ 128 h 255"/>
                <a:gd name="T78" fmla="*/ 298 w 740"/>
                <a:gd name="T79" fmla="*/ 144 h 255"/>
                <a:gd name="T80" fmla="*/ 241 w 740"/>
                <a:gd name="T81" fmla="*/ 135 h 255"/>
                <a:gd name="T82" fmla="*/ 222 w 740"/>
                <a:gd name="T83" fmla="*/ 66 h 255"/>
                <a:gd name="T84" fmla="*/ 267 w 740"/>
                <a:gd name="T85" fmla="*/ 73 h 255"/>
                <a:gd name="T86" fmla="*/ 321 w 740"/>
                <a:gd name="T87" fmla="*/ 42 h 255"/>
                <a:gd name="T88" fmla="*/ 357 w 740"/>
                <a:gd name="T89" fmla="*/ 35 h 255"/>
                <a:gd name="T90" fmla="*/ 151 w 740"/>
                <a:gd name="T91" fmla="*/ 184 h 255"/>
                <a:gd name="T92" fmla="*/ 89 w 740"/>
                <a:gd name="T93" fmla="*/ 120 h 255"/>
                <a:gd name="T94" fmla="*/ 37 w 740"/>
                <a:gd name="T95" fmla="*/ 49 h 255"/>
                <a:gd name="T96" fmla="*/ 9 w 740"/>
                <a:gd name="T97" fmla="*/ 0 h 255"/>
                <a:gd name="T98" fmla="*/ 87 w 740"/>
                <a:gd name="T99" fmla="*/ 54 h 255"/>
                <a:gd name="T100" fmla="*/ 132 w 740"/>
                <a:gd name="T101" fmla="*/ 99 h 255"/>
                <a:gd name="T102" fmla="*/ 168 w 740"/>
                <a:gd name="T103" fmla="*/ 128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40" h="255">
                  <a:moveTo>
                    <a:pt x="411" y="253"/>
                  </a:moveTo>
                  <a:lnTo>
                    <a:pt x="411" y="253"/>
                  </a:lnTo>
                  <a:lnTo>
                    <a:pt x="404" y="253"/>
                  </a:lnTo>
                  <a:lnTo>
                    <a:pt x="383" y="244"/>
                  </a:lnTo>
                  <a:lnTo>
                    <a:pt x="397" y="239"/>
                  </a:lnTo>
                  <a:lnTo>
                    <a:pt x="406" y="244"/>
                  </a:lnTo>
                  <a:lnTo>
                    <a:pt x="411" y="248"/>
                  </a:lnTo>
                  <a:lnTo>
                    <a:pt x="411" y="253"/>
                  </a:lnTo>
                  <a:close/>
                  <a:moveTo>
                    <a:pt x="470" y="251"/>
                  </a:moveTo>
                  <a:lnTo>
                    <a:pt x="470" y="251"/>
                  </a:lnTo>
                  <a:lnTo>
                    <a:pt x="456" y="255"/>
                  </a:lnTo>
                  <a:lnTo>
                    <a:pt x="456" y="253"/>
                  </a:lnTo>
                  <a:lnTo>
                    <a:pt x="456" y="248"/>
                  </a:lnTo>
                  <a:lnTo>
                    <a:pt x="463" y="239"/>
                  </a:lnTo>
                  <a:lnTo>
                    <a:pt x="480" y="232"/>
                  </a:lnTo>
                  <a:lnTo>
                    <a:pt x="482" y="234"/>
                  </a:lnTo>
                  <a:lnTo>
                    <a:pt x="482" y="239"/>
                  </a:lnTo>
                  <a:lnTo>
                    <a:pt x="470" y="251"/>
                  </a:lnTo>
                  <a:close/>
                  <a:moveTo>
                    <a:pt x="366" y="218"/>
                  </a:moveTo>
                  <a:lnTo>
                    <a:pt x="366" y="218"/>
                  </a:lnTo>
                  <a:lnTo>
                    <a:pt x="371" y="222"/>
                  </a:lnTo>
                  <a:lnTo>
                    <a:pt x="380" y="222"/>
                  </a:lnTo>
                  <a:lnTo>
                    <a:pt x="385" y="229"/>
                  </a:lnTo>
                  <a:lnTo>
                    <a:pt x="366" y="232"/>
                  </a:lnTo>
                  <a:lnTo>
                    <a:pt x="354" y="234"/>
                  </a:lnTo>
                  <a:lnTo>
                    <a:pt x="347" y="234"/>
                  </a:lnTo>
                  <a:lnTo>
                    <a:pt x="352" y="225"/>
                  </a:lnTo>
                  <a:lnTo>
                    <a:pt x="361" y="225"/>
                  </a:lnTo>
                  <a:lnTo>
                    <a:pt x="366" y="218"/>
                  </a:lnTo>
                  <a:close/>
                  <a:moveTo>
                    <a:pt x="447" y="218"/>
                  </a:moveTo>
                  <a:lnTo>
                    <a:pt x="447" y="218"/>
                  </a:lnTo>
                  <a:lnTo>
                    <a:pt x="444" y="229"/>
                  </a:lnTo>
                  <a:lnTo>
                    <a:pt x="418" y="232"/>
                  </a:lnTo>
                  <a:lnTo>
                    <a:pt x="397" y="229"/>
                  </a:lnTo>
                  <a:lnTo>
                    <a:pt x="397" y="225"/>
                  </a:lnTo>
                  <a:lnTo>
                    <a:pt x="411" y="222"/>
                  </a:lnTo>
                  <a:lnTo>
                    <a:pt x="421" y="227"/>
                  </a:lnTo>
                  <a:lnTo>
                    <a:pt x="432" y="225"/>
                  </a:lnTo>
                  <a:lnTo>
                    <a:pt x="447" y="218"/>
                  </a:lnTo>
                  <a:close/>
                  <a:moveTo>
                    <a:pt x="215" y="199"/>
                  </a:moveTo>
                  <a:lnTo>
                    <a:pt x="215" y="199"/>
                  </a:lnTo>
                  <a:lnTo>
                    <a:pt x="246" y="199"/>
                  </a:lnTo>
                  <a:lnTo>
                    <a:pt x="250" y="191"/>
                  </a:lnTo>
                  <a:lnTo>
                    <a:pt x="279" y="201"/>
                  </a:lnTo>
                  <a:lnTo>
                    <a:pt x="286" y="210"/>
                  </a:lnTo>
                  <a:lnTo>
                    <a:pt x="309" y="213"/>
                  </a:lnTo>
                  <a:lnTo>
                    <a:pt x="331" y="222"/>
                  </a:lnTo>
                  <a:lnTo>
                    <a:pt x="312" y="229"/>
                  </a:lnTo>
                  <a:lnTo>
                    <a:pt x="293" y="222"/>
                  </a:lnTo>
                  <a:lnTo>
                    <a:pt x="279" y="225"/>
                  </a:lnTo>
                  <a:lnTo>
                    <a:pt x="262" y="222"/>
                  </a:lnTo>
                  <a:lnTo>
                    <a:pt x="248" y="220"/>
                  </a:lnTo>
                  <a:lnTo>
                    <a:pt x="227" y="213"/>
                  </a:lnTo>
                  <a:lnTo>
                    <a:pt x="217" y="210"/>
                  </a:lnTo>
                  <a:lnTo>
                    <a:pt x="210" y="213"/>
                  </a:lnTo>
                  <a:lnTo>
                    <a:pt x="179" y="208"/>
                  </a:lnTo>
                  <a:lnTo>
                    <a:pt x="177" y="201"/>
                  </a:lnTo>
                  <a:lnTo>
                    <a:pt x="163" y="199"/>
                  </a:lnTo>
                  <a:lnTo>
                    <a:pt x="172" y="184"/>
                  </a:lnTo>
                  <a:lnTo>
                    <a:pt x="194" y="184"/>
                  </a:lnTo>
                  <a:lnTo>
                    <a:pt x="205" y="189"/>
                  </a:lnTo>
                  <a:lnTo>
                    <a:pt x="212" y="191"/>
                  </a:lnTo>
                  <a:lnTo>
                    <a:pt x="215" y="199"/>
                  </a:lnTo>
                  <a:close/>
                  <a:moveTo>
                    <a:pt x="638" y="187"/>
                  </a:moveTo>
                  <a:lnTo>
                    <a:pt x="638" y="187"/>
                  </a:lnTo>
                  <a:lnTo>
                    <a:pt x="629" y="199"/>
                  </a:lnTo>
                  <a:lnTo>
                    <a:pt x="629" y="187"/>
                  </a:lnTo>
                  <a:lnTo>
                    <a:pt x="631" y="182"/>
                  </a:lnTo>
                  <a:lnTo>
                    <a:pt x="634" y="175"/>
                  </a:lnTo>
                  <a:lnTo>
                    <a:pt x="638" y="182"/>
                  </a:lnTo>
                  <a:lnTo>
                    <a:pt x="638" y="187"/>
                  </a:lnTo>
                  <a:close/>
                  <a:moveTo>
                    <a:pt x="518" y="144"/>
                  </a:moveTo>
                  <a:lnTo>
                    <a:pt x="518" y="144"/>
                  </a:lnTo>
                  <a:lnTo>
                    <a:pt x="511" y="149"/>
                  </a:lnTo>
                  <a:lnTo>
                    <a:pt x="499" y="147"/>
                  </a:lnTo>
                  <a:lnTo>
                    <a:pt x="496" y="139"/>
                  </a:lnTo>
                  <a:lnTo>
                    <a:pt x="513" y="139"/>
                  </a:lnTo>
                  <a:lnTo>
                    <a:pt x="518" y="144"/>
                  </a:lnTo>
                  <a:close/>
                  <a:moveTo>
                    <a:pt x="570" y="139"/>
                  </a:moveTo>
                  <a:lnTo>
                    <a:pt x="570" y="139"/>
                  </a:lnTo>
                  <a:lnTo>
                    <a:pt x="574" y="151"/>
                  </a:lnTo>
                  <a:lnTo>
                    <a:pt x="560" y="144"/>
                  </a:lnTo>
                  <a:lnTo>
                    <a:pt x="548" y="142"/>
                  </a:lnTo>
                  <a:lnTo>
                    <a:pt x="539" y="144"/>
                  </a:lnTo>
                  <a:lnTo>
                    <a:pt x="527" y="142"/>
                  </a:lnTo>
                  <a:lnTo>
                    <a:pt x="529" y="135"/>
                  </a:lnTo>
                  <a:lnTo>
                    <a:pt x="551" y="132"/>
                  </a:lnTo>
                  <a:lnTo>
                    <a:pt x="570" y="139"/>
                  </a:lnTo>
                  <a:close/>
                  <a:moveTo>
                    <a:pt x="629" y="106"/>
                  </a:moveTo>
                  <a:lnTo>
                    <a:pt x="629" y="106"/>
                  </a:lnTo>
                  <a:lnTo>
                    <a:pt x="634" y="132"/>
                  </a:lnTo>
                  <a:lnTo>
                    <a:pt x="650" y="142"/>
                  </a:lnTo>
                  <a:lnTo>
                    <a:pt x="662" y="125"/>
                  </a:lnTo>
                  <a:lnTo>
                    <a:pt x="681" y="116"/>
                  </a:lnTo>
                  <a:lnTo>
                    <a:pt x="695" y="116"/>
                  </a:lnTo>
                  <a:lnTo>
                    <a:pt x="712" y="120"/>
                  </a:lnTo>
                  <a:lnTo>
                    <a:pt x="721" y="128"/>
                  </a:lnTo>
                  <a:lnTo>
                    <a:pt x="740" y="130"/>
                  </a:lnTo>
                  <a:lnTo>
                    <a:pt x="740" y="182"/>
                  </a:lnTo>
                  <a:lnTo>
                    <a:pt x="740" y="234"/>
                  </a:lnTo>
                  <a:lnTo>
                    <a:pt x="726" y="222"/>
                  </a:lnTo>
                  <a:lnTo>
                    <a:pt x="709" y="218"/>
                  </a:lnTo>
                  <a:lnTo>
                    <a:pt x="704" y="225"/>
                  </a:lnTo>
                  <a:lnTo>
                    <a:pt x="686" y="225"/>
                  </a:lnTo>
                  <a:lnTo>
                    <a:pt x="690" y="210"/>
                  </a:lnTo>
                  <a:lnTo>
                    <a:pt x="702" y="206"/>
                  </a:lnTo>
                  <a:lnTo>
                    <a:pt x="697" y="189"/>
                  </a:lnTo>
                  <a:lnTo>
                    <a:pt x="690" y="175"/>
                  </a:lnTo>
                  <a:lnTo>
                    <a:pt x="660" y="161"/>
                  </a:lnTo>
                  <a:lnTo>
                    <a:pt x="645" y="161"/>
                  </a:lnTo>
                  <a:lnTo>
                    <a:pt x="619" y="144"/>
                  </a:lnTo>
                  <a:lnTo>
                    <a:pt x="615" y="154"/>
                  </a:lnTo>
                  <a:lnTo>
                    <a:pt x="610" y="154"/>
                  </a:lnTo>
                  <a:lnTo>
                    <a:pt x="605" y="149"/>
                  </a:lnTo>
                  <a:lnTo>
                    <a:pt x="605" y="142"/>
                  </a:lnTo>
                  <a:lnTo>
                    <a:pt x="593" y="135"/>
                  </a:lnTo>
                  <a:lnTo>
                    <a:pt x="610" y="128"/>
                  </a:lnTo>
                  <a:lnTo>
                    <a:pt x="622" y="128"/>
                  </a:lnTo>
                  <a:lnTo>
                    <a:pt x="622" y="123"/>
                  </a:lnTo>
                  <a:lnTo>
                    <a:pt x="598" y="123"/>
                  </a:lnTo>
                  <a:lnTo>
                    <a:pt x="591" y="113"/>
                  </a:lnTo>
                  <a:lnTo>
                    <a:pt x="577" y="111"/>
                  </a:lnTo>
                  <a:lnTo>
                    <a:pt x="570" y="104"/>
                  </a:lnTo>
                  <a:lnTo>
                    <a:pt x="591" y="99"/>
                  </a:lnTo>
                  <a:lnTo>
                    <a:pt x="600" y="94"/>
                  </a:lnTo>
                  <a:lnTo>
                    <a:pt x="626" y="102"/>
                  </a:lnTo>
                  <a:lnTo>
                    <a:pt x="629" y="106"/>
                  </a:lnTo>
                  <a:close/>
                  <a:moveTo>
                    <a:pt x="484" y="66"/>
                  </a:moveTo>
                  <a:lnTo>
                    <a:pt x="484" y="66"/>
                  </a:lnTo>
                  <a:lnTo>
                    <a:pt x="470" y="80"/>
                  </a:lnTo>
                  <a:lnTo>
                    <a:pt x="458" y="85"/>
                  </a:lnTo>
                  <a:lnTo>
                    <a:pt x="442" y="80"/>
                  </a:lnTo>
                  <a:lnTo>
                    <a:pt x="416" y="83"/>
                  </a:lnTo>
                  <a:lnTo>
                    <a:pt x="402" y="85"/>
                  </a:lnTo>
                  <a:lnTo>
                    <a:pt x="399" y="97"/>
                  </a:lnTo>
                  <a:lnTo>
                    <a:pt x="414" y="111"/>
                  </a:lnTo>
                  <a:lnTo>
                    <a:pt x="423" y="104"/>
                  </a:lnTo>
                  <a:lnTo>
                    <a:pt x="454" y="99"/>
                  </a:lnTo>
                  <a:lnTo>
                    <a:pt x="451" y="106"/>
                  </a:lnTo>
                  <a:lnTo>
                    <a:pt x="444" y="104"/>
                  </a:lnTo>
                  <a:lnTo>
                    <a:pt x="437" y="113"/>
                  </a:lnTo>
                  <a:lnTo>
                    <a:pt x="423" y="118"/>
                  </a:lnTo>
                  <a:lnTo>
                    <a:pt x="440" y="139"/>
                  </a:lnTo>
                  <a:lnTo>
                    <a:pt x="435" y="144"/>
                  </a:lnTo>
                  <a:lnTo>
                    <a:pt x="449" y="163"/>
                  </a:lnTo>
                  <a:lnTo>
                    <a:pt x="449" y="175"/>
                  </a:lnTo>
                  <a:lnTo>
                    <a:pt x="442" y="180"/>
                  </a:lnTo>
                  <a:lnTo>
                    <a:pt x="435" y="173"/>
                  </a:lnTo>
                  <a:lnTo>
                    <a:pt x="442" y="161"/>
                  </a:lnTo>
                  <a:lnTo>
                    <a:pt x="428" y="165"/>
                  </a:lnTo>
                  <a:lnTo>
                    <a:pt x="423" y="163"/>
                  </a:lnTo>
                  <a:lnTo>
                    <a:pt x="425" y="156"/>
                  </a:lnTo>
                  <a:lnTo>
                    <a:pt x="414" y="147"/>
                  </a:lnTo>
                  <a:lnTo>
                    <a:pt x="416" y="130"/>
                  </a:lnTo>
                  <a:lnTo>
                    <a:pt x="404" y="135"/>
                  </a:lnTo>
                  <a:lnTo>
                    <a:pt x="406" y="154"/>
                  </a:lnTo>
                  <a:lnTo>
                    <a:pt x="406" y="177"/>
                  </a:lnTo>
                  <a:lnTo>
                    <a:pt x="397" y="180"/>
                  </a:lnTo>
                  <a:lnTo>
                    <a:pt x="388" y="175"/>
                  </a:lnTo>
                  <a:lnTo>
                    <a:pt x="395" y="161"/>
                  </a:lnTo>
                  <a:lnTo>
                    <a:pt x="390" y="144"/>
                  </a:lnTo>
                  <a:lnTo>
                    <a:pt x="385" y="144"/>
                  </a:lnTo>
                  <a:lnTo>
                    <a:pt x="380" y="132"/>
                  </a:lnTo>
                  <a:lnTo>
                    <a:pt x="388" y="123"/>
                  </a:lnTo>
                  <a:lnTo>
                    <a:pt x="388" y="109"/>
                  </a:lnTo>
                  <a:lnTo>
                    <a:pt x="397" y="85"/>
                  </a:lnTo>
                  <a:lnTo>
                    <a:pt x="399" y="80"/>
                  </a:lnTo>
                  <a:lnTo>
                    <a:pt x="414" y="66"/>
                  </a:lnTo>
                  <a:lnTo>
                    <a:pt x="425" y="73"/>
                  </a:lnTo>
                  <a:lnTo>
                    <a:pt x="447" y="75"/>
                  </a:lnTo>
                  <a:lnTo>
                    <a:pt x="466" y="73"/>
                  </a:lnTo>
                  <a:lnTo>
                    <a:pt x="482" y="61"/>
                  </a:lnTo>
                  <a:lnTo>
                    <a:pt x="484" y="66"/>
                  </a:lnTo>
                  <a:close/>
                  <a:moveTo>
                    <a:pt x="539" y="71"/>
                  </a:moveTo>
                  <a:lnTo>
                    <a:pt x="539" y="71"/>
                  </a:lnTo>
                  <a:lnTo>
                    <a:pt x="539" y="85"/>
                  </a:lnTo>
                  <a:lnTo>
                    <a:pt x="529" y="83"/>
                  </a:lnTo>
                  <a:lnTo>
                    <a:pt x="527" y="92"/>
                  </a:lnTo>
                  <a:lnTo>
                    <a:pt x="534" y="102"/>
                  </a:lnTo>
                  <a:lnTo>
                    <a:pt x="529" y="102"/>
                  </a:lnTo>
                  <a:lnTo>
                    <a:pt x="525" y="92"/>
                  </a:lnTo>
                  <a:lnTo>
                    <a:pt x="520" y="73"/>
                  </a:lnTo>
                  <a:lnTo>
                    <a:pt x="522" y="59"/>
                  </a:lnTo>
                  <a:lnTo>
                    <a:pt x="527" y="54"/>
                  </a:lnTo>
                  <a:lnTo>
                    <a:pt x="529" y="61"/>
                  </a:lnTo>
                  <a:lnTo>
                    <a:pt x="539" y="64"/>
                  </a:lnTo>
                  <a:lnTo>
                    <a:pt x="539" y="71"/>
                  </a:lnTo>
                  <a:close/>
                  <a:moveTo>
                    <a:pt x="364" y="59"/>
                  </a:moveTo>
                  <a:lnTo>
                    <a:pt x="364" y="59"/>
                  </a:lnTo>
                  <a:lnTo>
                    <a:pt x="383" y="73"/>
                  </a:lnTo>
                  <a:lnTo>
                    <a:pt x="364" y="75"/>
                  </a:lnTo>
                  <a:lnTo>
                    <a:pt x="359" y="87"/>
                  </a:lnTo>
                  <a:lnTo>
                    <a:pt x="359" y="102"/>
                  </a:lnTo>
                  <a:lnTo>
                    <a:pt x="343" y="111"/>
                  </a:lnTo>
                  <a:lnTo>
                    <a:pt x="343" y="128"/>
                  </a:lnTo>
                  <a:lnTo>
                    <a:pt x="335" y="154"/>
                  </a:lnTo>
                  <a:lnTo>
                    <a:pt x="333" y="147"/>
                  </a:lnTo>
                  <a:lnTo>
                    <a:pt x="317" y="154"/>
                  </a:lnTo>
                  <a:lnTo>
                    <a:pt x="309" y="144"/>
                  </a:lnTo>
                  <a:lnTo>
                    <a:pt x="298" y="144"/>
                  </a:lnTo>
                  <a:lnTo>
                    <a:pt x="291" y="139"/>
                  </a:lnTo>
                  <a:lnTo>
                    <a:pt x="272" y="144"/>
                  </a:lnTo>
                  <a:lnTo>
                    <a:pt x="265" y="137"/>
                  </a:lnTo>
                  <a:lnTo>
                    <a:pt x="253" y="137"/>
                  </a:lnTo>
                  <a:lnTo>
                    <a:pt x="241" y="135"/>
                  </a:lnTo>
                  <a:lnTo>
                    <a:pt x="239" y="113"/>
                  </a:lnTo>
                  <a:lnTo>
                    <a:pt x="229" y="109"/>
                  </a:lnTo>
                  <a:lnTo>
                    <a:pt x="222" y="94"/>
                  </a:lnTo>
                  <a:lnTo>
                    <a:pt x="220" y="80"/>
                  </a:lnTo>
                  <a:lnTo>
                    <a:pt x="222" y="66"/>
                  </a:lnTo>
                  <a:lnTo>
                    <a:pt x="231" y="57"/>
                  </a:lnTo>
                  <a:lnTo>
                    <a:pt x="234" y="66"/>
                  </a:lnTo>
                  <a:lnTo>
                    <a:pt x="246" y="75"/>
                  </a:lnTo>
                  <a:lnTo>
                    <a:pt x="255" y="73"/>
                  </a:lnTo>
                  <a:lnTo>
                    <a:pt x="267" y="73"/>
                  </a:lnTo>
                  <a:lnTo>
                    <a:pt x="276" y="66"/>
                  </a:lnTo>
                  <a:lnTo>
                    <a:pt x="283" y="64"/>
                  </a:lnTo>
                  <a:lnTo>
                    <a:pt x="300" y="68"/>
                  </a:lnTo>
                  <a:lnTo>
                    <a:pt x="312" y="66"/>
                  </a:lnTo>
                  <a:lnTo>
                    <a:pt x="321" y="42"/>
                  </a:lnTo>
                  <a:lnTo>
                    <a:pt x="326" y="38"/>
                  </a:lnTo>
                  <a:lnTo>
                    <a:pt x="333" y="19"/>
                  </a:lnTo>
                  <a:lnTo>
                    <a:pt x="352" y="19"/>
                  </a:lnTo>
                  <a:lnTo>
                    <a:pt x="364" y="21"/>
                  </a:lnTo>
                  <a:lnTo>
                    <a:pt x="357" y="35"/>
                  </a:lnTo>
                  <a:lnTo>
                    <a:pt x="369" y="52"/>
                  </a:lnTo>
                  <a:lnTo>
                    <a:pt x="364" y="59"/>
                  </a:lnTo>
                  <a:close/>
                  <a:moveTo>
                    <a:pt x="170" y="182"/>
                  </a:moveTo>
                  <a:lnTo>
                    <a:pt x="170" y="182"/>
                  </a:lnTo>
                  <a:lnTo>
                    <a:pt x="151" y="184"/>
                  </a:lnTo>
                  <a:lnTo>
                    <a:pt x="139" y="168"/>
                  </a:lnTo>
                  <a:lnTo>
                    <a:pt x="118" y="156"/>
                  </a:lnTo>
                  <a:lnTo>
                    <a:pt x="111" y="147"/>
                  </a:lnTo>
                  <a:lnTo>
                    <a:pt x="99" y="132"/>
                  </a:lnTo>
                  <a:lnTo>
                    <a:pt x="89" y="120"/>
                  </a:lnTo>
                  <a:lnTo>
                    <a:pt x="78" y="99"/>
                  </a:lnTo>
                  <a:lnTo>
                    <a:pt x="63" y="85"/>
                  </a:lnTo>
                  <a:lnTo>
                    <a:pt x="59" y="71"/>
                  </a:lnTo>
                  <a:lnTo>
                    <a:pt x="52" y="59"/>
                  </a:lnTo>
                  <a:lnTo>
                    <a:pt x="37" y="49"/>
                  </a:lnTo>
                  <a:lnTo>
                    <a:pt x="30" y="35"/>
                  </a:lnTo>
                  <a:lnTo>
                    <a:pt x="16" y="26"/>
                  </a:lnTo>
                  <a:lnTo>
                    <a:pt x="0" y="9"/>
                  </a:lnTo>
                  <a:lnTo>
                    <a:pt x="0" y="0"/>
                  </a:lnTo>
                  <a:lnTo>
                    <a:pt x="9" y="0"/>
                  </a:lnTo>
                  <a:lnTo>
                    <a:pt x="35" y="4"/>
                  </a:lnTo>
                  <a:lnTo>
                    <a:pt x="49" y="19"/>
                  </a:lnTo>
                  <a:lnTo>
                    <a:pt x="61" y="31"/>
                  </a:lnTo>
                  <a:lnTo>
                    <a:pt x="71" y="38"/>
                  </a:lnTo>
                  <a:lnTo>
                    <a:pt x="87" y="54"/>
                  </a:lnTo>
                  <a:lnTo>
                    <a:pt x="101" y="54"/>
                  </a:lnTo>
                  <a:lnTo>
                    <a:pt x="116" y="66"/>
                  </a:lnTo>
                  <a:lnTo>
                    <a:pt x="125" y="80"/>
                  </a:lnTo>
                  <a:lnTo>
                    <a:pt x="137" y="87"/>
                  </a:lnTo>
                  <a:lnTo>
                    <a:pt x="132" y="99"/>
                  </a:lnTo>
                  <a:lnTo>
                    <a:pt x="142" y="106"/>
                  </a:lnTo>
                  <a:lnTo>
                    <a:pt x="146" y="106"/>
                  </a:lnTo>
                  <a:lnTo>
                    <a:pt x="149" y="118"/>
                  </a:lnTo>
                  <a:lnTo>
                    <a:pt x="156" y="125"/>
                  </a:lnTo>
                  <a:lnTo>
                    <a:pt x="168" y="128"/>
                  </a:lnTo>
                  <a:lnTo>
                    <a:pt x="175" y="137"/>
                  </a:lnTo>
                  <a:lnTo>
                    <a:pt x="170" y="158"/>
                  </a:lnTo>
                  <a:lnTo>
                    <a:pt x="170" y="18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35" name="Freeform 148">
              <a:extLst>
                <a:ext uri="{FF2B5EF4-FFF2-40B4-BE49-F238E27FC236}">
                  <a16:creationId xmlns:a16="http://schemas.microsoft.com/office/drawing/2014/main" id="{E4B38BD1-5FB7-2988-00DD-30B4D8C445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8765" y="2011402"/>
              <a:ext cx="68919" cy="101633"/>
            </a:xfrm>
            <a:custGeom>
              <a:avLst/>
              <a:gdLst>
                <a:gd name="T0" fmla="*/ 43 w 64"/>
                <a:gd name="T1" fmla="*/ 14 h 93"/>
                <a:gd name="T2" fmla="*/ 43 w 64"/>
                <a:gd name="T3" fmla="*/ 14 h 93"/>
                <a:gd name="T4" fmla="*/ 40 w 64"/>
                <a:gd name="T5" fmla="*/ 29 h 93"/>
                <a:gd name="T6" fmla="*/ 50 w 64"/>
                <a:gd name="T7" fmla="*/ 29 h 93"/>
                <a:gd name="T8" fmla="*/ 62 w 64"/>
                <a:gd name="T9" fmla="*/ 36 h 93"/>
                <a:gd name="T10" fmla="*/ 64 w 64"/>
                <a:gd name="T11" fmla="*/ 55 h 93"/>
                <a:gd name="T12" fmla="*/ 52 w 64"/>
                <a:gd name="T13" fmla="*/ 78 h 93"/>
                <a:gd name="T14" fmla="*/ 24 w 64"/>
                <a:gd name="T15" fmla="*/ 93 h 93"/>
                <a:gd name="T16" fmla="*/ 0 w 64"/>
                <a:gd name="T17" fmla="*/ 90 h 93"/>
                <a:gd name="T18" fmla="*/ 14 w 64"/>
                <a:gd name="T19" fmla="*/ 62 h 93"/>
                <a:gd name="T20" fmla="*/ 5 w 64"/>
                <a:gd name="T21" fmla="*/ 36 h 93"/>
                <a:gd name="T22" fmla="*/ 29 w 64"/>
                <a:gd name="T23" fmla="*/ 12 h 93"/>
                <a:gd name="T24" fmla="*/ 40 w 64"/>
                <a:gd name="T25" fmla="*/ 0 h 93"/>
                <a:gd name="T26" fmla="*/ 43 w 64"/>
                <a:gd name="T27" fmla="*/ 1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" h="93">
                  <a:moveTo>
                    <a:pt x="43" y="14"/>
                  </a:moveTo>
                  <a:lnTo>
                    <a:pt x="43" y="14"/>
                  </a:lnTo>
                  <a:lnTo>
                    <a:pt x="40" y="29"/>
                  </a:lnTo>
                  <a:lnTo>
                    <a:pt x="50" y="29"/>
                  </a:lnTo>
                  <a:lnTo>
                    <a:pt x="62" y="36"/>
                  </a:lnTo>
                  <a:lnTo>
                    <a:pt x="64" y="55"/>
                  </a:lnTo>
                  <a:lnTo>
                    <a:pt x="52" y="78"/>
                  </a:lnTo>
                  <a:lnTo>
                    <a:pt x="24" y="93"/>
                  </a:lnTo>
                  <a:lnTo>
                    <a:pt x="0" y="90"/>
                  </a:lnTo>
                  <a:lnTo>
                    <a:pt x="14" y="62"/>
                  </a:lnTo>
                  <a:lnTo>
                    <a:pt x="5" y="36"/>
                  </a:lnTo>
                  <a:lnTo>
                    <a:pt x="29" y="12"/>
                  </a:lnTo>
                  <a:lnTo>
                    <a:pt x="40" y="0"/>
                  </a:lnTo>
                  <a:lnTo>
                    <a:pt x="43" y="14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36" name="Freeform 154">
              <a:extLst>
                <a:ext uri="{FF2B5EF4-FFF2-40B4-BE49-F238E27FC236}">
                  <a16:creationId xmlns:a16="http://schemas.microsoft.com/office/drawing/2014/main" id="{435766BC-C0F9-0015-5802-4C7C2E73B9D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8936" y="1595038"/>
              <a:ext cx="186296" cy="126769"/>
            </a:xfrm>
            <a:custGeom>
              <a:avLst/>
              <a:gdLst>
                <a:gd name="T0" fmla="*/ 159 w 173"/>
                <a:gd name="T1" fmla="*/ 2 h 116"/>
                <a:gd name="T2" fmla="*/ 159 w 173"/>
                <a:gd name="T3" fmla="*/ 2 h 116"/>
                <a:gd name="T4" fmla="*/ 157 w 173"/>
                <a:gd name="T5" fmla="*/ 29 h 116"/>
                <a:gd name="T6" fmla="*/ 173 w 173"/>
                <a:gd name="T7" fmla="*/ 55 h 116"/>
                <a:gd name="T8" fmla="*/ 152 w 173"/>
                <a:gd name="T9" fmla="*/ 83 h 116"/>
                <a:gd name="T10" fmla="*/ 107 w 173"/>
                <a:gd name="T11" fmla="*/ 109 h 116"/>
                <a:gd name="T12" fmla="*/ 93 w 173"/>
                <a:gd name="T13" fmla="*/ 116 h 116"/>
                <a:gd name="T14" fmla="*/ 71 w 173"/>
                <a:gd name="T15" fmla="*/ 109 h 116"/>
                <a:gd name="T16" fmla="*/ 26 w 173"/>
                <a:gd name="T17" fmla="*/ 100 h 116"/>
                <a:gd name="T18" fmla="*/ 41 w 173"/>
                <a:gd name="T19" fmla="*/ 83 h 116"/>
                <a:gd name="T20" fmla="*/ 8 w 173"/>
                <a:gd name="T21" fmla="*/ 64 h 116"/>
                <a:gd name="T22" fmla="*/ 36 w 173"/>
                <a:gd name="T23" fmla="*/ 57 h 116"/>
                <a:gd name="T24" fmla="*/ 36 w 173"/>
                <a:gd name="T25" fmla="*/ 45 h 116"/>
                <a:gd name="T26" fmla="*/ 0 w 173"/>
                <a:gd name="T27" fmla="*/ 36 h 116"/>
                <a:gd name="T28" fmla="*/ 12 w 173"/>
                <a:gd name="T29" fmla="*/ 12 h 116"/>
                <a:gd name="T30" fmla="*/ 36 w 173"/>
                <a:gd name="T31" fmla="*/ 5 h 116"/>
                <a:gd name="T32" fmla="*/ 62 w 173"/>
                <a:gd name="T33" fmla="*/ 33 h 116"/>
                <a:gd name="T34" fmla="*/ 86 w 173"/>
                <a:gd name="T35" fmla="*/ 10 h 116"/>
                <a:gd name="T36" fmla="*/ 107 w 173"/>
                <a:gd name="T37" fmla="*/ 21 h 116"/>
                <a:gd name="T38" fmla="*/ 133 w 173"/>
                <a:gd name="T39" fmla="*/ 0 h 116"/>
                <a:gd name="T40" fmla="*/ 159 w 173"/>
                <a:gd name="T41" fmla="*/ 2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3" h="116">
                  <a:moveTo>
                    <a:pt x="159" y="2"/>
                  </a:moveTo>
                  <a:lnTo>
                    <a:pt x="159" y="2"/>
                  </a:lnTo>
                  <a:lnTo>
                    <a:pt x="157" y="29"/>
                  </a:lnTo>
                  <a:lnTo>
                    <a:pt x="173" y="55"/>
                  </a:lnTo>
                  <a:lnTo>
                    <a:pt x="152" y="83"/>
                  </a:lnTo>
                  <a:lnTo>
                    <a:pt x="107" y="109"/>
                  </a:lnTo>
                  <a:lnTo>
                    <a:pt x="93" y="116"/>
                  </a:lnTo>
                  <a:lnTo>
                    <a:pt x="71" y="109"/>
                  </a:lnTo>
                  <a:lnTo>
                    <a:pt x="26" y="100"/>
                  </a:lnTo>
                  <a:lnTo>
                    <a:pt x="41" y="83"/>
                  </a:lnTo>
                  <a:lnTo>
                    <a:pt x="8" y="64"/>
                  </a:lnTo>
                  <a:lnTo>
                    <a:pt x="36" y="57"/>
                  </a:lnTo>
                  <a:lnTo>
                    <a:pt x="36" y="45"/>
                  </a:lnTo>
                  <a:lnTo>
                    <a:pt x="0" y="36"/>
                  </a:lnTo>
                  <a:lnTo>
                    <a:pt x="12" y="12"/>
                  </a:lnTo>
                  <a:lnTo>
                    <a:pt x="36" y="5"/>
                  </a:lnTo>
                  <a:lnTo>
                    <a:pt x="62" y="33"/>
                  </a:lnTo>
                  <a:lnTo>
                    <a:pt x="86" y="10"/>
                  </a:lnTo>
                  <a:lnTo>
                    <a:pt x="107" y="21"/>
                  </a:lnTo>
                  <a:lnTo>
                    <a:pt x="133" y="0"/>
                  </a:lnTo>
                  <a:lnTo>
                    <a:pt x="159" y="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37" name="Freeform 156">
              <a:extLst>
                <a:ext uri="{FF2B5EF4-FFF2-40B4-BE49-F238E27FC236}">
                  <a16:creationId xmlns:a16="http://schemas.microsoft.com/office/drawing/2014/main" id="{CD59AB8D-8890-3290-3D72-4555F9722E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0870" y="2557812"/>
              <a:ext cx="27999" cy="74312"/>
            </a:xfrm>
            <a:custGeom>
              <a:avLst/>
              <a:gdLst>
                <a:gd name="T0" fmla="*/ 26 w 26"/>
                <a:gd name="T1" fmla="*/ 0 h 68"/>
                <a:gd name="T2" fmla="*/ 26 w 26"/>
                <a:gd name="T3" fmla="*/ 0 h 68"/>
                <a:gd name="T4" fmla="*/ 26 w 26"/>
                <a:gd name="T5" fmla="*/ 7 h 68"/>
                <a:gd name="T6" fmla="*/ 24 w 26"/>
                <a:gd name="T7" fmla="*/ 9 h 68"/>
                <a:gd name="T8" fmla="*/ 24 w 26"/>
                <a:gd name="T9" fmla="*/ 9 h 68"/>
                <a:gd name="T10" fmla="*/ 21 w 26"/>
                <a:gd name="T11" fmla="*/ 16 h 68"/>
                <a:gd name="T12" fmla="*/ 14 w 26"/>
                <a:gd name="T13" fmla="*/ 14 h 68"/>
                <a:gd name="T14" fmla="*/ 12 w 26"/>
                <a:gd name="T15" fmla="*/ 26 h 68"/>
                <a:gd name="T16" fmla="*/ 16 w 26"/>
                <a:gd name="T17" fmla="*/ 28 h 68"/>
                <a:gd name="T18" fmla="*/ 12 w 26"/>
                <a:gd name="T19" fmla="*/ 30 h 68"/>
                <a:gd name="T20" fmla="*/ 12 w 26"/>
                <a:gd name="T21" fmla="*/ 35 h 68"/>
                <a:gd name="T22" fmla="*/ 19 w 26"/>
                <a:gd name="T23" fmla="*/ 33 h 68"/>
                <a:gd name="T24" fmla="*/ 19 w 26"/>
                <a:gd name="T25" fmla="*/ 40 h 68"/>
                <a:gd name="T26" fmla="*/ 12 w 26"/>
                <a:gd name="T27" fmla="*/ 68 h 68"/>
                <a:gd name="T28" fmla="*/ 0 w 26"/>
                <a:gd name="T29" fmla="*/ 38 h 68"/>
                <a:gd name="T30" fmla="*/ 5 w 26"/>
                <a:gd name="T31" fmla="*/ 30 h 68"/>
                <a:gd name="T32" fmla="*/ 5 w 26"/>
                <a:gd name="T33" fmla="*/ 30 h 68"/>
                <a:gd name="T34" fmla="*/ 9 w 26"/>
                <a:gd name="T35" fmla="*/ 21 h 68"/>
                <a:gd name="T36" fmla="*/ 12 w 26"/>
                <a:gd name="T37" fmla="*/ 7 h 68"/>
                <a:gd name="T38" fmla="*/ 14 w 26"/>
                <a:gd name="T39" fmla="*/ 2 h 68"/>
                <a:gd name="T40" fmla="*/ 14 w 26"/>
                <a:gd name="T41" fmla="*/ 2 h 68"/>
                <a:gd name="T42" fmla="*/ 19 w 26"/>
                <a:gd name="T43" fmla="*/ 2 h 68"/>
                <a:gd name="T44" fmla="*/ 21 w 26"/>
                <a:gd name="T45" fmla="*/ 0 h 68"/>
                <a:gd name="T46" fmla="*/ 26 w 26"/>
                <a:gd name="T47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" h="68">
                  <a:moveTo>
                    <a:pt x="26" y="0"/>
                  </a:moveTo>
                  <a:lnTo>
                    <a:pt x="26" y="0"/>
                  </a:lnTo>
                  <a:lnTo>
                    <a:pt x="26" y="7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1" y="16"/>
                  </a:lnTo>
                  <a:lnTo>
                    <a:pt x="14" y="14"/>
                  </a:lnTo>
                  <a:lnTo>
                    <a:pt x="12" y="26"/>
                  </a:lnTo>
                  <a:lnTo>
                    <a:pt x="16" y="28"/>
                  </a:lnTo>
                  <a:lnTo>
                    <a:pt x="12" y="30"/>
                  </a:lnTo>
                  <a:lnTo>
                    <a:pt x="12" y="35"/>
                  </a:lnTo>
                  <a:lnTo>
                    <a:pt x="19" y="33"/>
                  </a:lnTo>
                  <a:lnTo>
                    <a:pt x="19" y="40"/>
                  </a:lnTo>
                  <a:lnTo>
                    <a:pt x="12" y="68"/>
                  </a:lnTo>
                  <a:lnTo>
                    <a:pt x="0" y="38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9" y="21"/>
                  </a:lnTo>
                  <a:lnTo>
                    <a:pt x="12" y="7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9" y="2"/>
                  </a:lnTo>
                  <a:lnTo>
                    <a:pt x="21" y="0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38" name="Freeform 158">
              <a:extLst>
                <a:ext uri="{FF2B5EF4-FFF2-40B4-BE49-F238E27FC236}">
                  <a16:creationId xmlns:a16="http://schemas.microsoft.com/office/drawing/2014/main" id="{463A6DC9-8E2E-F8B0-61E2-A26EAC2DEE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71669" y="2236523"/>
              <a:ext cx="203525" cy="248071"/>
            </a:xfrm>
            <a:custGeom>
              <a:avLst/>
              <a:gdLst>
                <a:gd name="T0" fmla="*/ 142 w 189"/>
                <a:gd name="T1" fmla="*/ 194 h 227"/>
                <a:gd name="T2" fmla="*/ 137 w 189"/>
                <a:gd name="T3" fmla="*/ 218 h 227"/>
                <a:gd name="T4" fmla="*/ 121 w 189"/>
                <a:gd name="T5" fmla="*/ 220 h 227"/>
                <a:gd name="T6" fmla="*/ 92 w 189"/>
                <a:gd name="T7" fmla="*/ 206 h 227"/>
                <a:gd name="T8" fmla="*/ 114 w 189"/>
                <a:gd name="T9" fmla="*/ 199 h 227"/>
                <a:gd name="T10" fmla="*/ 142 w 189"/>
                <a:gd name="T11" fmla="*/ 194 h 227"/>
                <a:gd name="T12" fmla="*/ 40 w 189"/>
                <a:gd name="T13" fmla="*/ 133 h 227"/>
                <a:gd name="T14" fmla="*/ 48 w 189"/>
                <a:gd name="T15" fmla="*/ 175 h 227"/>
                <a:gd name="T16" fmla="*/ 33 w 189"/>
                <a:gd name="T17" fmla="*/ 180 h 227"/>
                <a:gd name="T18" fmla="*/ 26 w 189"/>
                <a:gd name="T19" fmla="*/ 149 h 227"/>
                <a:gd name="T20" fmla="*/ 31 w 189"/>
                <a:gd name="T21" fmla="*/ 137 h 227"/>
                <a:gd name="T22" fmla="*/ 90 w 189"/>
                <a:gd name="T23" fmla="*/ 7 h 227"/>
                <a:gd name="T24" fmla="*/ 114 w 189"/>
                <a:gd name="T25" fmla="*/ 14 h 227"/>
                <a:gd name="T26" fmla="*/ 116 w 189"/>
                <a:gd name="T27" fmla="*/ 36 h 227"/>
                <a:gd name="T28" fmla="*/ 90 w 189"/>
                <a:gd name="T29" fmla="*/ 40 h 227"/>
                <a:gd name="T30" fmla="*/ 88 w 189"/>
                <a:gd name="T31" fmla="*/ 57 h 227"/>
                <a:gd name="T32" fmla="*/ 109 w 189"/>
                <a:gd name="T33" fmla="*/ 81 h 227"/>
                <a:gd name="T34" fmla="*/ 135 w 189"/>
                <a:gd name="T35" fmla="*/ 116 h 227"/>
                <a:gd name="T36" fmla="*/ 152 w 189"/>
                <a:gd name="T37" fmla="*/ 121 h 227"/>
                <a:gd name="T38" fmla="*/ 161 w 189"/>
                <a:gd name="T39" fmla="*/ 133 h 227"/>
                <a:gd name="T40" fmla="*/ 187 w 189"/>
                <a:gd name="T41" fmla="*/ 149 h 227"/>
                <a:gd name="T42" fmla="*/ 187 w 189"/>
                <a:gd name="T43" fmla="*/ 161 h 227"/>
                <a:gd name="T44" fmla="*/ 163 w 189"/>
                <a:gd name="T45" fmla="*/ 147 h 227"/>
                <a:gd name="T46" fmla="*/ 168 w 189"/>
                <a:gd name="T47" fmla="*/ 171 h 227"/>
                <a:gd name="T48" fmla="*/ 159 w 189"/>
                <a:gd name="T49" fmla="*/ 182 h 227"/>
                <a:gd name="T50" fmla="*/ 145 w 189"/>
                <a:gd name="T51" fmla="*/ 201 h 227"/>
                <a:gd name="T52" fmla="*/ 147 w 189"/>
                <a:gd name="T53" fmla="*/ 182 h 227"/>
                <a:gd name="T54" fmla="*/ 145 w 189"/>
                <a:gd name="T55" fmla="*/ 166 h 227"/>
                <a:gd name="T56" fmla="*/ 133 w 189"/>
                <a:gd name="T57" fmla="*/ 154 h 227"/>
                <a:gd name="T58" fmla="*/ 116 w 189"/>
                <a:gd name="T59" fmla="*/ 140 h 227"/>
                <a:gd name="T60" fmla="*/ 100 w 189"/>
                <a:gd name="T61" fmla="*/ 130 h 227"/>
                <a:gd name="T62" fmla="*/ 71 w 189"/>
                <a:gd name="T63" fmla="*/ 107 h 227"/>
                <a:gd name="T64" fmla="*/ 55 w 189"/>
                <a:gd name="T65" fmla="*/ 74 h 227"/>
                <a:gd name="T66" fmla="*/ 36 w 189"/>
                <a:gd name="T67" fmla="*/ 62 h 227"/>
                <a:gd name="T68" fmla="*/ 19 w 189"/>
                <a:gd name="T69" fmla="*/ 76 h 227"/>
                <a:gd name="T70" fmla="*/ 12 w 189"/>
                <a:gd name="T71" fmla="*/ 69 h 227"/>
                <a:gd name="T72" fmla="*/ 0 w 189"/>
                <a:gd name="T73" fmla="*/ 47 h 227"/>
                <a:gd name="T74" fmla="*/ 0 w 189"/>
                <a:gd name="T75" fmla="*/ 33 h 227"/>
                <a:gd name="T76" fmla="*/ 7 w 189"/>
                <a:gd name="T77" fmla="*/ 31 h 227"/>
                <a:gd name="T78" fmla="*/ 24 w 189"/>
                <a:gd name="T79" fmla="*/ 21 h 227"/>
                <a:gd name="T80" fmla="*/ 36 w 189"/>
                <a:gd name="T81" fmla="*/ 26 h 227"/>
                <a:gd name="T82" fmla="*/ 52 w 189"/>
                <a:gd name="T83" fmla="*/ 19 h 227"/>
                <a:gd name="T84" fmla="*/ 59 w 189"/>
                <a:gd name="T85" fmla="*/ 5 h 227"/>
                <a:gd name="T86" fmla="*/ 71 w 189"/>
                <a:gd name="T87" fmla="*/ 5 h 227"/>
                <a:gd name="T88" fmla="*/ 90 w 189"/>
                <a:gd name="T89" fmla="*/ 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9" h="227">
                  <a:moveTo>
                    <a:pt x="142" y="194"/>
                  </a:moveTo>
                  <a:lnTo>
                    <a:pt x="142" y="194"/>
                  </a:lnTo>
                  <a:lnTo>
                    <a:pt x="135" y="211"/>
                  </a:lnTo>
                  <a:lnTo>
                    <a:pt x="137" y="218"/>
                  </a:lnTo>
                  <a:lnTo>
                    <a:pt x="135" y="227"/>
                  </a:lnTo>
                  <a:lnTo>
                    <a:pt x="121" y="220"/>
                  </a:lnTo>
                  <a:lnTo>
                    <a:pt x="114" y="218"/>
                  </a:lnTo>
                  <a:lnTo>
                    <a:pt x="92" y="206"/>
                  </a:lnTo>
                  <a:lnTo>
                    <a:pt x="92" y="197"/>
                  </a:lnTo>
                  <a:lnTo>
                    <a:pt x="114" y="199"/>
                  </a:lnTo>
                  <a:lnTo>
                    <a:pt x="130" y="197"/>
                  </a:lnTo>
                  <a:lnTo>
                    <a:pt x="142" y="194"/>
                  </a:lnTo>
                  <a:close/>
                  <a:moveTo>
                    <a:pt x="40" y="133"/>
                  </a:moveTo>
                  <a:lnTo>
                    <a:pt x="40" y="133"/>
                  </a:lnTo>
                  <a:lnTo>
                    <a:pt x="50" y="147"/>
                  </a:lnTo>
                  <a:lnTo>
                    <a:pt x="48" y="175"/>
                  </a:lnTo>
                  <a:lnTo>
                    <a:pt x="40" y="173"/>
                  </a:lnTo>
                  <a:lnTo>
                    <a:pt x="33" y="180"/>
                  </a:lnTo>
                  <a:lnTo>
                    <a:pt x="26" y="175"/>
                  </a:lnTo>
                  <a:lnTo>
                    <a:pt x="26" y="149"/>
                  </a:lnTo>
                  <a:lnTo>
                    <a:pt x="22" y="137"/>
                  </a:lnTo>
                  <a:lnTo>
                    <a:pt x="31" y="137"/>
                  </a:lnTo>
                  <a:lnTo>
                    <a:pt x="40" y="133"/>
                  </a:lnTo>
                  <a:close/>
                  <a:moveTo>
                    <a:pt x="90" y="7"/>
                  </a:moveTo>
                  <a:lnTo>
                    <a:pt x="90" y="7"/>
                  </a:lnTo>
                  <a:lnTo>
                    <a:pt x="114" y="14"/>
                  </a:lnTo>
                  <a:lnTo>
                    <a:pt x="111" y="26"/>
                  </a:lnTo>
                  <a:lnTo>
                    <a:pt x="116" y="36"/>
                  </a:lnTo>
                  <a:lnTo>
                    <a:pt x="102" y="31"/>
                  </a:lnTo>
                  <a:lnTo>
                    <a:pt x="90" y="40"/>
                  </a:lnTo>
                  <a:lnTo>
                    <a:pt x="90" y="52"/>
                  </a:lnTo>
                  <a:lnTo>
                    <a:pt x="88" y="57"/>
                  </a:lnTo>
                  <a:lnTo>
                    <a:pt x="95" y="69"/>
                  </a:lnTo>
                  <a:lnTo>
                    <a:pt x="109" y="81"/>
                  </a:lnTo>
                  <a:lnTo>
                    <a:pt x="116" y="100"/>
                  </a:lnTo>
                  <a:lnTo>
                    <a:pt x="135" y="116"/>
                  </a:lnTo>
                  <a:lnTo>
                    <a:pt x="147" y="116"/>
                  </a:lnTo>
                  <a:lnTo>
                    <a:pt x="152" y="121"/>
                  </a:lnTo>
                  <a:lnTo>
                    <a:pt x="147" y="126"/>
                  </a:lnTo>
                  <a:lnTo>
                    <a:pt x="161" y="133"/>
                  </a:lnTo>
                  <a:lnTo>
                    <a:pt x="173" y="140"/>
                  </a:lnTo>
                  <a:lnTo>
                    <a:pt x="187" y="149"/>
                  </a:lnTo>
                  <a:lnTo>
                    <a:pt x="189" y="154"/>
                  </a:lnTo>
                  <a:lnTo>
                    <a:pt x="187" y="161"/>
                  </a:lnTo>
                  <a:lnTo>
                    <a:pt x="178" y="152"/>
                  </a:lnTo>
                  <a:lnTo>
                    <a:pt x="163" y="147"/>
                  </a:lnTo>
                  <a:lnTo>
                    <a:pt x="156" y="161"/>
                  </a:lnTo>
                  <a:lnTo>
                    <a:pt x="168" y="171"/>
                  </a:lnTo>
                  <a:lnTo>
                    <a:pt x="166" y="180"/>
                  </a:lnTo>
                  <a:lnTo>
                    <a:pt x="159" y="182"/>
                  </a:lnTo>
                  <a:lnTo>
                    <a:pt x="152" y="199"/>
                  </a:lnTo>
                  <a:lnTo>
                    <a:pt x="145" y="201"/>
                  </a:lnTo>
                  <a:lnTo>
                    <a:pt x="145" y="194"/>
                  </a:lnTo>
                  <a:lnTo>
                    <a:pt x="147" y="182"/>
                  </a:lnTo>
                  <a:lnTo>
                    <a:pt x="152" y="178"/>
                  </a:lnTo>
                  <a:lnTo>
                    <a:pt x="145" y="166"/>
                  </a:lnTo>
                  <a:lnTo>
                    <a:pt x="140" y="156"/>
                  </a:lnTo>
                  <a:lnTo>
                    <a:pt x="133" y="154"/>
                  </a:lnTo>
                  <a:lnTo>
                    <a:pt x="128" y="145"/>
                  </a:lnTo>
                  <a:lnTo>
                    <a:pt x="116" y="140"/>
                  </a:lnTo>
                  <a:lnTo>
                    <a:pt x="111" y="133"/>
                  </a:lnTo>
                  <a:lnTo>
                    <a:pt x="100" y="130"/>
                  </a:lnTo>
                  <a:lnTo>
                    <a:pt x="88" y="121"/>
                  </a:lnTo>
                  <a:lnTo>
                    <a:pt x="71" y="107"/>
                  </a:lnTo>
                  <a:lnTo>
                    <a:pt x="62" y="95"/>
                  </a:lnTo>
                  <a:lnTo>
                    <a:pt x="55" y="74"/>
                  </a:lnTo>
                  <a:lnTo>
                    <a:pt x="48" y="71"/>
                  </a:lnTo>
                  <a:lnTo>
                    <a:pt x="36" y="62"/>
                  </a:lnTo>
                  <a:lnTo>
                    <a:pt x="26" y="66"/>
                  </a:lnTo>
                  <a:lnTo>
                    <a:pt x="19" y="76"/>
                  </a:lnTo>
                  <a:lnTo>
                    <a:pt x="10" y="78"/>
                  </a:lnTo>
                  <a:lnTo>
                    <a:pt x="12" y="69"/>
                  </a:lnTo>
                  <a:lnTo>
                    <a:pt x="5" y="66"/>
                  </a:lnTo>
                  <a:lnTo>
                    <a:pt x="0" y="47"/>
                  </a:lnTo>
                  <a:lnTo>
                    <a:pt x="5" y="40"/>
                  </a:lnTo>
                  <a:lnTo>
                    <a:pt x="0" y="33"/>
                  </a:lnTo>
                  <a:lnTo>
                    <a:pt x="0" y="26"/>
                  </a:lnTo>
                  <a:lnTo>
                    <a:pt x="7" y="31"/>
                  </a:lnTo>
                  <a:lnTo>
                    <a:pt x="17" y="31"/>
                  </a:lnTo>
                  <a:lnTo>
                    <a:pt x="24" y="21"/>
                  </a:lnTo>
                  <a:lnTo>
                    <a:pt x="29" y="26"/>
                  </a:lnTo>
                  <a:lnTo>
                    <a:pt x="36" y="26"/>
                  </a:lnTo>
                  <a:lnTo>
                    <a:pt x="40" y="14"/>
                  </a:lnTo>
                  <a:lnTo>
                    <a:pt x="52" y="19"/>
                  </a:lnTo>
                  <a:lnTo>
                    <a:pt x="57" y="14"/>
                  </a:lnTo>
                  <a:lnTo>
                    <a:pt x="59" y="5"/>
                  </a:lnTo>
                  <a:lnTo>
                    <a:pt x="69" y="10"/>
                  </a:lnTo>
                  <a:lnTo>
                    <a:pt x="71" y="5"/>
                  </a:lnTo>
                  <a:lnTo>
                    <a:pt x="88" y="0"/>
                  </a:lnTo>
                  <a:lnTo>
                    <a:pt x="90" y="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39" name="Freeform 160">
              <a:extLst>
                <a:ext uri="{FF2B5EF4-FFF2-40B4-BE49-F238E27FC236}">
                  <a16:creationId xmlns:a16="http://schemas.microsoft.com/office/drawing/2014/main" id="{F070058A-0036-A970-8651-FB73939557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6685" y="2844132"/>
              <a:ext cx="38766" cy="16391"/>
            </a:xfrm>
            <a:custGeom>
              <a:avLst/>
              <a:gdLst>
                <a:gd name="T0" fmla="*/ 24 w 36"/>
                <a:gd name="T1" fmla="*/ 12 h 15"/>
                <a:gd name="T2" fmla="*/ 24 w 36"/>
                <a:gd name="T3" fmla="*/ 12 h 15"/>
                <a:gd name="T4" fmla="*/ 19 w 36"/>
                <a:gd name="T5" fmla="*/ 15 h 15"/>
                <a:gd name="T6" fmla="*/ 10 w 36"/>
                <a:gd name="T7" fmla="*/ 12 h 15"/>
                <a:gd name="T8" fmla="*/ 0 w 36"/>
                <a:gd name="T9" fmla="*/ 5 h 15"/>
                <a:gd name="T10" fmla="*/ 3 w 36"/>
                <a:gd name="T11" fmla="*/ 3 h 15"/>
                <a:gd name="T12" fmla="*/ 10 w 36"/>
                <a:gd name="T13" fmla="*/ 0 h 15"/>
                <a:gd name="T14" fmla="*/ 14 w 36"/>
                <a:gd name="T15" fmla="*/ 0 h 15"/>
                <a:gd name="T16" fmla="*/ 24 w 36"/>
                <a:gd name="T17" fmla="*/ 3 h 15"/>
                <a:gd name="T18" fmla="*/ 33 w 36"/>
                <a:gd name="T19" fmla="*/ 7 h 15"/>
                <a:gd name="T20" fmla="*/ 36 w 36"/>
                <a:gd name="T21" fmla="*/ 12 h 15"/>
                <a:gd name="T22" fmla="*/ 24 w 36"/>
                <a:gd name="T23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15">
                  <a:moveTo>
                    <a:pt x="24" y="12"/>
                  </a:moveTo>
                  <a:lnTo>
                    <a:pt x="24" y="12"/>
                  </a:lnTo>
                  <a:lnTo>
                    <a:pt x="19" y="15"/>
                  </a:lnTo>
                  <a:lnTo>
                    <a:pt x="10" y="12"/>
                  </a:lnTo>
                  <a:lnTo>
                    <a:pt x="0" y="5"/>
                  </a:lnTo>
                  <a:lnTo>
                    <a:pt x="3" y="3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4" y="3"/>
                  </a:lnTo>
                  <a:lnTo>
                    <a:pt x="33" y="7"/>
                  </a:lnTo>
                  <a:lnTo>
                    <a:pt x="36" y="12"/>
                  </a:lnTo>
                  <a:lnTo>
                    <a:pt x="24" y="1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40" name="Freeform 164">
              <a:extLst>
                <a:ext uri="{FF2B5EF4-FFF2-40B4-BE49-F238E27FC236}">
                  <a16:creationId xmlns:a16="http://schemas.microsoft.com/office/drawing/2014/main" id="{2B86C949-5F30-7ACA-53B5-B7E487B323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22444" y="2032166"/>
              <a:ext cx="53843" cy="232772"/>
            </a:xfrm>
            <a:custGeom>
              <a:avLst/>
              <a:gdLst>
                <a:gd name="T0" fmla="*/ 50 w 50"/>
                <a:gd name="T1" fmla="*/ 142 h 213"/>
                <a:gd name="T2" fmla="*/ 34 w 50"/>
                <a:gd name="T3" fmla="*/ 97 h 213"/>
                <a:gd name="T4" fmla="*/ 26 w 50"/>
                <a:gd name="T5" fmla="*/ 71 h 213"/>
                <a:gd name="T6" fmla="*/ 26 w 50"/>
                <a:gd name="T7" fmla="*/ 45 h 213"/>
                <a:gd name="T8" fmla="*/ 22 w 50"/>
                <a:gd name="T9" fmla="*/ 19 h 213"/>
                <a:gd name="T10" fmla="*/ 17 w 50"/>
                <a:gd name="T11" fmla="*/ 0 h 213"/>
                <a:gd name="T12" fmla="*/ 10 w 50"/>
                <a:gd name="T13" fmla="*/ 5 h 213"/>
                <a:gd name="T14" fmla="*/ 17 w 50"/>
                <a:gd name="T15" fmla="*/ 19 h 213"/>
                <a:gd name="T16" fmla="*/ 0 w 50"/>
                <a:gd name="T17" fmla="*/ 31 h 213"/>
                <a:gd name="T18" fmla="*/ 0 w 50"/>
                <a:gd name="T19" fmla="*/ 66 h 213"/>
                <a:gd name="T20" fmla="*/ 10 w 50"/>
                <a:gd name="T21" fmla="*/ 92 h 213"/>
                <a:gd name="T22" fmla="*/ 10 w 50"/>
                <a:gd name="T23" fmla="*/ 126 h 213"/>
                <a:gd name="T24" fmla="*/ 5 w 50"/>
                <a:gd name="T25" fmla="*/ 145 h 213"/>
                <a:gd name="T26" fmla="*/ 8 w 50"/>
                <a:gd name="T27" fmla="*/ 171 h 213"/>
                <a:gd name="T28" fmla="*/ 5 w 50"/>
                <a:gd name="T29" fmla="*/ 194 h 213"/>
                <a:gd name="T30" fmla="*/ 8 w 50"/>
                <a:gd name="T31" fmla="*/ 213 h 213"/>
                <a:gd name="T32" fmla="*/ 19 w 50"/>
                <a:gd name="T33" fmla="*/ 194 h 213"/>
                <a:gd name="T34" fmla="*/ 31 w 50"/>
                <a:gd name="T35" fmla="*/ 208 h 213"/>
                <a:gd name="T36" fmla="*/ 31 w 50"/>
                <a:gd name="T37" fmla="*/ 194 h 213"/>
                <a:gd name="T38" fmla="*/ 15 w 50"/>
                <a:gd name="T39" fmla="*/ 168 h 213"/>
                <a:gd name="T40" fmla="*/ 24 w 50"/>
                <a:gd name="T41" fmla="*/ 133 h 213"/>
                <a:gd name="T42" fmla="*/ 50 w 50"/>
                <a:gd name="T43" fmla="*/ 142 h 213"/>
                <a:gd name="T44" fmla="*/ 50 w 50"/>
                <a:gd name="T45" fmla="*/ 142 h 213"/>
                <a:gd name="T46" fmla="*/ 50 w 50"/>
                <a:gd name="T47" fmla="*/ 142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" h="213">
                  <a:moveTo>
                    <a:pt x="50" y="142"/>
                  </a:moveTo>
                  <a:lnTo>
                    <a:pt x="34" y="97"/>
                  </a:lnTo>
                  <a:lnTo>
                    <a:pt x="26" y="71"/>
                  </a:lnTo>
                  <a:lnTo>
                    <a:pt x="26" y="45"/>
                  </a:lnTo>
                  <a:lnTo>
                    <a:pt x="22" y="19"/>
                  </a:lnTo>
                  <a:lnTo>
                    <a:pt x="17" y="0"/>
                  </a:lnTo>
                  <a:lnTo>
                    <a:pt x="10" y="5"/>
                  </a:lnTo>
                  <a:lnTo>
                    <a:pt x="17" y="19"/>
                  </a:lnTo>
                  <a:lnTo>
                    <a:pt x="0" y="31"/>
                  </a:lnTo>
                  <a:lnTo>
                    <a:pt x="0" y="66"/>
                  </a:lnTo>
                  <a:lnTo>
                    <a:pt x="10" y="92"/>
                  </a:lnTo>
                  <a:lnTo>
                    <a:pt x="10" y="126"/>
                  </a:lnTo>
                  <a:lnTo>
                    <a:pt x="5" y="145"/>
                  </a:lnTo>
                  <a:lnTo>
                    <a:pt x="8" y="171"/>
                  </a:lnTo>
                  <a:lnTo>
                    <a:pt x="5" y="194"/>
                  </a:lnTo>
                  <a:lnTo>
                    <a:pt x="8" y="213"/>
                  </a:lnTo>
                  <a:lnTo>
                    <a:pt x="19" y="194"/>
                  </a:lnTo>
                  <a:lnTo>
                    <a:pt x="31" y="208"/>
                  </a:lnTo>
                  <a:lnTo>
                    <a:pt x="31" y="194"/>
                  </a:lnTo>
                  <a:lnTo>
                    <a:pt x="15" y="168"/>
                  </a:lnTo>
                  <a:lnTo>
                    <a:pt x="24" y="133"/>
                  </a:lnTo>
                  <a:lnTo>
                    <a:pt x="50" y="142"/>
                  </a:lnTo>
                  <a:lnTo>
                    <a:pt x="50" y="142"/>
                  </a:lnTo>
                  <a:lnTo>
                    <a:pt x="50" y="14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41" name="Freeform 165">
              <a:extLst>
                <a:ext uri="{FF2B5EF4-FFF2-40B4-BE49-F238E27FC236}">
                  <a16:creationId xmlns:a16="http://schemas.microsoft.com/office/drawing/2014/main" id="{4C8BF2E2-2032-38EA-BD93-650D329100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09227" y="2275865"/>
              <a:ext cx="282136" cy="325661"/>
            </a:xfrm>
            <a:custGeom>
              <a:avLst/>
              <a:gdLst>
                <a:gd name="T0" fmla="*/ 85 w 262"/>
                <a:gd name="T1" fmla="*/ 239 h 298"/>
                <a:gd name="T2" fmla="*/ 78 w 262"/>
                <a:gd name="T3" fmla="*/ 258 h 298"/>
                <a:gd name="T4" fmla="*/ 64 w 262"/>
                <a:gd name="T5" fmla="*/ 255 h 298"/>
                <a:gd name="T6" fmla="*/ 49 w 262"/>
                <a:gd name="T7" fmla="*/ 262 h 298"/>
                <a:gd name="T8" fmla="*/ 56 w 262"/>
                <a:gd name="T9" fmla="*/ 241 h 298"/>
                <a:gd name="T10" fmla="*/ 73 w 262"/>
                <a:gd name="T11" fmla="*/ 234 h 298"/>
                <a:gd name="T12" fmla="*/ 85 w 262"/>
                <a:gd name="T13" fmla="*/ 239 h 298"/>
                <a:gd name="T14" fmla="*/ 189 w 262"/>
                <a:gd name="T15" fmla="*/ 180 h 298"/>
                <a:gd name="T16" fmla="*/ 182 w 262"/>
                <a:gd name="T17" fmla="*/ 196 h 298"/>
                <a:gd name="T18" fmla="*/ 175 w 262"/>
                <a:gd name="T19" fmla="*/ 220 h 298"/>
                <a:gd name="T20" fmla="*/ 127 w 262"/>
                <a:gd name="T21" fmla="*/ 232 h 298"/>
                <a:gd name="T22" fmla="*/ 94 w 262"/>
                <a:gd name="T23" fmla="*/ 243 h 298"/>
                <a:gd name="T24" fmla="*/ 64 w 262"/>
                <a:gd name="T25" fmla="*/ 234 h 298"/>
                <a:gd name="T26" fmla="*/ 26 w 262"/>
                <a:gd name="T27" fmla="*/ 243 h 298"/>
                <a:gd name="T28" fmla="*/ 30 w 262"/>
                <a:gd name="T29" fmla="*/ 291 h 298"/>
                <a:gd name="T30" fmla="*/ 14 w 262"/>
                <a:gd name="T31" fmla="*/ 291 h 298"/>
                <a:gd name="T32" fmla="*/ 7 w 262"/>
                <a:gd name="T33" fmla="*/ 269 h 298"/>
                <a:gd name="T34" fmla="*/ 16 w 262"/>
                <a:gd name="T35" fmla="*/ 251 h 298"/>
                <a:gd name="T36" fmla="*/ 40 w 262"/>
                <a:gd name="T37" fmla="*/ 227 h 298"/>
                <a:gd name="T38" fmla="*/ 85 w 262"/>
                <a:gd name="T39" fmla="*/ 208 h 298"/>
                <a:gd name="T40" fmla="*/ 118 w 262"/>
                <a:gd name="T41" fmla="*/ 177 h 298"/>
                <a:gd name="T42" fmla="*/ 153 w 262"/>
                <a:gd name="T43" fmla="*/ 165 h 298"/>
                <a:gd name="T44" fmla="*/ 172 w 262"/>
                <a:gd name="T45" fmla="*/ 132 h 298"/>
                <a:gd name="T46" fmla="*/ 177 w 262"/>
                <a:gd name="T47" fmla="*/ 97 h 298"/>
                <a:gd name="T48" fmla="*/ 203 w 262"/>
                <a:gd name="T49" fmla="*/ 123 h 298"/>
                <a:gd name="T50" fmla="*/ 189 w 262"/>
                <a:gd name="T51" fmla="*/ 158 h 298"/>
                <a:gd name="T52" fmla="*/ 189 w 262"/>
                <a:gd name="T53" fmla="*/ 180 h 298"/>
                <a:gd name="T54" fmla="*/ 236 w 262"/>
                <a:gd name="T55" fmla="*/ 30 h 298"/>
                <a:gd name="T56" fmla="*/ 248 w 262"/>
                <a:gd name="T57" fmla="*/ 35 h 298"/>
                <a:gd name="T58" fmla="*/ 262 w 262"/>
                <a:gd name="T59" fmla="*/ 52 h 298"/>
                <a:gd name="T60" fmla="*/ 224 w 262"/>
                <a:gd name="T61" fmla="*/ 78 h 298"/>
                <a:gd name="T62" fmla="*/ 189 w 262"/>
                <a:gd name="T63" fmla="*/ 87 h 298"/>
                <a:gd name="T64" fmla="*/ 170 w 262"/>
                <a:gd name="T65" fmla="*/ 66 h 298"/>
                <a:gd name="T66" fmla="*/ 196 w 262"/>
                <a:gd name="T67" fmla="*/ 49 h 298"/>
                <a:gd name="T68" fmla="*/ 203 w 262"/>
                <a:gd name="T69" fmla="*/ 0 h 298"/>
                <a:gd name="T70" fmla="*/ 236 w 262"/>
                <a:gd name="T71" fmla="*/ 30 h 298"/>
                <a:gd name="T72" fmla="*/ 236 w 262"/>
                <a:gd name="T73" fmla="*/ 3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62" h="298">
                  <a:moveTo>
                    <a:pt x="85" y="239"/>
                  </a:moveTo>
                  <a:lnTo>
                    <a:pt x="85" y="239"/>
                  </a:lnTo>
                  <a:lnTo>
                    <a:pt x="87" y="246"/>
                  </a:lnTo>
                  <a:lnTo>
                    <a:pt x="78" y="258"/>
                  </a:lnTo>
                  <a:lnTo>
                    <a:pt x="71" y="251"/>
                  </a:lnTo>
                  <a:lnTo>
                    <a:pt x="64" y="255"/>
                  </a:lnTo>
                  <a:lnTo>
                    <a:pt x="59" y="267"/>
                  </a:lnTo>
                  <a:lnTo>
                    <a:pt x="49" y="262"/>
                  </a:lnTo>
                  <a:lnTo>
                    <a:pt x="49" y="253"/>
                  </a:lnTo>
                  <a:lnTo>
                    <a:pt x="56" y="241"/>
                  </a:lnTo>
                  <a:lnTo>
                    <a:pt x="66" y="243"/>
                  </a:lnTo>
                  <a:lnTo>
                    <a:pt x="73" y="234"/>
                  </a:lnTo>
                  <a:lnTo>
                    <a:pt x="85" y="239"/>
                  </a:lnTo>
                  <a:lnTo>
                    <a:pt x="85" y="239"/>
                  </a:lnTo>
                  <a:lnTo>
                    <a:pt x="85" y="239"/>
                  </a:lnTo>
                  <a:close/>
                  <a:moveTo>
                    <a:pt x="189" y="180"/>
                  </a:moveTo>
                  <a:lnTo>
                    <a:pt x="189" y="180"/>
                  </a:lnTo>
                  <a:lnTo>
                    <a:pt x="182" y="196"/>
                  </a:lnTo>
                  <a:lnTo>
                    <a:pt x="184" y="206"/>
                  </a:lnTo>
                  <a:lnTo>
                    <a:pt x="175" y="220"/>
                  </a:lnTo>
                  <a:lnTo>
                    <a:pt x="156" y="229"/>
                  </a:lnTo>
                  <a:lnTo>
                    <a:pt x="127" y="232"/>
                  </a:lnTo>
                  <a:lnTo>
                    <a:pt x="104" y="253"/>
                  </a:lnTo>
                  <a:lnTo>
                    <a:pt x="94" y="243"/>
                  </a:lnTo>
                  <a:lnTo>
                    <a:pt x="92" y="232"/>
                  </a:lnTo>
                  <a:lnTo>
                    <a:pt x="64" y="234"/>
                  </a:lnTo>
                  <a:lnTo>
                    <a:pt x="45" y="243"/>
                  </a:lnTo>
                  <a:lnTo>
                    <a:pt x="26" y="243"/>
                  </a:lnTo>
                  <a:lnTo>
                    <a:pt x="42" y="260"/>
                  </a:lnTo>
                  <a:lnTo>
                    <a:pt x="30" y="291"/>
                  </a:lnTo>
                  <a:lnTo>
                    <a:pt x="21" y="298"/>
                  </a:lnTo>
                  <a:lnTo>
                    <a:pt x="14" y="291"/>
                  </a:lnTo>
                  <a:lnTo>
                    <a:pt x="16" y="274"/>
                  </a:lnTo>
                  <a:lnTo>
                    <a:pt x="7" y="269"/>
                  </a:lnTo>
                  <a:lnTo>
                    <a:pt x="0" y="255"/>
                  </a:lnTo>
                  <a:lnTo>
                    <a:pt x="16" y="251"/>
                  </a:lnTo>
                  <a:lnTo>
                    <a:pt x="26" y="239"/>
                  </a:lnTo>
                  <a:lnTo>
                    <a:pt x="40" y="227"/>
                  </a:lnTo>
                  <a:lnTo>
                    <a:pt x="52" y="215"/>
                  </a:lnTo>
                  <a:lnTo>
                    <a:pt x="85" y="208"/>
                  </a:lnTo>
                  <a:lnTo>
                    <a:pt x="101" y="213"/>
                  </a:lnTo>
                  <a:lnTo>
                    <a:pt x="118" y="177"/>
                  </a:lnTo>
                  <a:lnTo>
                    <a:pt x="130" y="187"/>
                  </a:lnTo>
                  <a:lnTo>
                    <a:pt x="153" y="165"/>
                  </a:lnTo>
                  <a:lnTo>
                    <a:pt x="163" y="158"/>
                  </a:lnTo>
                  <a:lnTo>
                    <a:pt x="172" y="132"/>
                  </a:lnTo>
                  <a:lnTo>
                    <a:pt x="170" y="111"/>
                  </a:lnTo>
                  <a:lnTo>
                    <a:pt x="177" y="97"/>
                  </a:lnTo>
                  <a:lnTo>
                    <a:pt x="196" y="92"/>
                  </a:lnTo>
                  <a:lnTo>
                    <a:pt x="203" y="123"/>
                  </a:lnTo>
                  <a:lnTo>
                    <a:pt x="203" y="139"/>
                  </a:lnTo>
                  <a:lnTo>
                    <a:pt x="189" y="158"/>
                  </a:lnTo>
                  <a:lnTo>
                    <a:pt x="189" y="180"/>
                  </a:lnTo>
                  <a:lnTo>
                    <a:pt x="189" y="180"/>
                  </a:lnTo>
                  <a:lnTo>
                    <a:pt x="189" y="180"/>
                  </a:lnTo>
                  <a:close/>
                  <a:moveTo>
                    <a:pt x="236" y="30"/>
                  </a:moveTo>
                  <a:lnTo>
                    <a:pt x="236" y="30"/>
                  </a:lnTo>
                  <a:lnTo>
                    <a:pt x="248" y="35"/>
                  </a:lnTo>
                  <a:lnTo>
                    <a:pt x="258" y="26"/>
                  </a:lnTo>
                  <a:lnTo>
                    <a:pt x="262" y="52"/>
                  </a:lnTo>
                  <a:lnTo>
                    <a:pt x="239" y="56"/>
                  </a:lnTo>
                  <a:lnTo>
                    <a:pt x="224" y="78"/>
                  </a:lnTo>
                  <a:lnTo>
                    <a:pt x="198" y="64"/>
                  </a:lnTo>
                  <a:lnTo>
                    <a:pt x="189" y="87"/>
                  </a:lnTo>
                  <a:lnTo>
                    <a:pt x="172" y="87"/>
                  </a:lnTo>
                  <a:lnTo>
                    <a:pt x="170" y="66"/>
                  </a:lnTo>
                  <a:lnTo>
                    <a:pt x="177" y="49"/>
                  </a:lnTo>
                  <a:lnTo>
                    <a:pt x="196" y="49"/>
                  </a:lnTo>
                  <a:lnTo>
                    <a:pt x="198" y="16"/>
                  </a:lnTo>
                  <a:lnTo>
                    <a:pt x="203" y="0"/>
                  </a:lnTo>
                  <a:lnTo>
                    <a:pt x="224" y="23"/>
                  </a:lnTo>
                  <a:lnTo>
                    <a:pt x="236" y="30"/>
                  </a:lnTo>
                  <a:lnTo>
                    <a:pt x="236" y="30"/>
                  </a:lnTo>
                  <a:lnTo>
                    <a:pt x="236" y="3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42" name="Freeform 172">
              <a:extLst>
                <a:ext uri="{FF2B5EF4-FFF2-40B4-BE49-F238E27FC236}">
                  <a16:creationId xmlns:a16="http://schemas.microsoft.com/office/drawing/2014/main" id="{5D815B3B-A83C-B49A-BE52-B53171BFF1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37565" y="2917351"/>
              <a:ext cx="91532" cy="74312"/>
            </a:xfrm>
            <a:custGeom>
              <a:avLst/>
              <a:gdLst>
                <a:gd name="T0" fmla="*/ 83 w 85"/>
                <a:gd name="T1" fmla="*/ 7 h 68"/>
                <a:gd name="T2" fmla="*/ 83 w 85"/>
                <a:gd name="T3" fmla="*/ 7 h 68"/>
                <a:gd name="T4" fmla="*/ 85 w 85"/>
                <a:gd name="T5" fmla="*/ 16 h 68"/>
                <a:gd name="T6" fmla="*/ 83 w 85"/>
                <a:gd name="T7" fmla="*/ 38 h 68"/>
                <a:gd name="T8" fmla="*/ 57 w 85"/>
                <a:gd name="T9" fmla="*/ 49 h 68"/>
                <a:gd name="T10" fmla="*/ 64 w 85"/>
                <a:gd name="T11" fmla="*/ 59 h 68"/>
                <a:gd name="T12" fmla="*/ 47 w 85"/>
                <a:gd name="T13" fmla="*/ 61 h 68"/>
                <a:gd name="T14" fmla="*/ 33 w 85"/>
                <a:gd name="T15" fmla="*/ 68 h 68"/>
                <a:gd name="T16" fmla="*/ 19 w 85"/>
                <a:gd name="T17" fmla="*/ 66 h 68"/>
                <a:gd name="T18" fmla="*/ 14 w 85"/>
                <a:gd name="T19" fmla="*/ 56 h 68"/>
                <a:gd name="T20" fmla="*/ 5 w 85"/>
                <a:gd name="T21" fmla="*/ 40 h 68"/>
                <a:gd name="T22" fmla="*/ 0 w 85"/>
                <a:gd name="T23" fmla="*/ 19 h 68"/>
                <a:gd name="T24" fmla="*/ 12 w 85"/>
                <a:gd name="T25" fmla="*/ 4 h 68"/>
                <a:gd name="T26" fmla="*/ 33 w 85"/>
                <a:gd name="T27" fmla="*/ 2 h 68"/>
                <a:gd name="T28" fmla="*/ 47 w 85"/>
                <a:gd name="T29" fmla="*/ 4 h 68"/>
                <a:gd name="T30" fmla="*/ 62 w 85"/>
                <a:gd name="T31" fmla="*/ 11 h 68"/>
                <a:gd name="T32" fmla="*/ 69 w 85"/>
                <a:gd name="T33" fmla="*/ 0 h 68"/>
                <a:gd name="T34" fmla="*/ 83 w 85"/>
                <a:gd name="T35" fmla="*/ 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5" h="68">
                  <a:moveTo>
                    <a:pt x="83" y="7"/>
                  </a:moveTo>
                  <a:lnTo>
                    <a:pt x="83" y="7"/>
                  </a:lnTo>
                  <a:lnTo>
                    <a:pt x="85" y="16"/>
                  </a:lnTo>
                  <a:lnTo>
                    <a:pt x="83" y="38"/>
                  </a:lnTo>
                  <a:lnTo>
                    <a:pt x="57" y="49"/>
                  </a:lnTo>
                  <a:lnTo>
                    <a:pt x="64" y="59"/>
                  </a:lnTo>
                  <a:lnTo>
                    <a:pt x="47" y="61"/>
                  </a:lnTo>
                  <a:lnTo>
                    <a:pt x="33" y="68"/>
                  </a:lnTo>
                  <a:lnTo>
                    <a:pt x="19" y="66"/>
                  </a:lnTo>
                  <a:lnTo>
                    <a:pt x="14" y="56"/>
                  </a:lnTo>
                  <a:lnTo>
                    <a:pt x="5" y="40"/>
                  </a:lnTo>
                  <a:lnTo>
                    <a:pt x="0" y="19"/>
                  </a:lnTo>
                  <a:lnTo>
                    <a:pt x="12" y="4"/>
                  </a:lnTo>
                  <a:lnTo>
                    <a:pt x="33" y="2"/>
                  </a:lnTo>
                  <a:lnTo>
                    <a:pt x="47" y="4"/>
                  </a:lnTo>
                  <a:lnTo>
                    <a:pt x="62" y="11"/>
                  </a:lnTo>
                  <a:lnTo>
                    <a:pt x="69" y="0"/>
                  </a:lnTo>
                  <a:lnTo>
                    <a:pt x="83" y="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43" name="Freeform 174">
              <a:extLst>
                <a:ext uri="{FF2B5EF4-FFF2-40B4-BE49-F238E27FC236}">
                  <a16:creationId xmlns:a16="http://schemas.microsoft.com/office/drawing/2014/main" id="{496EF648-12CA-E642-9E11-CE2A5CA046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2103" y="2434012"/>
              <a:ext cx="58151" cy="90705"/>
            </a:xfrm>
            <a:custGeom>
              <a:avLst/>
              <a:gdLst>
                <a:gd name="T0" fmla="*/ 35 w 54"/>
                <a:gd name="T1" fmla="*/ 0 h 83"/>
                <a:gd name="T2" fmla="*/ 35 w 54"/>
                <a:gd name="T3" fmla="*/ 0 h 83"/>
                <a:gd name="T4" fmla="*/ 49 w 54"/>
                <a:gd name="T5" fmla="*/ 24 h 83"/>
                <a:gd name="T6" fmla="*/ 54 w 54"/>
                <a:gd name="T7" fmla="*/ 38 h 83"/>
                <a:gd name="T8" fmla="*/ 54 w 54"/>
                <a:gd name="T9" fmla="*/ 59 h 83"/>
                <a:gd name="T10" fmla="*/ 47 w 54"/>
                <a:gd name="T11" fmla="*/ 71 h 83"/>
                <a:gd name="T12" fmla="*/ 33 w 54"/>
                <a:gd name="T13" fmla="*/ 73 h 83"/>
                <a:gd name="T14" fmla="*/ 19 w 54"/>
                <a:gd name="T15" fmla="*/ 83 h 83"/>
                <a:gd name="T16" fmla="*/ 4 w 54"/>
                <a:gd name="T17" fmla="*/ 83 h 83"/>
                <a:gd name="T18" fmla="*/ 2 w 54"/>
                <a:gd name="T19" fmla="*/ 73 h 83"/>
                <a:gd name="T20" fmla="*/ 7 w 54"/>
                <a:gd name="T21" fmla="*/ 59 h 83"/>
                <a:gd name="T22" fmla="*/ 0 w 54"/>
                <a:gd name="T23" fmla="*/ 38 h 83"/>
                <a:gd name="T24" fmla="*/ 9 w 54"/>
                <a:gd name="T25" fmla="*/ 36 h 83"/>
                <a:gd name="T26" fmla="*/ 0 w 54"/>
                <a:gd name="T27" fmla="*/ 17 h 83"/>
                <a:gd name="T28" fmla="*/ 0 w 54"/>
                <a:gd name="T29" fmla="*/ 17 h 83"/>
                <a:gd name="T30" fmla="*/ 9 w 54"/>
                <a:gd name="T31" fmla="*/ 17 h 83"/>
                <a:gd name="T32" fmla="*/ 14 w 54"/>
                <a:gd name="T33" fmla="*/ 7 h 83"/>
                <a:gd name="T34" fmla="*/ 26 w 54"/>
                <a:gd name="T35" fmla="*/ 7 h 83"/>
                <a:gd name="T36" fmla="*/ 33 w 54"/>
                <a:gd name="T37" fmla="*/ 5 h 83"/>
                <a:gd name="T38" fmla="*/ 35 w 54"/>
                <a:gd name="T39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" h="83">
                  <a:moveTo>
                    <a:pt x="35" y="0"/>
                  </a:moveTo>
                  <a:lnTo>
                    <a:pt x="35" y="0"/>
                  </a:lnTo>
                  <a:lnTo>
                    <a:pt x="49" y="24"/>
                  </a:lnTo>
                  <a:lnTo>
                    <a:pt x="54" y="38"/>
                  </a:lnTo>
                  <a:lnTo>
                    <a:pt x="54" y="59"/>
                  </a:lnTo>
                  <a:lnTo>
                    <a:pt x="47" y="71"/>
                  </a:lnTo>
                  <a:lnTo>
                    <a:pt x="33" y="73"/>
                  </a:lnTo>
                  <a:lnTo>
                    <a:pt x="19" y="83"/>
                  </a:lnTo>
                  <a:lnTo>
                    <a:pt x="4" y="83"/>
                  </a:lnTo>
                  <a:lnTo>
                    <a:pt x="2" y="73"/>
                  </a:lnTo>
                  <a:lnTo>
                    <a:pt x="7" y="59"/>
                  </a:lnTo>
                  <a:lnTo>
                    <a:pt x="0" y="38"/>
                  </a:lnTo>
                  <a:lnTo>
                    <a:pt x="9" y="36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9" y="17"/>
                  </a:lnTo>
                  <a:lnTo>
                    <a:pt x="14" y="7"/>
                  </a:lnTo>
                  <a:lnTo>
                    <a:pt x="26" y="7"/>
                  </a:lnTo>
                  <a:lnTo>
                    <a:pt x="33" y="5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44" name="Freeform 176">
              <a:extLst>
                <a:ext uri="{FF2B5EF4-FFF2-40B4-BE49-F238E27FC236}">
                  <a16:creationId xmlns:a16="http://schemas.microsoft.com/office/drawing/2014/main" id="{7D0AA17A-FD7C-D00B-30C1-78C0653A1281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3194" y="2332691"/>
              <a:ext cx="27999" cy="32785"/>
            </a:xfrm>
            <a:custGeom>
              <a:avLst/>
              <a:gdLst>
                <a:gd name="T0" fmla="*/ 22 w 26"/>
                <a:gd name="T1" fmla="*/ 9 h 30"/>
                <a:gd name="T2" fmla="*/ 22 w 26"/>
                <a:gd name="T3" fmla="*/ 9 h 30"/>
                <a:gd name="T4" fmla="*/ 24 w 26"/>
                <a:gd name="T5" fmla="*/ 12 h 30"/>
                <a:gd name="T6" fmla="*/ 26 w 26"/>
                <a:gd name="T7" fmla="*/ 12 h 30"/>
                <a:gd name="T8" fmla="*/ 26 w 26"/>
                <a:gd name="T9" fmla="*/ 16 h 30"/>
                <a:gd name="T10" fmla="*/ 24 w 26"/>
                <a:gd name="T11" fmla="*/ 21 h 30"/>
                <a:gd name="T12" fmla="*/ 24 w 26"/>
                <a:gd name="T13" fmla="*/ 21 h 30"/>
                <a:gd name="T14" fmla="*/ 22 w 26"/>
                <a:gd name="T15" fmla="*/ 21 h 30"/>
                <a:gd name="T16" fmla="*/ 12 w 26"/>
                <a:gd name="T17" fmla="*/ 26 h 30"/>
                <a:gd name="T18" fmla="*/ 10 w 26"/>
                <a:gd name="T19" fmla="*/ 30 h 30"/>
                <a:gd name="T20" fmla="*/ 8 w 26"/>
                <a:gd name="T21" fmla="*/ 30 h 30"/>
                <a:gd name="T22" fmla="*/ 8 w 26"/>
                <a:gd name="T23" fmla="*/ 21 h 30"/>
                <a:gd name="T24" fmla="*/ 3 w 26"/>
                <a:gd name="T25" fmla="*/ 21 h 30"/>
                <a:gd name="T26" fmla="*/ 0 w 26"/>
                <a:gd name="T27" fmla="*/ 14 h 30"/>
                <a:gd name="T28" fmla="*/ 3 w 26"/>
                <a:gd name="T29" fmla="*/ 9 h 30"/>
                <a:gd name="T30" fmla="*/ 8 w 26"/>
                <a:gd name="T31" fmla="*/ 7 h 30"/>
                <a:gd name="T32" fmla="*/ 10 w 26"/>
                <a:gd name="T33" fmla="*/ 0 h 30"/>
                <a:gd name="T34" fmla="*/ 12 w 26"/>
                <a:gd name="T35" fmla="*/ 0 h 30"/>
                <a:gd name="T36" fmla="*/ 15 w 26"/>
                <a:gd name="T37" fmla="*/ 2 h 30"/>
                <a:gd name="T38" fmla="*/ 17 w 26"/>
                <a:gd name="T39" fmla="*/ 4 h 30"/>
                <a:gd name="T40" fmla="*/ 19 w 26"/>
                <a:gd name="T41" fmla="*/ 7 h 30"/>
                <a:gd name="T42" fmla="*/ 22 w 26"/>
                <a:gd name="T43" fmla="*/ 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6" h="30">
                  <a:moveTo>
                    <a:pt x="22" y="9"/>
                  </a:moveTo>
                  <a:lnTo>
                    <a:pt x="22" y="9"/>
                  </a:lnTo>
                  <a:lnTo>
                    <a:pt x="24" y="12"/>
                  </a:lnTo>
                  <a:lnTo>
                    <a:pt x="26" y="12"/>
                  </a:lnTo>
                  <a:lnTo>
                    <a:pt x="26" y="16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2" y="21"/>
                  </a:lnTo>
                  <a:lnTo>
                    <a:pt x="12" y="26"/>
                  </a:lnTo>
                  <a:lnTo>
                    <a:pt x="10" y="30"/>
                  </a:lnTo>
                  <a:lnTo>
                    <a:pt x="8" y="30"/>
                  </a:lnTo>
                  <a:lnTo>
                    <a:pt x="8" y="21"/>
                  </a:lnTo>
                  <a:lnTo>
                    <a:pt x="3" y="21"/>
                  </a:lnTo>
                  <a:lnTo>
                    <a:pt x="0" y="14"/>
                  </a:lnTo>
                  <a:lnTo>
                    <a:pt x="3" y="9"/>
                  </a:lnTo>
                  <a:lnTo>
                    <a:pt x="8" y="7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7" y="4"/>
                  </a:lnTo>
                  <a:lnTo>
                    <a:pt x="19" y="7"/>
                  </a:lnTo>
                  <a:lnTo>
                    <a:pt x="22" y="9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45" name="Freeform 178">
              <a:extLst>
                <a:ext uri="{FF2B5EF4-FFF2-40B4-BE49-F238E27FC236}">
                  <a16:creationId xmlns:a16="http://schemas.microsoft.com/office/drawing/2014/main" id="{1FCEC3CA-C580-C3BC-6EFD-2C1BB3037A14}"/>
                </a:ext>
              </a:extLst>
            </p:cNvPr>
            <p:cNvSpPr>
              <a:spLocks/>
            </p:cNvSpPr>
            <p:nvPr/>
          </p:nvSpPr>
          <p:spPr bwMode="auto">
            <a:xfrm>
              <a:off x="9465165" y="2622289"/>
              <a:ext cx="32306" cy="30599"/>
            </a:xfrm>
            <a:custGeom>
              <a:avLst/>
              <a:gdLst>
                <a:gd name="T0" fmla="*/ 30 w 30"/>
                <a:gd name="T1" fmla="*/ 28 h 28"/>
                <a:gd name="T2" fmla="*/ 30 w 30"/>
                <a:gd name="T3" fmla="*/ 28 h 28"/>
                <a:gd name="T4" fmla="*/ 19 w 30"/>
                <a:gd name="T5" fmla="*/ 28 h 28"/>
                <a:gd name="T6" fmla="*/ 14 w 30"/>
                <a:gd name="T7" fmla="*/ 21 h 28"/>
                <a:gd name="T8" fmla="*/ 0 w 30"/>
                <a:gd name="T9" fmla="*/ 19 h 28"/>
                <a:gd name="T10" fmla="*/ 11 w 30"/>
                <a:gd name="T11" fmla="*/ 0 h 28"/>
                <a:gd name="T12" fmla="*/ 23 w 30"/>
                <a:gd name="T13" fmla="*/ 2 h 28"/>
                <a:gd name="T14" fmla="*/ 26 w 30"/>
                <a:gd name="T15" fmla="*/ 9 h 28"/>
                <a:gd name="T16" fmla="*/ 26 w 30"/>
                <a:gd name="T17" fmla="*/ 14 h 28"/>
                <a:gd name="T18" fmla="*/ 30 w 30"/>
                <a:gd name="T1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28">
                  <a:moveTo>
                    <a:pt x="30" y="28"/>
                  </a:moveTo>
                  <a:lnTo>
                    <a:pt x="30" y="28"/>
                  </a:lnTo>
                  <a:lnTo>
                    <a:pt x="19" y="28"/>
                  </a:lnTo>
                  <a:lnTo>
                    <a:pt x="14" y="21"/>
                  </a:lnTo>
                  <a:lnTo>
                    <a:pt x="0" y="19"/>
                  </a:lnTo>
                  <a:lnTo>
                    <a:pt x="11" y="0"/>
                  </a:lnTo>
                  <a:lnTo>
                    <a:pt x="23" y="2"/>
                  </a:lnTo>
                  <a:lnTo>
                    <a:pt x="26" y="9"/>
                  </a:lnTo>
                  <a:lnTo>
                    <a:pt x="26" y="14"/>
                  </a:lnTo>
                  <a:lnTo>
                    <a:pt x="30" y="28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46" name="Freeform 184">
              <a:extLst>
                <a:ext uri="{FF2B5EF4-FFF2-40B4-BE49-F238E27FC236}">
                  <a16:creationId xmlns:a16="http://schemas.microsoft.com/office/drawing/2014/main" id="{E4769E08-B0BD-B117-1E50-11130A2A7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3998" y="3025540"/>
              <a:ext cx="67844" cy="75406"/>
            </a:xfrm>
            <a:custGeom>
              <a:avLst/>
              <a:gdLst>
                <a:gd name="T0" fmla="*/ 37 w 63"/>
                <a:gd name="T1" fmla="*/ 19 h 69"/>
                <a:gd name="T2" fmla="*/ 37 w 63"/>
                <a:gd name="T3" fmla="*/ 19 h 69"/>
                <a:gd name="T4" fmla="*/ 42 w 63"/>
                <a:gd name="T5" fmla="*/ 19 h 69"/>
                <a:gd name="T6" fmla="*/ 45 w 63"/>
                <a:gd name="T7" fmla="*/ 14 h 69"/>
                <a:gd name="T8" fmla="*/ 49 w 63"/>
                <a:gd name="T9" fmla="*/ 14 h 69"/>
                <a:gd name="T10" fmla="*/ 47 w 63"/>
                <a:gd name="T11" fmla="*/ 19 h 69"/>
                <a:gd name="T12" fmla="*/ 49 w 63"/>
                <a:gd name="T13" fmla="*/ 26 h 69"/>
                <a:gd name="T14" fmla="*/ 47 w 63"/>
                <a:gd name="T15" fmla="*/ 33 h 69"/>
                <a:gd name="T16" fmla="*/ 52 w 63"/>
                <a:gd name="T17" fmla="*/ 38 h 69"/>
                <a:gd name="T18" fmla="*/ 56 w 63"/>
                <a:gd name="T19" fmla="*/ 38 h 69"/>
                <a:gd name="T20" fmla="*/ 63 w 63"/>
                <a:gd name="T21" fmla="*/ 45 h 69"/>
                <a:gd name="T22" fmla="*/ 63 w 63"/>
                <a:gd name="T23" fmla="*/ 52 h 69"/>
                <a:gd name="T24" fmla="*/ 61 w 63"/>
                <a:gd name="T25" fmla="*/ 54 h 69"/>
                <a:gd name="T26" fmla="*/ 61 w 63"/>
                <a:gd name="T27" fmla="*/ 66 h 69"/>
                <a:gd name="T28" fmla="*/ 56 w 63"/>
                <a:gd name="T29" fmla="*/ 69 h 69"/>
                <a:gd name="T30" fmla="*/ 40 w 63"/>
                <a:gd name="T31" fmla="*/ 62 h 69"/>
                <a:gd name="T32" fmla="*/ 26 w 63"/>
                <a:gd name="T33" fmla="*/ 47 h 69"/>
                <a:gd name="T34" fmla="*/ 11 w 63"/>
                <a:gd name="T35" fmla="*/ 38 h 69"/>
                <a:gd name="T36" fmla="*/ 0 w 63"/>
                <a:gd name="T37" fmla="*/ 28 h 69"/>
                <a:gd name="T38" fmla="*/ 4 w 63"/>
                <a:gd name="T39" fmla="*/ 24 h 69"/>
                <a:gd name="T40" fmla="*/ 4 w 63"/>
                <a:gd name="T41" fmla="*/ 19 h 69"/>
                <a:gd name="T42" fmla="*/ 11 w 63"/>
                <a:gd name="T43" fmla="*/ 10 h 69"/>
                <a:gd name="T44" fmla="*/ 21 w 63"/>
                <a:gd name="T45" fmla="*/ 2 h 69"/>
                <a:gd name="T46" fmla="*/ 23 w 63"/>
                <a:gd name="T47" fmla="*/ 2 h 69"/>
                <a:gd name="T48" fmla="*/ 28 w 63"/>
                <a:gd name="T49" fmla="*/ 0 h 69"/>
                <a:gd name="T50" fmla="*/ 35 w 63"/>
                <a:gd name="T51" fmla="*/ 10 h 69"/>
                <a:gd name="T52" fmla="*/ 33 w 63"/>
                <a:gd name="T53" fmla="*/ 17 h 69"/>
                <a:gd name="T54" fmla="*/ 37 w 63"/>
                <a:gd name="T55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3" h="69">
                  <a:moveTo>
                    <a:pt x="37" y="19"/>
                  </a:moveTo>
                  <a:lnTo>
                    <a:pt x="37" y="19"/>
                  </a:lnTo>
                  <a:lnTo>
                    <a:pt x="42" y="19"/>
                  </a:lnTo>
                  <a:lnTo>
                    <a:pt x="45" y="14"/>
                  </a:lnTo>
                  <a:lnTo>
                    <a:pt x="49" y="14"/>
                  </a:lnTo>
                  <a:lnTo>
                    <a:pt x="47" y="19"/>
                  </a:lnTo>
                  <a:lnTo>
                    <a:pt x="49" y="26"/>
                  </a:lnTo>
                  <a:lnTo>
                    <a:pt x="47" y="33"/>
                  </a:lnTo>
                  <a:lnTo>
                    <a:pt x="52" y="38"/>
                  </a:lnTo>
                  <a:lnTo>
                    <a:pt x="56" y="38"/>
                  </a:lnTo>
                  <a:lnTo>
                    <a:pt x="63" y="45"/>
                  </a:lnTo>
                  <a:lnTo>
                    <a:pt x="63" y="52"/>
                  </a:lnTo>
                  <a:lnTo>
                    <a:pt x="61" y="54"/>
                  </a:lnTo>
                  <a:lnTo>
                    <a:pt x="61" y="66"/>
                  </a:lnTo>
                  <a:lnTo>
                    <a:pt x="56" y="69"/>
                  </a:lnTo>
                  <a:lnTo>
                    <a:pt x="40" y="62"/>
                  </a:lnTo>
                  <a:lnTo>
                    <a:pt x="26" y="47"/>
                  </a:lnTo>
                  <a:lnTo>
                    <a:pt x="11" y="3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19"/>
                  </a:lnTo>
                  <a:lnTo>
                    <a:pt x="11" y="10"/>
                  </a:lnTo>
                  <a:lnTo>
                    <a:pt x="21" y="2"/>
                  </a:lnTo>
                  <a:lnTo>
                    <a:pt x="23" y="2"/>
                  </a:lnTo>
                  <a:lnTo>
                    <a:pt x="28" y="0"/>
                  </a:lnTo>
                  <a:lnTo>
                    <a:pt x="35" y="10"/>
                  </a:lnTo>
                  <a:lnTo>
                    <a:pt x="33" y="17"/>
                  </a:lnTo>
                  <a:lnTo>
                    <a:pt x="37" y="19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47" name="Freeform 186">
              <a:extLst>
                <a:ext uri="{FF2B5EF4-FFF2-40B4-BE49-F238E27FC236}">
                  <a16:creationId xmlns:a16="http://schemas.microsoft.com/office/drawing/2014/main" id="{7C377AC5-CFBD-E8F8-FB52-EC2CB364D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4744" y="2559998"/>
              <a:ext cx="275675" cy="266649"/>
            </a:xfrm>
            <a:custGeom>
              <a:avLst/>
              <a:gdLst>
                <a:gd name="T0" fmla="*/ 36 w 256"/>
                <a:gd name="T1" fmla="*/ 0 h 244"/>
                <a:gd name="T2" fmla="*/ 36 w 256"/>
                <a:gd name="T3" fmla="*/ 0 h 244"/>
                <a:gd name="T4" fmla="*/ 55 w 256"/>
                <a:gd name="T5" fmla="*/ 5 h 244"/>
                <a:gd name="T6" fmla="*/ 62 w 256"/>
                <a:gd name="T7" fmla="*/ 2 h 244"/>
                <a:gd name="T8" fmla="*/ 74 w 256"/>
                <a:gd name="T9" fmla="*/ 7 h 244"/>
                <a:gd name="T10" fmla="*/ 97 w 256"/>
                <a:gd name="T11" fmla="*/ 17 h 244"/>
                <a:gd name="T12" fmla="*/ 105 w 256"/>
                <a:gd name="T13" fmla="*/ 33 h 244"/>
                <a:gd name="T14" fmla="*/ 119 w 256"/>
                <a:gd name="T15" fmla="*/ 36 h 244"/>
                <a:gd name="T16" fmla="*/ 142 w 256"/>
                <a:gd name="T17" fmla="*/ 43 h 244"/>
                <a:gd name="T18" fmla="*/ 159 w 256"/>
                <a:gd name="T19" fmla="*/ 52 h 244"/>
                <a:gd name="T20" fmla="*/ 166 w 256"/>
                <a:gd name="T21" fmla="*/ 47 h 244"/>
                <a:gd name="T22" fmla="*/ 173 w 256"/>
                <a:gd name="T23" fmla="*/ 40 h 244"/>
                <a:gd name="T24" fmla="*/ 171 w 256"/>
                <a:gd name="T25" fmla="*/ 26 h 244"/>
                <a:gd name="T26" fmla="*/ 175 w 256"/>
                <a:gd name="T27" fmla="*/ 17 h 244"/>
                <a:gd name="T28" fmla="*/ 187 w 256"/>
                <a:gd name="T29" fmla="*/ 7 h 244"/>
                <a:gd name="T30" fmla="*/ 199 w 256"/>
                <a:gd name="T31" fmla="*/ 5 h 244"/>
                <a:gd name="T32" fmla="*/ 220 w 256"/>
                <a:gd name="T33" fmla="*/ 7 h 244"/>
                <a:gd name="T34" fmla="*/ 225 w 256"/>
                <a:gd name="T35" fmla="*/ 17 h 244"/>
                <a:gd name="T36" fmla="*/ 232 w 256"/>
                <a:gd name="T37" fmla="*/ 17 h 244"/>
                <a:gd name="T38" fmla="*/ 237 w 256"/>
                <a:gd name="T39" fmla="*/ 21 h 244"/>
                <a:gd name="T40" fmla="*/ 254 w 256"/>
                <a:gd name="T41" fmla="*/ 21 h 244"/>
                <a:gd name="T42" fmla="*/ 256 w 256"/>
                <a:gd name="T43" fmla="*/ 28 h 244"/>
                <a:gd name="T44" fmla="*/ 251 w 256"/>
                <a:gd name="T45" fmla="*/ 38 h 244"/>
                <a:gd name="T46" fmla="*/ 254 w 256"/>
                <a:gd name="T47" fmla="*/ 45 h 244"/>
                <a:gd name="T48" fmla="*/ 251 w 256"/>
                <a:gd name="T49" fmla="*/ 57 h 244"/>
                <a:gd name="T50" fmla="*/ 254 w 256"/>
                <a:gd name="T51" fmla="*/ 71 h 244"/>
                <a:gd name="T52" fmla="*/ 254 w 256"/>
                <a:gd name="T53" fmla="*/ 137 h 244"/>
                <a:gd name="T54" fmla="*/ 254 w 256"/>
                <a:gd name="T55" fmla="*/ 201 h 244"/>
                <a:gd name="T56" fmla="*/ 254 w 256"/>
                <a:gd name="T57" fmla="*/ 234 h 244"/>
                <a:gd name="T58" fmla="*/ 237 w 256"/>
                <a:gd name="T59" fmla="*/ 234 h 244"/>
                <a:gd name="T60" fmla="*/ 237 w 256"/>
                <a:gd name="T61" fmla="*/ 244 h 244"/>
                <a:gd name="T62" fmla="*/ 171 w 256"/>
                <a:gd name="T63" fmla="*/ 211 h 244"/>
                <a:gd name="T64" fmla="*/ 107 w 256"/>
                <a:gd name="T65" fmla="*/ 178 h 244"/>
                <a:gd name="T66" fmla="*/ 90 w 256"/>
                <a:gd name="T67" fmla="*/ 187 h 244"/>
                <a:gd name="T68" fmla="*/ 78 w 256"/>
                <a:gd name="T69" fmla="*/ 192 h 244"/>
                <a:gd name="T70" fmla="*/ 69 w 256"/>
                <a:gd name="T71" fmla="*/ 185 h 244"/>
                <a:gd name="T72" fmla="*/ 43 w 256"/>
                <a:gd name="T73" fmla="*/ 175 h 244"/>
                <a:gd name="T74" fmla="*/ 36 w 256"/>
                <a:gd name="T75" fmla="*/ 166 h 244"/>
                <a:gd name="T76" fmla="*/ 24 w 256"/>
                <a:gd name="T77" fmla="*/ 156 h 244"/>
                <a:gd name="T78" fmla="*/ 17 w 256"/>
                <a:gd name="T79" fmla="*/ 159 h 244"/>
                <a:gd name="T80" fmla="*/ 10 w 256"/>
                <a:gd name="T81" fmla="*/ 149 h 244"/>
                <a:gd name="T82" fmla="*/ 10 w 256"/>
                <a:gd name="T83" fmla="*/ 142 h 244"/>
                <a:gd name="T84" fmla="*/ 0 w 256"/>
                <a:gd name="T85" fmla="*/ 128 h 244"/>
                <a:gd name="T86" fmla="*/ 8 w 256"/>
                <a:gd name="T87" fmla="*/ 123 h 244"/>
                <a:gd name="T88" fmla="*/ 5 w 256"/>
                <a:gd name="T89" fmla="*/ 109 h 244"/>
                <a:gd name="T90" fmla="*/ 8 w 256"/>
                <a:gd name="T91" fmla="*/ 99 h 244"/>
                <a:gd name="T92" fmla="*/ 8 w 256"/>
                <a:gd name="T93" fmla="*/ 92 h 244"/>
                <a:gd name="T94" fmla="*/ 10 w 256"/>
                <a:gd name="T95" fmla="*/ 78 h 244"/>
                <a:gd name="T96" fmla="*/ 10 w 256"/>
                <a:gd name="T97" fmla="*/ 69 h 244"/>
                <a:gd name="T98" fmla="*/ 3 w 256"/>
                <a:gd name="T99" fmla="*/ 52 h 244"/>
                <a:gd name="T100" fmla="*/ 10 w 256"/>
                <a:gd name="T101" fmla="*/ 47 h 244"/>
                <a:gd name="T102" fmla="*/ 12 w 256"/>
                <a:gd name="T103" fmla="*/ 40 h 244"/>
                <a:gd name="T104" fmla="*/ 10 w 256"/>
                <a:gd name="T105" fmla="*/ 33 h 244"/>
                <a:gd name="T106" fmla="*/ 22 w 256"/>
                <a:gd name="T107" fmla="*/ 24 h 244"/>
                <a:gd name="T108" fmla="*/ 26 w 256"/>
                <a:gd name="T109" fmla="*/ 19 h 244"/>
                <a:gd name="T110" fmla="*/ 36 w 256"/>
                <a:gd name="T111" fmla="*/ 14 h 244"/>
                <a:gd name="T112" fmla="*/ 36 w 256"/>
                <a:gd name="T113" fmla="*/ 0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6" h="244">
                  <a:moveTo>
                    <a:pt x="36" y="0"/>
                  </a:moveTo>
                  <a:lnTo>
                    <a:pt x="36" y="0"/>
                  </a:lnTo>
                  <a:lnTo>
                    <a:pt x="55" y="5"/>
                  </a:lnTo>
                  <a:lnTo>
                    <a:pt x="62" y="2"/>
                  </a:lnTo>
                  <a:lnTo>
                    <a:pt x="74" y="7"/>
                  </a:lnTo>
                  <a:lnTo>
                    <a:pt x="97" y="17"/>
                  </a:lnTo>
                  <a:lnTo>
                    <a:pt x="105" y="33"/>
                  </a:lnTo>
                  <a:lnTo>
                    <a:pt x="119" y="36"/>
                  </a:lnTo>
                  <a:lnTo>
                    <a:pt x="142" y="43"/>
                  </a:lnTo>
                  <a:lnTo>
                    <a:pt x="159" y="52"/>
                  </a:lnTo>
                  <a:lnTo>
                    <a:pt x="166" y="47"/>
                  </a:lnTo>
                  <a:lnTo>
                    <a:pt x="173" y="40"/>
                  </a:lnTo>
                  <a:lnTo>
                    <a:pt x="171" y="26"/>
                  </a:lnTo>
                  <a:lnTo>
                    <a:pt x="175" y="17"/>
                  </a:lnTo>
                  <a:lnTo>
                    <a:pt x="187" y="7"/>
                  </a:lnTo>
                  <a:lnTo>
                    <a:pt x="199" y="5"/>
                  </a:lnTo>
                  <a:lnTo>
                    <a:pt x="220" y="7"/>
                  </a:lnTo>
                  <a:lnTo>
                    <a:pt x="225" y="17"/>
                  </a:lnTo>
                  <a:lnTo>
                    <a:pt x="232" y="17"/>
                  </a:lnTo>
                  <a:lnTo>
                    <a:pt x="237" y="21"/>
                  </a:lnTo>
                  <a:lnTo>
                    <a:pt x="254" y="21"/>
                  </a:lnTo>
                  <a:lnTo>
                    <a:pt x="256" y="28"/>
                  </a:lnTo>
                  <a:lnTo>
                    <a:pt x="251" y="38"/>
                  </a:lnTo>
                  <a:lnTo>
                    <a:pt x="254" y="45"/>
                  </a:lnTo>
                  <a:lnTo>
                    <a:pt x="251" y="57"/>
                  </a:lnTo>
                  <a:lnTo>
                    <a:pt x="254" y="71"/>
                  </a:lnTo>
                  <a:lnTo>
                    <a:pt x="254" y="137"/>
                  </a:lnTo>
                  <a:lnTo>
                    <a:pt x="254" y="201"/>
                  </a:lnTo>
                  <a:lnTo>
                    <a:pt x="254" y="234"/>
                  </a:lnTo>
                  <a:lnTo>
                    <a:pt x="237" y="234"/>
                  </a:lnTo>
                  <a:lnTo>
                    <a:pt x="237" y="244"/>
                  </a:lnTo>
                  <a:lnTo>
                    <a:pt x="171" y="211"/>
                  </a:lnTo>
                  <a:lnTo>
                    <a:pt x="107" y="178"/>
                  </a:lnTo>
                  <a:lnTo>
                    <a:pt x="90" y="187"/>
                  </a:lnTo>
                  <a:lnTo>
                    <a:pt x="78" y="192"/>
                  </a:lnTo>
                  <a:lnTo>
                    <a:pt x="69" y="185"/>
                  </a:lnTo>
                  <a:lnTo>
                    <a:pt x="43" y="175"/>
                  </a:lnTo>
                  <a:lnTo>
                    <a:pt x="36" y="166"/>
                  </a:lnTo>
                  <a:lnTo>
                    <a:pt x="24" y="156"/>
                  </a:lnTo>
                  <a:lnTo>
                    <a:pt x="17" y="159"/>
                  </a:lnTo>
                  <a:lnTo>
                    <a:pt x="10" y="149"/>
                  </a:lnTo>
                  <a:lnTo>
                    <a:pt x="10" y="142"/>
                  </a:lnTo>
                  <a:lnTo>
                    <a:pt x="0" y="128"/>
                  </a:lnTo>
                  <a:lnTo>
                    <a:pt x="8" y="123"/>
                  </a:lnTo>
                  <a:lnTo>
                    <a:pt x="5" y="109"/>
                  </a:lnTo>
                  <a:lnTo>
                    <a:pt x="8" y="99"/>
                  </a:lnTo>
                  <a:lnTo>
                    <a:pt x="8" y="92"/>
                  </a:lnTo>
                  <a:lnTo>
                    <a:pt x="10" y="78"/>
                  </a:lnTo>
                  <a:lnTo>
                    <a:pt x="10" y="69"/>
                  </a:lnTo>
                  <a:lnTo>
                    <a:pt x="3" y="52"/>
                  </a:lnTo>
                  <a:lnTo>
                    <a:pt x="10" y="47"/>
                  </a:lnTo>
                  <a:lnTo>
                    <a:pt x="12" y="40"/>
                  </a:lnTo>
                  <a:lnTo>
                    <a:pt x="10" y="33"/>
                  </a:lnTo>
                  <a:lnTo>
                    <a:pt x="22" y="24"/>
                  </a:lnTo>
                  <a:lnTo>
                    <a:pt x="26" y="19"/>
                  </a:lnTo>
                  <a:lnTo>
                    <a:pt x="36" y="14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48" name="Freeform 188">
              <a:extLst>
                <a:ext uri="{FF2B5EF4-FFF2-40B4-BE49-F238E27FC236}">
                  <a16:creationId xmlns:a16="http://schemas.microsoft.com/office/drawing/2014/main" id="{5E7DF77F-CB9B-0BB6-7EB9-99058CF744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3437" y="3002592"/>
              <a:ext cx="35536" cy="69941"/>
            </a:xfrm>
            <a:custGeom>
              <a:avLst/>
              <a:gdLst>
                <a:gd name="T0" fmla="*/ 23 w 33"/>
                <a:gd name="T1" fmla="*/ 59 h 64"/>
                <a:gd name="T2" fmla="*/ 23 w 33"/>
                <a:gd name="T3" fmla="*/ 59 h 64"/>
                <a:gd name="T4" fmla="*/ 9 w 33"/>
                <a:gd name="T5" fmla="*/ 64 h 64"/>
                <a:gd name="T6" fmla="*/ 2 w 33"/>
                <a:gd name="T7" fmla="*/ 49 h 64"/>
                <a:gd name="T8" fmla="*/ 0 w 33"/>
                <a:gd name="T9" fmla="*/ 26 h 64"/>
                <a:gd name="T10" fmla="*/ 7 w 33"/>
                <a:gd name="T11" fmla="*/ 0 h 64"/>
                <a:gd name="T12" fmla="*/ 18 w 33"/>
                <a:gd name="T13" fmla="*/ 9 h 64"/>
                <a:gd name="T14" fmla="*/ 26 w 33"/>
                <a:gd name="T15" fmla="*/ 21 h 64"/>
                <a:gd name="T16" fmla="*/ 33 w 33"/>
                <a:gd name="T17" fmla="*/ 38 h 64"/>
                <a:gd name="T18" fmla="*/ 30 w 33"/>
                <a:gd name="T19" fmla="*/ 54 h 64"/>
                <a:gd name="T20" fmla="*/ 23 w 33"/>
                <a:gd name="T21" fmla="*/ 5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64">
                  <a:moveTo>
                    <a:pt x="23" y="59"/>
                  </a:moveTo>
                  <a:lnTo>
                    <a:pt x="23" y="59"/>
                  </a:lnTo>
                  <a:lnTo>
                    <a:pt x="9" y="64"/>
                  </a:lnTo>
                  <a:lnTo>
                    <a:pt x="2" y="49"/>
                  </a:lnTo>
                  <a:lnTo>
                    <a:pt x="0" y="26"/>
                  </a:lnTo>
                  <a:lnTo>
                    <a:pt x="7" y="0"/>
                  </a:lnTo>
                  <a:lnTo>
                    <a:pt x="18" y="9"/>
                  </a:lnTo>
                  <a:lnTo>
                    <a:pt x="26" y="21"/>
                  </a:lnTo>
                  <a:lnTo>
                    <a:pt x="33" y="38"/>
                  </a:lnTo>
                  <a:lnTo>
                    <a:pt x="30" y="54"/>
                  </a:lnTo>
                  <a:lnTo>
                    <a:pt x="23" y="59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49" name="Freeform 193">
              <a:extLst>
                <a:ext uri="{FF2B5EF4-FFF2-40B4-BE49-F238E27FC236}">
                  <a16:creationId xmlns:a16="http://schemas.microsoft.com/office/drawing/2014/main" id="{495A181F-9424-6227-69F6-938B05306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1211" y="2156747"/>
              <a:ext cx="10768" cy="17484"/>
            </a:xfrm>
            <a:custGeom>
              <a:avLst/>
              <a:gdLst>
                <a:gd name="T0" fmla="*/ 10 w 10"/>
                <a:gd name="T1" fmla="*/ 16 h 16"/>
                <a:gd name="T2" fmla="*/ 10 w 10"/>
                <a:gd name="T3" fmla="*/ 16 h 16"/>
                <a:gd name="T4" fmla="*/ 5 w 10"/>
                <a:gd name="T5" fmla="*/ 16 h 16"/>
                <a:gd name="T6" fmla="*/ 0 w 10"/>
                <a:gd name="T7" fmla="*/ 14 h 16"/>
                <a:gd name="T8" fmla="*/ 3 w 10"/>
                <a:gd name="T9" fmla="*/ 0 h 16"/>
                <a:gd name="T10" fmla="*/ 7 w 10"/>
                <a:gd name="T11" fmla="*/ 0 h 16"/>
                <a:gd name="T12" fmla="*/ 10 w 10"/>
                <a:gd name="T13" fmla="*/ 4 h 16"/>
                <a:gd name="T14" fmla="*/ 10 w 10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6">
                  <a:moveTo>
                    <a:pt x="10" y="16"/>
                  </a:moveTo>
                  <a:lnTo>
                    <a:pt x="10" y="16"/>
                  </a:lnTo>
                  <a:lnTo>
                    <a:pt x="5" y="16"/>
                  </a:lnTo>
                  <a:lnTo>
                    <a:pt x="0" y="14"/>
                  </a:lnTo>
                  <a:lnTo>
                    <a:pt x="3" y="0"/>
                  </a:lnTo>
                  <a:lnTo>
                    <a:pt x="7" y="0"/>
                  </a:lnTo>
                  <a:lnTo>
                    <a:pt x="10" y="4"/>
                  </a:lnTo>
                  <a:lnTo>
                    <a:pt x="10" y="16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50" name="Freeform 195">
              <a:extLst>
                <a:ext uri="{FF2B5EF4-FFF2-40B4-BE49-F238E27FC236}">
                  <a16:creationId xmlns:a16="http://schemas.microsoft.com/office/drawing/2014/main" id="{AA7B5E3F-EADF-8ED5-8E81-66D0325783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1501" y="1920698"/>
              <a:ext cx="124916" cy="75406"/>
            </a:xfrm>
            <a:custGeom>
              <a:avLst/>
              <a:gdLst>
                <a:gd name="T0" fmla="*/ 109 w 116"/>
                <a:gd name="T1" fmla="*/ 22 h 69"/>
                <a:gd name="T2" fmla="*/ 109 w 116"/>
                <a:gd name="T3" fmla="*/ 22 h 69"/>
                <a:gd name="T4" fmla="*/ 109 w 116"/>
                <a:gd name="T5" fmla="*/ 36 h 69"/>
                <a:gd name="T6" fmla="*/ 116 w 116"/>
                <a:gd name="T7" fmla="*/ 52 h 69"/>
                <a:gd name="T8" fmla="*/ 97 w 116"/>
                <a:gd name="T9" fmla="*/ 64 h 69"/>
                <a:gd name="T10" fmla="*/ 88 w 116"/>
                <a:gd name="T11" fmla="*/ 69 h 69"/>
                <a:gd name="T12" fmla="*/ 71 w 116"/>
                <a:gd name="T13" fmla="*/ 55 h 69"/>
                <a:gd name="T14" fmla="*/ 64 w 116"/>
                <a:gd name="T15" fmla="*/ 52 h 69"/>
                <a:gd name="T16" fmla="*/ 62 w 116"/>
                <a:gd name="T17" fmla="*/ 48 h 69"/>
                <a:gd name="T18" fmla="*/ 45 w 116"/>
                <a:gd name="T19" fmla="*/ 50 h 69"/>
                <a:gd name="T20" fmla="*/ 19 w 116"/>
                <a:gd name="T21" fmla="*/ 48 h 69"/>
                <a:gd name="T22" fmla="*/ 0 w 116"/>
                <a:gd name="T23" fmla="*/ 57 h 69"/>
                <a:gd name="T24" fmla="*/ 0 w 116"/>
                <a:gd name="T25" fmla="*/ 36 h 69"/>
                <a:gd name="T26" fmla="*/ 7 w 116"/>
                <a:gd name="T27" fmla="*/ 17 h 69"/>
                <a:gd name="T28" fmla="*/ 24 w 116"/>
                <a:gd name="T29" fmla="*/ 5 h 69"/>
                <a:gd name="T30" fmla="*/ 36 w 116"/>
                <a:gd name="T31" fmla="*/ 29 h 69"/>
                <a:gd name="T32" fmla="*/ 50 w 116"/>
                <a:gd name="T33" fmla="*/ 26 h 69"/>
                <a:gd name="T34" fmla="*/ 52 w 116"/>
                <a:gd name="T35" fmla="*/ 5 h 69"/>
                <a:gd name="T36" fmla="*/ 66 w 116"/>
                <a:gd name="T37" fmla="*/ 0 h 69"/>
                <a:gd name="T38" fmla="*/ 73 w 116"/>
                <a:gd name="T39" fmla="*/ 3 h 69"/>
                <a:gd name="T40" fmla="*/ 88 w 116"/>
                <a:gd name="T41" fmla="*/ 15 h 69"/>
                <a:gd name="T42" fmla="*/ 99 w 116"/>
                <a:gd name="T43" fmla="*/ 15 h 69"/>
                <a:gd name="T44" fmla="*/ 109 w 116"/>
                <a:gd name="T45" fmla="*/ 2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6" h="69">
                  <a:moveTo>
                    <a:pt x="109" y="22"/>
                  </a:moveTo>
                  <a:lnTo>
                    <a:pt x="109" y="22"/>
                  </a:lnTo>
                  <a:lnTo>
                    <a:pt x="109" y="36"/>
                  </a:lnTo>
                  <a:lnTo>
                    <a:pt x="116" y="52"/>
                  </a:lnTo>
                  <a:lnTo>
                    <a:pt x="97" y="64"/>
                  </a:lnTo>
                  <a:lnTo>
                    <a:pt x="88" y="69"/>
                  </a:lnTo>
                  <a:lnTo>
                    <a:pt x="71" y="55"/>
                  </a:lnTo>
                  <a:lnTo>
                    <a:pt x="64" y="52"/>
                  </a:lnTo>
                  <a:lnTo>
                    <a:pt x="62" y="48"/>
                  </a:lnTo>
                  <a:lnTo>
                    <a:pt x="45" y="50"/>
                  </a:lnTo>
                  <a:lnTo>
                    <a:pt x="19" y="48"/>
                  </a:lnTo>
                  <a:lnTo>
                    <a:pt x="0" y="57"/>
                  </a:lnTo>
                  <a:lnTo>
                    <a:pt x="0" y="36"/>
                  </a:lnTo>
                  <a:lnTo>
                    <a:pt x="7" y="17"/>
                  </a:lnTo>
                  <a:lnTo>
                    <a:pt x="24" y="5"/>
                  </a:lnTo>
                  <a:lnTo>
                    <a:pt x="36" y="29"/>
                  </a:lnTo>
                  <a:lnTo>
                    <a:pt x="50" y="26"/>
                  </a:lnTo>
                  <a:lnTo>
                    <a:pt x="52" y="5"/>
                  </a:lnTo>
                  <a:lnTo>
                    <a:pt x="66" y="0"/>
                  </a:lnTo>
                  <a:lnTo>
                    <a:pt x="73" y="3"/>
                  </a:lnTo>
                  <a:lnTo>
                    <a:pt x="88" y="15"/>
                  </a:lnTo>
                  <a:lnTo>
                    <a:pt x="99" y="15"/>
                  </a:lnTo>
                  <a:lnTo>
                    <a:pt x="109" y="2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51" name="Freeform 200">
              <a:extLst>
                <a:ext uri="{FF2B5EF4-FFF2-40B4-BE49-F238E27FC236}">
                  <a16:creationId xmlns:a16="http://schemas.microsoft.com/office/drawing/2014/main" id="{DD1666AC-EDF6-C1D3-A227-37B11286A964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1322" y="3388815"/>
              <a:ext cx="127069" cy="250255"/>
            </a:xfrm>
            <a:custGeom>
              <a:avLst/>
              <a:gdLst>
                <a:gd name="T0" fmla="*/ 111 w 118"/>
                <a:gd name="T1" fmla="*/ 23 h 229"/>
                <a:gd name="T2" fmla="*/ 111 w 118"/>
                <a:gd name="T3" fmla="*/ 23 h 229"/>
                <a:gd name="T4" fmla="*/ 114 w 118"/>
                <a:gd name="T5" fmla="*/ 45 h 229"/>
                <a:gd name="T6" fmla="*/ 118 w 118"/>
                <a:gd name="T7" fmla="*/ 52 h 229"/>
                <a:gd name="T8" fmla="*/ 116 w 118"/>
                <a:gd name="T9" fmla="*/ 59 h 229"/>
                <a:gd name="T10" fmla="*/ 114 w 118"/>
                <a:gd name="T11" fmla="*/ 66 h 229"/>
                <a:gd name="T12" fmla="*/ 109 w 118"/>
                <a:gd name="T13" fmla="*/ 54 h 229"/>
                <a:gd name="T14" fmla="*/ 104 w 118"/>
                <a:gd name="T15" fmla="*/ 59 h 229"/>
                <a:gd name="T16" fmla="*/ 109 w 118"/>
                <a:gd name="T17" fmla="*/ 73 h 229"/>
                <a:gd name="T18" fmla="*/ 107 w 118"/>
                <a:gd name="T19" fmla="*/ 80 h 229"/>
                <a:gd name="T20" fmla="*/ 102 w 118"/>
                <a:gd name="T21" fmla="*/ 83 h 229"/>
                <a:gd name="T22" fmla="*/ 102 w 118"/>
                <a:gd name="T23" fmla="*/ 97 h 229"/>
                <a:gd name="T24" fmla="*/ 95 w 118"/>
                <a:gd name="T25" fmla="*/ 118 h 229"/>
                <a:gd name="T26" fmla="*/ 88 w 118"/>
                <a:gd name="T27" fmla="*/ 142 h 229"/>
                <a:gd name="T28" fmla="*/ 78 w 118"/>
                <a:gd name="T29" fmla="*/ 173 h 229"/>
                <a:gd name="T30" fmla="*/ 71 w 118"/>
                <a:gd name="T31" fmla="*/ 199 h 229"/>
                <a:gd name="T32" fmla="*/ 64 w 118"/>
                <a:gd name="T33" fmla="*/ 218 h 229"/>
                <a:gd name="T34" fmla="*/ 50 w 118"/>
                <a:gd name="T35" fmla="*/ 222 h 229"/>
                <a:gd name="T36" fmla="*/ 36 w 118"/>
                <a:gd name="T37" fmla="*/ 229 h 229"/>
                <a:gd name="T38" fmla="*/ 26 w 118"/>
                <a:gd name="T39" fmla="*/ 225 h 229"/>
                <a:gd name="T40" fmla="*/ 14 w 118"/>
                <a:gd name="T41" fmla="*/ 220 h 229"/>
                <a:gd name="T42" fmla="*/ 10 w 118"/>
                <a:gd name="T43" fmla="*/ 208 h 229"/>
                <a:gd name="T44" fmla="*/ 10 w 118"/>
                <a:gd name="T45" fmla="*/ 194 h 229"/>
                <a:gd name="T46" fmla="*/ 3 w 118"/>
                <a:gd name="T47" fmla="*/ 180 h 229"/>
                <a:gd name="T48" fmla="*/ 0 w 118"/>
                <a:gd name="T49" fmla="*/ 168 h 229"/>
                <a:gd name="T50" fmla="*/ 5 w 118"/>
                <a:gd name="T51" fmla="*/ 156 h 229"/>
                <a:gd name="T52" fmla="*/ 12 w 118"/>
                <a:gd name="T53" fmla="*/ 151 h 229"/>
                <a:gd name="T54" fmla="*/ 12 w 118"/>
                <a:gd name="T55" fmla="*/ 147 h 229"/>
                <a:gd name="T56" fmla="*/ 19 w 118"/>
                <a:gd name="T57" fmla="*/ 132 h 229"/>
                <a:gd name="T58" fmla="*/ 21 w 118"/>
                <a:gd name="T59" fmla="*/ 123 h 229"/>
                <a:gd name="T60" fmla="*/ 17 w 118"/>
                <a:gd name="T61" fmla="*/ 113 h 229"/>
                <a:gd name="T62" fmla="*/ 14 w 118"/>
                <a:gd name="T63" fmla="*/ 104 h 229"/>
                <a:gd name="T64" fmla="*/ 12 w 118"/>
                <a:gd name="T65" fmla="*/ 87 h 229"/>
                <a:gd name="T66" fmla="*/ 19 w 118"/>
                <a:gd name="T67" fmla="*/ 80 h 229"/>
                <a:gd name="T68" fmla="*/ 21 w 118"/>
                <a:gd name="T69" fmla="*/ 68 h 229"/>
                <a:gd name="T70" fmla="*/ 29 w 118"/>
                <a:gd name="T71" fmla="*/ 68 h 229"/>
                <a:gd name="T72" fmla="*/ 38 w 118"/>
                <a:gd name="T73" fmla="*/ 64 h 229"/>
                <a:gd name="T74" fmla="*/ 43 w 118"/>
                <a:gd name="T75" fmla="*/ 61 h 229"/>
                <a:gd name="T76" fmla="*/ 50 w 118"/>
                <a:gd name="T77" fmla="*/ 61 h 229"/>
                <a:gd name="T78" fmla="*/ 62 w 118"/>
                <a:gd name="T79" fmla="*/ 52 h 229"/>
                <a:gd name="T80" fmla="*/ 74 w 118"/>
                <a:gd name="T81" fmla="*/ 42 h 229"/>
                <a:gd name="T82" fmla="*/ 78 w 118"/>
                <a:gd name="T83" fmla="*/ 33 h 229"/>
                <a:gd name="T84" fmla="*/ 76 w 118"/>
                <a:gd name="T85" fmla="*/ 26 h 229"/>
                <a:gd name="T86" fmla="*/ 83 w 118"/>
                <a:gd name="T87" fmla="*/ 28 h 229"/>
                <a:gd name="T88" fmla="*/ 92 w 118"/>
                <a:gd name="T89" fmla="*/ 16 h 229"/>
                <a:gd name="T90" fmla="*/ 92 w 118"/>
                <a:gd name="T91" fmla="*/ 7 h 229"/>
                <a:gd name="T92" fmla="*/ 97 w 118"/>
                <a:gd name="T93" fmla="*/ 0 h 229"/>
                <a:gd name="T94" fmla="*/ 104 w 118"/>
                <a:gd name="T95" fmla="*/ 7 h 229"/>
                <a:gd name="T96" fmla="*/ 107 w 118"/>
                <a:gd name="T97" fmla="*/ 14 h 229"/>
                <a:gd name="T98" fmla="*/ 111 w 118"/>
                <a:gd name="T99" fmla="*/ 23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8" h="229">
                  <a:moveTo>
                    <a:pt x="111" y="23"/>
                  </a:moveTo>
                  <a:lnTo>
                    <a:pt x="111" y="23"/>
                  </a:lnTo>
                  <a:lnTo>
                    <a:pt x="114" y="45"/>
                  </a:lnTo>
                  <a:lnTo>
                    <a:pt x="118" y="52"/>
                  </a:lnTo>
                  <a:lnTo>
                    <a:pt x="116" y="59"/>
                  </a:lnTo>
                  <a:lnTo>
                    <a:pt x="114" y="66"/>
                  </a:lnTo>
                  <a:lnTo>
                    <a:pt x="109" y="54"/>
                  </a:lnTo>
                  <a:lnTo>
                    <a:pt x="104" y="59"/>
                  </a:lnTo>
                  <a:lnTo>
                    <a:pt x="109" y="73"/>
                  </a:lnTo>
                  <a:lnTo>
                    <a:pt x="107" y="80"/>
                  </a:lnTo>
                  <a:lnTo>
                    <a:pt x="102" y="83"/>
                  </a:lnTo>
                  <a:lnTo>
                    <a:pt x="102" y="97"/>
                  </a:lnTo>
                  <a:lnTo>
                    <a:pt x="95" y="118"/>
                  </a:lnTo>
                  <a:lnTo>
                    <a:pt x="88" y="142"/>
                  </a:lnTo>
                  <a:lnTo>
                    <a:pt x="78" y="173"/>
                  </a:lnTo>
                  <a:lnTo>
                    <a:pt x="71" y="199"/>
                  </a:lnTo>
                  <a:lnTo>
                    <a:pt x="64" y="218"/>
                  </a:lnTo>
                  <a:lnTo>
                    <a:pt x="50" y="222"/>
                  </a:lnTo>
                  <a:lnTo>
                    <a:pt x="36" y="229"/>
                  </a:lnTo>
                  <a:lnTo>
                    <a:pt x="26" y="225"/>
                  </a:lnTo>
                  <a:lnTo>
                    <a:pt x="14" y="220"/>
                  </a:lnTo>
                  <a:lnTo>
                    <a:pt x="10" y="208"/>
                  </a:lnTo>
                  <a:lnTo>
                    <a:pt x="10" y="194"/>
                  </a:lnTo>
                  <a:lnTo>
                    <a:pt x="3" y="180"/>
                  </a:lnTo>
                  <a:lnTo>
                    <a:pt x="0" y="168"/>
                  </a:lnTo>
                  <a:lnTo>
                    <a:pt x="5" y="156"/>
                  </a:lnTo>
                  <a:lnTo>
                    <a:pt x="12" y="151"/>
                  </a:lnTo>
                  <a:lnTo>
                    <a:pt x="12" y="147"/>
                  </a:lnTo>
                  <a:lnTo>
                    <a:pt x="19" y="132"/>
                  </a:lnTo>
                  <a:lnTo>
                    <a:pt x="21" y="123"/>
                  </a:lnTo>
                  <a:lnTo>
                    <a:pt x="17" y="113"/>
                  </a:lnTo>
                  <a:lnTo>
                    <a:pt x="14" y="104"/>
                  </a:lnTo>
                  <a:lnTo>
                    <a:pt x="12" y="87"/>
                  </a:lnTo>
                  <a:lnTo>
                    <a:pt x="19" y="80"/>
                  </a:lnTo>
                  <a:lnTo>
                    <a:pt x="21" y="68"/>
                  </a:lnTo>
                  <a:lnTo>
                    <a:pt x="29" y="68"/>
                  </a:lnTo>
                  <a:lnTo>
                    <a:pt x="38" y="64"/>
                  </a:lnTo>
                  <a:lnTo>
                    <a:pt x="43" y="61"/>
                  </a:lnTo>
                  <a:lnTo>
                    <a:pt x="50" y="61"/>
                  </a:lnTo>
                  <a:lnTo>
                    <a:pt x="62" y="52"/>
                  </a:lnTo>
                  <a:lnTo>
                    <a:pt x="74" y="42"/>
                  </a:lnTo>
                  <a:lnTo>
                    <a:pt x="78" y="33"/>
                  </a:lnTo>
                  <a:lnTo>
                    <a:pt x="76" y="26"/>
                  </a:lnTo>
                  <a:lnTo>
                    <a:pt x="83" y="28"/>
                  </a:lnTo>
                  <a:lnTo>
                    <a:pt x="92" y="16"/>
                  </a:lnTo>
                  <a:lnTo>
                    <a:pt x="92" y="7"/>
                  </a:lnTo>
                  <a:lnTo>
                    <a:pt x="97" y="0"/>
                  </a:lnTo>
                  <a:lnTo>
                    <a:pt x="104" y="7"/>
                  </a:lnTo>
                  <a:lnTo>
                    <a:pt x="107" y="14"/>
                  </a:lnTo>
                  <a:lnTo>
                    <a:pt x="111" y="23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52" name="Freeform 202">
              <a:extLst>
                <a:ext uri="{FF2B5EF4-FFF2-40B4-BE49-F238E27FC236}">
                  <a16:creationId xmlns:a16="http://schemas.microsoft.com/office/drawing/2014/main" id="{5571D261-8180-1A4A-8CF4-2D989792F6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1500" y="2567649"/>
              <a:ext cx="527658" cy="349702"/>
            </a:xfrm>
            <a:custGeom>
              <a:avLst/>
              <a:gdLst>
                <a:gd name="T0" fmla="*/ 97 w 490"/>
                <a:gd name="T1" fmla="*/ 26 h 320"/>
                <a:gd name="T2" fmla="*/ 142 w 490"/>
                <a:gd name="T3" fmla="*/ 19 h 320"/>
                <a:gd name="T4" fmla="*/ 185 w 490"/>
                <a:gd name="T5" fmla="*/ 31 h 320"/>
                <a:gd name="T6" fmla="*/ 204 w 490"/>
                <a:gd name="T7" fmla="*/ 59 h 320"/>
                <a:gd name="T8" fmla="*/ 237 w 490"/>
                <a:gd name="T9" fmla="*/ 57 h 320"/>
                <a:gd name="T10" fmla="*/ 270 w 490"/>
                <a:gd name="T11" fmla="*/ 76 h 320"/>
                <a:gd name="T12" fmla="*/ 289 w 490"/>
                <a:gd name="T13" fmla="*/ 109 h 320"/>
                <a:gd name="T14" fmla="*/ 317 w 490"/>
                <a:gd name="T15" fmla="*/ 128 h 320"/>
                <a:gd name="T16" fmla="*/ 315 w 490"/>
                <a:gd name="T17" fmla="*/ 154 h 320"/>
                <a:gd name="T18" fmla="*/ 315 w 490"/>
                <a:gd name="T19" fmla="*/ 197 h 320"/>
                <a:gd name="T20" fmla="*/ 334 w 490"/>
                <a:gd name="T21" fmla="*/ 230 h 320"/>
                <a:gd name="T22" fmla="*/ 360 w 490"/>
                <a:gd name="T23" fmla="*/ 253 h 320"/>
                <a:gd name="T24" fmla="*/ 393 w 490"/>
                <a:gd name="T25" fmla="*/ 253 h 320"/>
                <a:gd name="T26" fmla="*/ 426 w 490"/>
                <a:gd name="T27" fmla="*/ 242 h 320"/>
                <a:gd name="T28" fmla="*/ 436 w 490"/>
                <a:gd name="T29" fmla="*/ 211 h 320"/>
                <a:gd name="T30" fmla="*/ 478 w 490"/>
                <a:gd name="T31" fmla="*/ 204 h 320"/>
                <a:gd name="T32" fmla="*/ 490 w 490"/>
                <a:gd name="T33" fmla="*/ 213 h 320"/>
                <a:gd name="T34" fmla="*/ 481 w 490"/>
                <a:gd name="T35" fmla="*/ 239 h 320"/>
                <a:gd name="T36" fmla="*/ 471 w 490"/>
                <a:gd name="T37" fmla="*/ 253 h 320"/>
                <a:gd name="T38" fmla="*/ 457 w 490"/>
                <a:gd name="T39" fmla="*/ 265 h 320"/>
                <a:gd name="T40" fmla="*/ 452 w 490"/>
                <a:gd name="T41" fmla="*/ 265 h 320"/>
                <a:gd name="T42" fmla="*/ 421 w 490"/>
                <a:gd name="T43" fmla="*/ 275 h 320"/>
                <a:gd name="T44" fmla="*/ 426 w 490"/>
                <a:gd name="T45" fmla="*/ 284 h 320"/>
                <a:gd name="T46" fmla="*/ 431 w 490"/>
                <a:gd name="T47" fmla="*/ 296 h 320"/>
                <a:gd name="T48" fmla="*/ 405 w 490"/>
                <a:gd name="T49" fmla="*/ 313 h 320"/>
                <a:gd name="T50" fmla="*/ 384 w 490"/>
                <a:gd name="T51" fmla="*/ 303 h 320"/>
                <a:gd name="T52" fmla="*/ 355 w 490"/>
                <a:gd name="T53" fmla="*/ 294 h 320"/>
                <a:gd name="T54" fmla="*/ 322 w 490"/>
                <a:gd name="T55" fmla="*/ 298 h 320"/>
                <a:gd name="T56" fmla="*/ 282 w 490"/>
                <a:gd name="T57" fmla="*/ 284 h 320"/>
                <a:gd name="T58" fmla="*/ 246 w 490"/>
                <a:gd name="T59" fmla="*/ 265 h 320"/>
                <a:gd name="T60" fmla="*/ 213 w 490"/>
                <a:gd name="T61" fmla="*/ 251 h 320"/>
                <a:gd name="T62" fmla="*/ 185 w 490"/>
                <a:gd name="T63" fmla="*/ 223 h 320"/>
                <a:gd name="T64" fmla="*/ 192 w 490"/>
                <a:gd name="T65" fmla="*/ 211 h 320"/>
                <a:gd name="T66" fmla="*/ 185 w 490"/>
                <a:gd name="T67" fmla="*/ 189 h 320"/>
                <a:gd name="T68" fmla="*/ 149 w 490"/>
                <a:gd name="T69" fmla="*/ 149 h 320"/>
                <a:gd name="T70" fmla="*/ 123 w 490"/>
                <a:gd name="T71" fmla="*/ 128 h 320"/>
                <a:gd name="T72" fmla="*/ 109 w 490"/>
                <a:gd name="T73" fmla="*/ 104 h 320"/>
                <a:gd name="T74" fmla="*/ 86 w 490"/>
                <a:gd name="T75" fmla="*/ 81 h 320"/>
                <a:gd name="T76" fmla="*/ 69 w 490"/>
                <a:gd name="T77" fmla="*/ 50 h 320"/>
                <a:gd name="T78" fmla="*/ 52 w 490"/>
                <a:gd name="T79" fmla="*/ 21 h 320"/>
                <a:gd name="T80" fmla="*/ 34 w 490"/>
                <a:gd name="T81" fmla="*/ 26 h 320"/>
                <a:gd name="T82" fmla="*/ 45 w 490"/>
                <a:gd name="T83" fmla="*/ 57 h 320"/>
                <a:gd name="T84" fmla="*/ 62 w 490"/>
                <a:gd name="T85" fmla="*/ 73 h 320"/>
                <a:gd name="T86" fmla="*/ 69 w 490"/>
                <a:gd name="T87" fmla="*/ 92 h 320"/>
                <a:gd name="T88" fmla="*/ 88 w 490"/>
                <a:gd name="T89" fmla="*/ 111 h 320"/>
                <a:gd name="T90" fmla="*/ 105 w 490"/>
                <a:gd name="T91" fmla="*/ 144 h 320"/>
                <a:gd name="T92" fmla="*/ 119 w 490"/>
                <a:gd name="T93" fmla="*/ 163 h 320"/>
                <a:gd name="T94" fmla="*/ 116 w 490"/>
                <a:gd name="T95" fmla="*/ 180 h 320"/>
                <a:gd name="T96" fmla="*/ 100 w 490"/>
                <a:gd name="T97" fmla="*/ 159 h 320"/>
                <a:gd name="T98" fmla="*/ 81 w 490"/>
                <a:gd name="T99" fmla="*/ 133 h 320"/>
                <a:gd name="T100" fmla="*/ 60 w 490"/>
                <a:gd name="T101" fmla="*/ 109 h 320"/>
                <a:gd name="T102" fmla="*/ 43 w 490"/>
                <a:gd name="T103" fmla="*/ 104 h 320"/>
                <a:gd name="T104" fmla="*/ 41 w 490"/>
                <a:gd name="T105" fmla="*/ 92 h 320"/>
                <a:gd name="T106" fmla="*/ 34 w 490"/>
                <a:gd name="T107" fmla="*/ 64 h 320"/>
                <a:gd name="T108" fmla="*/ 15 w 490"/>
                <a:gd name="T109" fmla="*/ 36 h 320"/>
                <a:gd name="T110" fmla="*/ 17 w 490"/>
                <a:gd name="T111" fmla="*/ 2 h 320"/>
                <a:gd name="T112" fmla="*/ 62 w 490"/>
                <a:gd name="T113" fmla="*/ 12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90" h="320">
                  <a:moveTo>
                    <a:pt x="62" y="12"/>
                  </a:moveTo>
                  <a:lnTo>
                    <a:pt x="62" y="12"/>
                  </a:lnTo>
                  <a:lnTo>
                    <a:pt x="97" y="26"/>
                  </a:lnTo>
                  <a:lnTo>
                    <a:pt x="131" y="26"/>
                  </a:lnTo>
                  <a:lnTo>
                    <a:pt x="142" y="26"/>
                  </a:lnTo>
                  <a:lnTo>
                    <a:pt x="142" y="19"/>
                  </a:lnTo>
                  <a:lnTo>
                    <a:pt x="171" y="19"/>
                  </a:lnTo>
                  <a:lnTo>
                    <a:pt x="178" y="26"/>
                  </a:lnTo>
                  <a:lnTo>
                    <a:pt x="185" y="31"/>
                  </a:lnTo>
                  <a:lnTo>
                    <a:pt x="197" y="40"/>
                  </a:lnTo>
                  <a:lnTo>
                    <a:pt x="201" y="50"/>
                  </a:lnTo>
                  <a:lnTo>
                    <a:pt x="204" y="59"/>
                  </a:lnTo>
                  <a:lnTo>
                    <a:pt x="213" y="64"/>
                  </a:lnTo>
                  <a:lnTo>
                    <a:pt x="225" y="71"/>
                  </a:lnTo>
                  <a:lnTo>
                    <a:pt x="237" y="57"/>
                  </a:lnTo>
                  <a:lnTo>
                    <a:pt x="251" y="55"/>
                  </a:lnTo>
                  <a:lnTo>
                    <a:pt x="261" y="64"/>
                  </a:lnTo>
                  <a:lnTo>
                    <a:pt x="270" y="76"/>
                  </a:lnTo>
                  <a:lnTo>
                    <a:pt x="275" y="88"/>
                  </a:lnTo>
                  <a:lnTo>
                    <a:pt x="284" y="97"/>
                  </a:lnTo>
                  <a:lnTo>
                    <a:pt x="289" y="109"/>
                  </a:lnTo>
                  <a:lnTo>
                    <a:pt x="291" y="118"/>
                  </a:lnTo>
                  <a:lnTo>
                    <a:pt x="306" y="123"/>
                  </a:lnTo>
                  <a:lnTo>
                    <a:pt x="317" y="128"/>
                  </a:lnTo>
                  <a:lnTo>
                    <a:pt x="324" y="126"/>
                  </a:lnTo>
                  <a:lnTo>
                    <a:pt x="317" y="142"/>
                  </a:lnTo>
                  <a:lnTo>
                    <a:pt x="315" y="154"/>
                  </a:lnTo>
                  <a:lnTo>
                    <a:pt x="313" y="178"/>
                  </a:lnTo>
                  <a:lnTo>
                    <a:pt x="310" y="187"/>
                  </a:lnTo>
                  <a:lnTo>
                    <a:pt x="315" y="197"/>
                  </a:lnTo>
                  <a:lnTo>
                    <a:pt x="320" y="206"/>
                  </a:lnTo>
                  <a:lnTo>
                    <a:pt x="322" y="218"/>
                  </a:lnTo>
                  <a:lnTo>
                    <a:pt x="334" y="230"/>
                  </a:lnTo>
                  <a:lnTo>
                    <a:pt x="336" y="239"/>
                  </a:lnTo>
                  <a:lnTo>
                    <a:pt x="343" y="249"/>
                  </a:lnTo>
                  <a:lnTo>
                    <a:pt x="360" y="253"/>
                  </a:lnTo>
                  <a:lnTo>
                    <a:pt x="367" y="260"/>
                  </a:lnTo>
                  <a:lnTo>
                    <a:pt x="381" y="256"/>
                  </a:lnTo>
                  <a:lnTo>
                    <a:pt x="393" y="253"/>
                  </a:lnTo>
                  <a:lnTo>
                    <a:pt x="405" y="251"/>
                  </a:lnTo>
                  <a:lnTo>
                    <a:pt x="417" y="249"/>
                  </a:lnTo>
                  <a:lnTo>
                    <a:pt x="426" y="242"/>
                  </a:lnTo>
                  <a:lnTo>
                    <a:pt x="431" y="230"/>
                  </a:lnTo>
                  <a:lnTo>
                    <a:pt x="431" y="215"/>
                  </a:lnTo>
                  <a:lnTo>
                    <a:pt x="436" y="211"/>
                  </a:lnTo>
                  <a:lnTo>
                    <a:pt x="445" y="206"/>
                  </a:lnTo>
                  <a:lnTo>
                    <a:pt x="462" y="204"/>
                  </a:lnTo>
                  <a:lnTo>
                    <a:pt x="478" y="204"/>
                  </a:lnTo>
                  <a:lnTo>
                    <a:pt x="488" y="201"/>
                  </a:lnTo>
                  <a:lnTo>
                    <a:pt x="490" y="206"/>
                  </a:lnTo>
                  <a:lnTo>
                    <a:pt x="490" y="213"/>
                  </a:lnTo>
                  <a:lnTo>
                    <a:pt x="481" y="225"/>
                  </a:lnTo>
                  <a:lnTo>
                    <a:pt x="478" y="234"/>
                  </a:lnTo>
                  <a:lnTo>
                    <a:pt x="481" y="239"/>
                  </a:lnTo>
                  <a:lnTo>
                    <a:pt x="478" y="246"/>
                  </a:lnTo>
                  <a:lnTo>
                    <a:pt x="474" y="258"/>
                  </a:lnTo>
                  <a:lnTo>
                    <a:pt x="471" y="253"/>
                  </a:lnTo>
                  <a:lnTo>
                    <a:pt x="466" y="253"/>
                  </a:lnTo>
                  <a:lnTo>
                    <a:pt x="464" y="253"/>
                  </a:lnTo>
                  <a:lnTo>
                    <a:pt x="457" y="265"/>
                  </a:lnTo>
                  <a:lnTo>
                    <a:pt x="455" y="263"/>
                  </a:lnTo>
                  <a:lnTo>
                    <a:pt x="452" y="263"/>
                  </a:lnTo>
                  <a:lnTo>
                    <a:pt x="452" y="265"/>
                  </a:lnTo>
                  <a:lnTo>
                    <a:pt x="438" y="265"/>
                  </a:lnTo>
                  <a:lnTo>
                    <a:pt x="421" y="265"/>
                  </a:lnTo>
                  <a:lnTo>
                    <a:pt x="421" y="275"/>
                  </a:lnTo>
                  <a:lnTo>
                    <a:pt x="417" y="275"/>
                  </a:lnTo>
                  <a:lnTo>
                    <a:pt x="421" y="282"/>
                  </a:lnTo>
                  <a:lnTo>
                    <a:pt x="426" y="284"/>
                  </a:lnTo>
                  <a:lnTo>
                    <a:pt x="429" y="289"/>
                  </a:lnTo>
                  <a:lnTo>
                    <a:pt x="431" y="289"/>
                  </a:lnTo>
                  <a:lnTo>
                    <a:pt x="431" y="296"/>
                  </a:lnTo>
                  <a:lnTo>
                    <a:pt x="410" y="296"/>
                  </a:lnTo>
                  <a:lnTo>
                    <a:pt x="403" y="308"/>
                  </a:lnTo>
                  <a:lnTo>
                    <a:pt x="405" y="313"/>
                  </a:lnTo>
                  <a:lnTo>
                    <a:pt x="403" y="315"/>
                  </a:lnTo>
                  <a:lnTo>
                    <a:pt x="403" y="320"/>
                  </a:lnTo>
                  <a:lnTo>
                    <a:pt x="384" y="303"/>
                  </a:lnTo>
                  <a:lnTo>
                    <a:pt x="377" y="298"/>
                  </a:lnTo>
                  <a:lnTo>
                    <a:pt x="362" y="294"/>
                  </a:lnTo>
                  <a:lnTo>
                    <a:pt x="355" y="294"/>
                  </a:lnTo>
                  <a:lnTo>
                    <a:pt x="341" y="301"/>
                  </a:lnTo>
                  <a:lnTo>
                    <a:pt x="334" y="303"/>
                  </a:lnTo>
                  <a:lnTo>
                    <a:pt x="322" y="298"/>
                  </a:lnTo>
                  <a:lnTo>
                    <a:pt x="308" y="294"/>
                  </a:lnTo>
                  <a:lnTo>
                    <a:pt x="294" y="287"/>
                  </a:lnTo>
                  <a:lnTo>
                    <a:pt x="282" y="284"/>
                  </a:lnTo>
                  <a:lnTo>
                    <a:pt x="263" y="277"/>
                  </a:lnTo>
                  <a:lnTo>
                    <a:pt x="251" y="268"/>
                  </a:lnTo>
                  <a:lnTo>
                    <a:pt x="246" y="265"/>
                  </a:lnTo>
                  <a:lnTo>
                    <a:pt x="237" y="263"/>
                  </a:lnTo>
                  <a:lnTo>
                    <a:pt x="220" y="258"/>
                  </a:lnTo>
                  <a:lnTo>
                    <a:pt x="213" y="251"/>
                  </a:lnTo>
                  <a:lnTo>
                    <a:pt x="197" y="239"/>
                  </a:lnTo>
                  <a:lnTo>
                    <a:pt x="187" y="230"/>
                  </a:lnTo>
                  <a:lnTo>
                    <a:pt x="185" y="223"/>
                  </a:lnTo>
                  <a:lnTo>
                    <a:pt x="190" y="220"/>
                  </a:lnTo>
                  <a:lnTo>
                    <a:pt x="187" y="215"/>
                  </a:lnTo>
                  <a:lnTo>
                    <a:pt x="192" y="211"/>
                  </a:lnTo>
                  <a:lnTo>
                    <a:pt x="192" y="204"/>
                  </a:lnTo>
                  <a:lnTo>
                    <a:pt x="187" y="197"/>
                  </a:lnTo>
                  <a:lnTo>
                    <a:pt x="185" y="189"/>
                  </a:lnTo>
                  <a:lnTo>
                    <a:pt x="178" y="180"/>
                  </a:lnTo>
                  <a:lnTo>
                    <a:pt x="166" y="163"/>
                  </a:lnTo>
                  <a:lnTo>
                    <a:pt x="149" y="149"/>
                  </a:lnTo>
                  <a:lnTo>
                    <a:pt x="140" y="140"/>
                  </a:lnTo>
                  <a:lnTo>
                    <a:pt x="128" y="133"/>
                  </a:lnTo>
                  <a:lnTo>
                    <a:pt x="123" y="128"/>
                  </a:lnTo>
                  <a:lnTo>
                    <a:pt x="126" y="116"/>
                  </a:lnTo>
                  <a:lnTo>
                    <a:pt x="119" y="111"/>
                  </a:lnTo>
                  <a:lnTo>
                    <a:pt x="109" y="104"/>
                  </a:lnTo>
                  <a:lnTo>
                    <a:pt x="105" y="90"/>
                  </a:lnTo>
                  <a:lnTo>
                    <a:pt x="95" y="90"/>
                  </a:lnTo>
                  <a:lnTo>
                    <a:pt x="86" y="81"/>
                  </a:lnTo>
                  <a:lnTo>
                    <a:pt x="79" y="71"/>
                  </a:lnTo>
                  <a:lnTo>
                    <a:pt x="79" y="64"/>
                  </a:lnTo>
                  <a:lnTo>
                    <a:pt x="69" y="50"/>
                  </a:lnTo>
                  <a:lnTo>
                    <a:pt x="64" y="36"/>
                  </a:lnTo>
                  <a:lnTo>
                    <a:pt x="64" y="31"/>
                  </a:lnTo>
                  <a:lnTo>
                    <a:pt x="52" y="21"/>
                  </a:lnTo>
                  <a:lnTo>
                    <a:pt x="48" y="24"/>
                  </a:lnTo>
                  <a:lnTo>
                    <a:pt x="38" y="17"/>
                  </a:lnTo>
                  <a:lnTo>
                    <a:pt x="34" y="26"/>
                  </a:lnTo>
                  <a:lnTo>
                    <a:pt x="38" y="33"/>
                  </a:lnTo>
                  <a:lnTo>
                    <a:pt x="38" y="47"/>
                  </a:lnTo>
                  <a:lnTo>
                    <a:pt x="45" y="57"/>
                  </a:lnTo>
                  <a:lnTo>
                    <a:pt x="57" y="69"/>
                  </a:lnTo>
                  <a:lnTo>
                    <a:pt x="60" y="73"/>
                  </a:lnTo>
                  <a:lnTo>
                    <a:pt x="62" y="73"/>
                  </a:lnTo>
                  <a:lnTo>
                    <a:pt x="64" y="81"/>
                  </a:lnTo>
                  <a:lnTo>
                    <a:pt x="67" y="81"/>
                  </a:lnTo>
                  <a:lnTo>
                    <a:pt x="69" y="92"/>
                  </a:lnTo>
                  <a:lnTo>
                    <a:pt x="76" y="97"/>
                  </a:lnTo>
                  <a:lnTo>
                    <a:pt x="79" y="104"/>
                  </a:lnTo>
                  <a:lnTo>
                    <a:pt x="88" y="111"/>
                  </a:lnTo>
                  <a:lnTo>
                    <a:pt x="95" y="128"/>
                  </a:lnTo>
                  <a:lnTo>
                    <a:pt x="100" y="137"/>
                  </a:lnTo>
                  <a:lnTo>
                    <a:pt x="105" y="144"/>
                  </a:lnTo>
                  <a:lnTo>
                    <a:pt x="105" y="154"/>
                  </a:lnTo>
                  <a:lnTo>
                    <a:pt x="112" y="154"/>
                  </a:lnTo>
                  <a:lnTo>
                    <a:pt x="119" y="163"/>
                  </a:lnTo>
                  <a:lnTo>
                    <a:pt x="123" y="171"/>
                  </a:lnTo>
                  <a:lnTo>
                    <a:pt x="123" y="173"/>
                  </a:lnTo>
                  <a:lnTo>
                    <a:pt x="116" y="180"/>
                  </a:lnTo>
                  <a:lnTo>
                    <a:pt x="114" y="180"/>
                  </a:lnTo>
                  <a:lnTo>
                    <a:pt x="112" y="168"/>
                  </a:lnTo>
                  <a:lnTo>
                    <a:pt x="100" y="159"/>
                  </a:lnTo>
                  <a:lnTo>
                    <a:pt x="88" y="152"/>
                  </a:lnTo>
                  <a:lnTo>
                    <a:pt x="81" y="147"/>
                  </a:lnTo>
                  <a:lnTo>
                    <a:pt x="81" y="133"/>
                  </a:lnTo>
                  <a:lnTo>
                    <a:pt x="79" y="123"/>
                  </a:lnTo>
                  <a:lnTo>
                    <a:pt x="69" y="118"/>
                  </a:lnTo>
                  <a:lnTo>
                    <a:pt x="60" y="109"/>
                  </a:lnTo>
                  <a:lnTo>
                    <a:pt x="57" y="114"/>
                  </a:lnTo>
                  <a:lnTo>
                    <a:pt x="52" y="109"/>
                  </a:lnTo>
                  <a:lnTo>
                    <a:pt x="43" y="104"/>
                  </a:lnTo>
                  <a:lnTo>
                    <a:pt x="34" y="92"/>
                  </a:lnTo>
                  <a:lnTo>
                    <a:pt x="34" y="92"/>
                  </a:lnTo>
                  <a:lnTo>
                    <a:pt x="41" y="92"/>
                  </a:lnTo>
                  <a:lnTo>
                    <a:pt x="48" y="85"/>
                  </a:lnTo>
                  <a:lnTo>
                    <a:pt x="48" y="78"/>
                  </a:lnTo>
                  <a:lnTo>
                    <a:pt x="34" y="64"/>
                  </a:lnTo>
                  <a:lnTo>
                    <a:pt x="26" y="59"/>
                  </a:lnTo>
                  <a:lnTo>
                    <a:pt x="19" y="47"/>
                  </a:lnTo>
                  <a:lnTo>
                    <a:pt x="15" y="36"/>
                  </a:lnTo>
                  <a:lnTo>
                    <a:pt x="5" y="21"/>
                  </a:lnTo>
                  <a:lnTo>
                    <a:pt x="0" y="5"/>
                  </a:lnTo>
                  <a:lnTo>
                    <a:pt x="17" y="2"/>
                  </a:lnTo>
                  <a:lnTo>
                    <a:pt x="38" y="0"/>
                  </a:lnTo>
                  <a:lnTo>
                    <a:pt x="36" y="5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2" y="1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53" name="Freeform 203">
              <a:extLst>
                <a:ext uri="{FF2B5EF4-FFF2-40B4-BE49-F238E27FC236}">
                  <a16:creationId xmlns:a16="http://schemas.microsoft.com/office/drawing/2014/main" id="{DAD286D1-C60E-EE8B-CF15-708C3F0F4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1808" y="2355641"/>
              <a:ext cx="43074" cy="33878"/>
            </a:xfrm>
            <a:custGeom>
              <a:avLst/>
              <a:gdLst>
                <a:gd name="T0" fmla="*/ 37 w 40"/>
                <a:gd name="T1" fmla="*/ 7 h 31"/>
                <a:gd name="T2" fmla="*/ 37 w 40"/>
                <a:gd name="T3" fmla="*/ 7 h 31"/>
                <a:gd name="T4" fmla="*/ 40 w 40"/>
                <a:gd name="T5" fmla="*/ 21 h 31"/>
                <a:gd name="T6" fmla="*/ 35 w 40"/>
                <a:gd name="T7" fmla="*/ 21 h 31"/>
                <a:gd name="T8" fmla="*/ 33 w 40"/>
                <a:gd name="T9" fmla="*/ 24 h 31"/>
                <a:gd name="T10" fmla="*/ 26 w 40"/>
                <a:gd name="T11" fmla="*/ 24 h 31"/>
                <a:gd name="T12" fmla="*/ 18 w 40"/>
                <a:gd name="T13" fmla="*/ 28 h 31"/>
                <a:gd name="T14" fmla="*/ 9 w 40"/>
                <a:gd name="T15" fmla="*/ 31 h 31"/>
                <a:gd name="T16" fmla="*/ 2 w 40"/>
                <a:gd name="T17" fmla="*/ 26 h 31"/>
                <a:gd name="T18" fmla="*/ 0 w 40"/>
                <a:gd name="T19" fmla="*/ 17 h 31"/>
                <a:gd name="T20" fmla="*/ 2 w 40"/>
                <a:gd name="T21" fmla="*/ 9 h 31"/>
                <a:gd name="T22" fmla="*/ 2 w 40"/>
                <a:gd name="T23" fmla="*/ 9 h 31"/>
                <a:gd name="T24" fmla="*/ 4 w 40"/>
                <a:gd name="T25" fmla="*/ 5 h 31"/>
                <a:gd name="T26" fmla="*/ 14 w 40"/>
                <a:gd name="T27" fmla="*/ 2 h 31"/>
                <a:gd name="T28" fmla="*/ 16 w 40"/>
                <a:gd name="T29" fmla="*/ 0 h 31"/>
                <a:gd name="T30" fmla="*/ 23 w 40"/>
                <a:gd name="T31" fmla="*/ 0 h 31"/>
                <a:gd name="T32" fmla="*/ 30 w 40"/>
                <a:gd name="T33" fmla="*/ 0 h 31"/>
                <a:gd name="T34" fmla="*/ 37 w 40"/>
                <a:gd name="T35" fmla="*/ 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31">
                  <a:moveTo>
                    <a:pt x="37" y="7"/>
                  </a:moveTo>
                  <a:lnTo>
                    <a:pt x="37" y="7"/>
                  </a:lnTo>
                  <a:lnTo>
                    <a:pt x="40" y="21"/>
                  </a:lnTo>
                  <a:lnTo>
                    <a:pt x="35" y="21"/>
                  </a:lnTo>
                  <a:lnTo>
                    <a:pt x="33" y="24"/>
                  </a:lnTo>
                  <a:lnTo>
                    <a:pt x="26" y="24"/>
                  </a:lnTo>
                  <a:lnTo>
                    <a:pt x="18" y="28"/>
                  </a:lnTo>
                  <a:lnTo>
                    <a:pt x="9" y="31"/>
                  </a:lnTo>
                  <a:lnTo>
                    <a:pt x="2" y="26"/>
                  </a:lnTo>
                  <a:lnTo>
                    <a:pt x="0" y="17"/>
                  </a:lnTo>
                  <a:lnTo>
                    <a:pt x="2" y="9"/>
                  </a:lnTo>
                  <a:lnTo>
                    <a:pt x="2" y="9"/>
                  </a:lnTo>
                  <a:lnTo>
                    <a:pt x="4" y="5"/>
                  </a:lnTo>
                  <a:lnTo>
                    <a:pt x="14" y="2"/>
                  </a:lnTo>
                  <a:lnTo>
                    <a:pt x="16" y="0"/>
                  </a:lnTo>
                  <a:lnTo>
                    <a:pt x="23" y="0"/>
                  </a:lnTo>
                  <a:lnTo>
                    <a:pt x="30" y="0"/>
                  </a:lnTo>
                  <a:lnTo>
                    <a:pt x="37" y="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54" name="Freeform 208">
              <a:extLst>
                <a:ext uri="{FF2B5EF4-FFF2-40B4-BE49-F238E27FC236}">
                  <a16:creationId xmlns:a16="http://schemas.microsoft.com/office/drawing/2014/main" id="{2AE5D9FB-0FD0-069E-AA4A-5670BCFB9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2038" y="2656166"/>
              <a:ext cx="155067" cy="343147"/>
            </a:xfrm>
            <a:custGeom>
              <a:avLst/>
              <a:gdLst>
                <a:gd name="T0" fmla="*/ 104 w 144"/>
                <a:gd name="T1" fmla="*/ 16 h 314"/>
                <a:gd name="T2" fmla="*/ 104 w 144"/>
                <a:gd name="T3" fmla="*/ 45 h 314"/>
                <a:gd name="T4" fmla="*/ 87 w 144"/>
                <a:gd name="T5" fmla="*/ 80 h 314"/>
                <a:gd name="T6" fmla="*/ 109 w 144"/>
                <a:gd name="T7" fmla="*/ 94 h 314"/>
                <a:gd name="T8" fmla="*/ 113 w 144"/>
                <a:gd name="T9" fmla="*/ 111 h 314"/>
                <a:gd name="T10" fmla="*/ 132 w 144"/>
                <a:gd name="T11" fmla="*/ 120 h 314"/>
                <a:gd name="T12" fmla="*/ 144 w 144"/>
                <a:gd name="T13" fmla="*/ 123 h 314"/>
                <a:gd name="T14" fmla="*/ 128 w 144"/>
                <a:gd name="T15" fmla="*/ 142 h 314"/>
                <a:gd name="T16" fmla="*/ 109 w 144"/>
                <a:gd name="T17" fmla="*/ 151 h 314"/>
                <a:gd name="T18" fmla="*/ 90 w 144"/>
                <a:gd name="T19" fmla="*/ 170 h 314"/>
                <a:gd name="T20" fmla="*/ 92 w 144"/>
                <a:gd name="T21" fmla="*/ 189 h 314"/>
                <a:gd name="T22" fmla="*/ 109 w 144"/>
                <a:gd name="T23" fmla="*/ 213 h 314"/>
                <a:gd name="T24" fmla="*/ 97 w 144"/>
                <a:gd name="T25" fmla="*/ 229 h 314"/>
                <a:gd name="T26" fmla="*/ 111 w 144"/>
                <a:gd name="T27" fmla="*/ 250 h 314"/>
                <a:gd name="T28" fmla="*/ 113 w 144"/>
                <a:gd name="T29" fmla="*/ 267 h 314"/>
                <a:gd name="T30" fmla="*/ 111 w 144"/>
                <a:gd name="T31" fmla="*/ 298 h 314"/>
                <a:gd name="T32" fmla="*/ 99 w 144"/>
                <a:gd name="T33" fmla="*/ 303 h 314"/>
                <a:gd name="T34" fmla="*/ 99 w 144"/>
                <a:gd name="T35" fmla="*/ 281 h 314"/>
                <a:gd name="T36" fmla="*/ 95 w 144"/>
                <a:gd name="T37" fmla="*/ 255 h 314"/>
                <a:gd name="T38" fmla="*/ 87 w 144"/>
                <a:gd name="T39" fmla="*/ 213 h 314"/>
                <a:gd name="T40" fmla="*/ 69 w 144"/>
                <a:gd name="T41" fmla="*/ 208 h 314"/>
                <a:gd name="T42" fmla="*/ 43 w 144"/>
                <a:gd name="T43" fmla="*/ 220 h 314"/>
                <a:gd name="T44" fmla="*/ 38 w 144"/>
                <a:gd name="T45" fmla="*/ 194 h 314"/>
                <a:gd name="T46" fmla="*/ 21 w 144"/>
                <a:gd name="T47" fmla="*/ 158 h 314"/>
                <a:gd name="T48" fmla="*/ 12 w 144"/>
                <a:gd name="T49" fmla="*/ 151 h 314"/>
                <a:gd name="T50" fmla="*/ 0 w 144"/>
                <a:gd name="T51" fmla="*/ 123 h 314"/>
                <a:gd name="T52" fmla="*/ 7 w 144"/>
                <a:gd name="T53" fmla="*/ 113 h 314"/>
                <a:gd name="T54" fmla="*/ 12 w 144"/>
                <a:gd name="T55" fmla="*/ 101 h 314"/>
                <a:gd name="T56" fmla="*/ 16 w 144"/>
                <a:gd name="T57" fmla="*/ 78 h 314"/>
                <a:gd name="T58" fmla="*/ 38 w 144"/>
                <a:gd name="T59" fmla="*/ 66 h 314"/>
                <a:gd name="T60" fmla="*/ 47 w 144"/>
                <a:gd name="T61" fmla="*/ 42 h 314"/>
                <a:gd name="T62" fmla="*/ 66 w 144"/>
                <a:gd name="T63" fmla="*/ 19 h 314"/>
                <a:gd name="T64" fmla="*/ 78 w 144"/>
                <a:gd name="T65" fmla="*/ 11 h 314"/>
                <a:gd name="T66" fmla="*/ 83 w 144"/>
                <a:gd name="T67" fmla="*/ 2 h 314"/>
                <a:gd name="T68" fmla="*/ 97 w 144"/>
                <a:gd name="T69" fmla="*/ 1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4" h="314">
                  <a:moveTo>
                    <a:pt x="104" y="16"/>
                  </a:moveTo>
                  <a:lnTo>
                    <a:pt x="104" y="16"/>
                  </a:lnTo>
                  <a:lnTo>
                    <a:pt x="104" y="30"/>
                  </a:lnTo>
                  <a:lnTo>
                    <a:pt x="104" y="45"/>
                  </a:lnTo>
                  <a:lnTo>
                    <a:pt x="90" y="59"/>
                  </a:lnTo>
                  <a:lnTo>
                    <a:pt x="87" y="80"/>
                  </a:lnTo>
                  <a:lnTo>
                    <a:pt x="104" y="78"/>
                  </a:lnTo>
                  <a:lnTo>
                    <a:pt x="109" y="94"/>
                  </a:lnTo>
                  <a:lnTo>
                    <a:pt x="118" y="97"/>
                  </a:lnTo>
                  <a:lnTo>
                    <a:pt x="113" y="111"/>
                  </a:lnTo>
                  <a:lnTo>
                    <a:pt x="125" y="118"/>
                  </a:lnTo>
                  <a:lnTo>
                    <a:pt x="132" y="120"/>
                  </a:lnTo>
                  <a:lnTo>
                    <a:pt x="144" y="116"/>
                  </a:lnTo>
                  <a:lnTo>
                    <a:pt x="144" y="123"/>
                  </a:lnTo>
                  <a:lnTo>
                    <a:pt x="130" y="134"/>
                  </a:lnTo>
                  <a:lnTo>
                    <a:pt x="128" y="142"/>
                  </a:lnTo>
                  <a:lnTo>
                    <a:pt x="118" y="144"/>
                  </a:lnTo>
                  <a:lnTo>
                    <a:pt x="109" y="151"/>
                  </a:lnTo>
                  <a:lnTo>
                    <a:pt x="97" y="153"/>
                  </a:lnTo>
                  <a:lnTo>
                    <a:pt x="90" y="170"/>
                  </a:lnTo>
                  <a:lnTo>
                    <a:pt x="83" y="175"/>
                  </a:lnTo>
                  <a:lnTo>
                    <a:pt x="92" y="189"/>
                  </a:lnTo>
                  <a:lnTo>
                    <a:pt x="102" y="201"/>
                  </a:lnTo>
                  <a:lnTo>
                    <a:pt x="109" y="213"/>
                  </a:lnTo>
                  <a:lnTo>
                    <a:pt x="102" y="227"/>
                  </a:lnTo>
                  <a:lnTo>
                    <a:pt x="97" y="229"/>
                  </a:lnTo>
                  <a:lnTo>
                    <a:pt x="99" y="239"/>
                  </a:lnTo>
                  <a:lnTo>
                    <a:pt x="111" y="250"/>
                  </a:lnTo>
                  <a:lnTo>
                    <a:pt x="113" y="260"/>
                  </a:lnTo>
                  <a:lnTo>
                    <a:pt x="113" y="267"/>
                  </a:lnTo>
                  <a:lnTo>
                    <a:pt x="118" y="284"/>
                  </a:lnTo>
                  <a:lnTo>
                    <a:pt x="111" y="298"/>
                  </a:lnTo>
                  <a:lnTo>
                    <a:pt x="102" y="314"/>
                  </a:lnTo>
                  <a:lnTo>
                    <a:pt x="99" y="303"/>
                  </a:lnTo>
                  <a:lnTo>
                    <a:pt x="106" y="291"/>
                  </a:lnTo>
                  <a:lnTo>
                    <a:pt x="99" y="281"/>
                  </a:lnTo>
                  <a:lnTo>
                    <a:pt x="102" y="262"/>
                  </a:lnTo>
                  <a:lnTo>
                    <a:pt x="95" y="255"/>
                  </a:lnTo>
                  <a:lnTo>
                    <a:pt x="90" y="234"/>
                  </a:lnTo>
                  <a:lnTo>
                    <a:pt x="87" y="213"/>
                  </a:lnTo>
                  <a:lnTo>
                    <a:pt x="80" y="201"/>
                  </a:lnTo>
                  <a:lnTo>
                    <a:pt x="69" y="208"/>
                  </a:lnTo>
                  <a:lnTo>
                    <a:pt x="50" y="220"/>
                  </a:lnTo>
                  <a:lnTo>
                    <a:pt x="43" y="220"/>
                  </a:lnTo>
                  <a:lnTo>
                    <a:pt x="33" y="215"/>
                  </a:lnTo>
                  <a:lnTo>
                    <a:pt x="38" y="194"/>
                  </a:lnTo>
                  <a:lnTo>
                    <a:pt x="33" y="177"/>
                  </a:lnTo>
                  <a:lnTo>
                    <a:pt x="21" y="158"/>
                  </a:lnTo>
                  <a:lnTo>
                    <a:pt x="24" y="153"/>
                  </a:lnTo>
                  <a:lnTo>
                    <a:pt x="12" y="151"/>
                  </a:lnTo>
                  <a:lnTo>
                    <a:pt x="2" y="137"/>
                  </a:lnTo>
                  <a:lnTo>
                    <a:pt x="0" y="123"/>
                  </a:lnTo>
                  <a:lnTo>
                    <a:pt x="7" y="125"/>
                  </a:lnTo>
                  <a:lnTo>
                    <a:pt x="7" y="113"/>
                  </a:lnTo>
                  <a:lnTo>
                    <a:pt x="14" y="108"/>
                  </a:lnTo>
                  <a:lnTo>
                    <a:pt x="12" y="101"/>
                  </a:lnTo>
                  <a:lnTo>
                    <a:pt x="16" y="94"/>
                  </a:lnTo>
                  <a:lnTo>
                    <a:pt x="16" y="78"/>
                  </a:lnTo>
                  <a:lnTo>
                    <a:pt x="31" y="80"/>
                  </a:lnTo>
                  <a:lnTo>
                    <a:pt x="38" y="66"/>
                  </a:lnTo>
                  <a:lnTo>
                    <a:pt x="38" y="59"/>
                  </a:lnTo>
                  <a:lnTo>
                    <a:pt x="47" y="42"/>
                  </a:lnTo>
                  <a:lnTo>
                    <a:pt x="47" y="33"/>
                  </a:lnTo>
                  <a:lnTo>
                    <a:pt x="66" y="19"/>
                  </a:lnTo>
                  <a:lnTo>
                    <a:pt x="80" y="23"/>
                  </a:lnTo>
                  <a:lnTo>
                    <a:pt x="78" y="11"/>
                  </a:lnTo>
                  <a:lnTo>
                    <a:pt x="83" y="9"/>
                  </a:lnTo>
                  <a:lnTo>
                    <a:pt x="83" y="2"/>
                  </a:lnTo>
                  <a:lnTo>
                    <a:pt x="92" y="0"/>
                  </a:lnTo>
                  <a:lnTo>
                    <a:pt x="97" y="11"/>
                  </a:lnTo>
                  <a:lnTo>
                    <a:pt x="104" y="16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55" name="Freeform 216">
              <a:extLst>
                <a:ext uri="{FF2B5EF4-FFF2-40B4-BE49-F238E27FC236}">
                  <a16:creationId xmlns:a16="http://schemas.microsoft.com/office/drawing/2014/main" id="{1FD6B8E4-8033-7F7D-D7E6-AFA0045F9D2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3850" y="2676930"/>
              <a:ext cx="214295" cy="240422"/>
            </a:xfrm>
            <a:custGeom>
              <a:avLst/>
              <a:gdLst>
                <a:gd name="T0" fmla="*/ 138 w 199"/>
                <a:gd name="T1" fmla="*/ 0 h 220"/>
                <a:gd name="T2" fmla="*/ 138 w 199"/>
                <a:gd name="T3" fmla="*/ 0 h 220"/>
                <a:gd name="T4" fmla="*/ 199 w 199"/>
                <a:gd name="T5" fmla="*/ 42 h 220"/>
                <a:gd name="T6" fmla="*/ 173 w 199"/>
                <a:gd name="T7" fmla="*/ 42 h 220"/>
                <a:gd name="T8" fmla="*/ 180 w 199"/>
                <a:gd name="T9" fmla="*/ 118 h 220"/>
                <a:gd name="T10" fmla="*/ 190 w 199"/>
                <a:gd name="T11" fmla="*/ 191 h 220"/>
                <a:gd name="T12" fmla="*/ 192 w 199"/>
                <a:gd name="T13" fmla="*/ 194 h 220"/>
                <a:gd name="T14" fmla="*/ 190 w 199"/>
                <a:gd name="T15" fmla="*/ 205 h 220"/>
                <a:gd name="T16" fmla="*/ 123 w 199"/>
                <a:gd name="T17" fmla="*/ 205 h 220"/>
                <a:gd name="T18" fmla="*/ 121 w 199"/>
                <a:gd name="T19" fmla="*/ 208 h 220"/>
                <a:gd name="T20" fmla="*/ 114 w 199"/>
                <a:gd name="T21" fmla="*/ 208 h 220"/>
                <a:gd name="T22" fmla="*/ 104 w 199"/>
                <a:gd name="T23" fmla="*/ 210 h 220"/>
                <a:gd name="T24" fmla="*/ 95 w 199"/>
                <a:gd name="T25" fmla="*/ 205 h 220"/>
                <a:gd name="T26" fmla="*/ 88 w 199"/>
                <a:gd name="T27" fmla="*/ 208 h 220"/>
                <a:gd name="T28" fmla="*/ 85 w 199"/>
                <a:gd name="T29" fmla="*/ 217 h 220"/>
                <a:gd name="T30" fmla="*/ 81 w 199"/>
                <a:gd name="T31" fmla="*/ 220 h 220"/>
                <a:gd name="T32" fmla="*/ 69 w 199"/>
                <a:gd name="T33" fmla="*/ 208 h 220"/>
                <a:gd name="T34" fmla="*/ 59 w 199"/>
                <a:gd name="T35" fmla="*/ 196 h 220"/>
                <a:gd name="T36" fmla="*/ 50 w 199"/>
                <a:gd name="T37" fmla="*/ 191 h 220"/>
                <a:gd name="T38" fmla="*/ 43 w 199"/>
                <a:gd name="T39" fmla="*/ 187 h 220"/>
                <a:gd name="T40" fmla="*/ 31 w 199"/>
                <a:gd name="T41" fmla="*/ 187 h 220"/>
                <a:gd name="T42" fmla="*/ 24 w 199"/>
                <a:gd name="T43" fmla="*/ 191 h 220"/>
                <a:gd name="T44" fmla="*/ 17 w 199"/>
                <a:gd name="T45" fmla="*/ 189 h 220"/>
                <a:gd name="T46" fmla="*/ 12 w 199"/>
                <a:gd name="T47" fmla="*/ 194 h 220"/>
                <a:gd name="T48" fmla="*/ 10 w 199"/>
                <a:gd name="T49" fmla="*/ 187 h 220"/>
                <a:gd name="T50" fmla="*/ 15 w 199"/>
                <a:gd name="T51" fmla="*/ 177 h 220"/>
                <a:gd name="T52" fmla="*/ 17 w 199"/>
                <a:gd name="T53" fmla="*/ 160 h 220"/>
                <a:gd name="T54" fmla="*/ 15 w 199"/>
                <a:gd name="T55" fmla="*/ 144 h 220"/>
                <a:gd name="T56" fmla="*/ 12 w 199"/>
                <a:gd name="T57" fmla="*/ 137 h 220"/>
                <a:gd name="T58" fmla="*/ 15 w 199"/>
                <a:gd name="T59" fmla="*/ 127 h 220"/>
                <a:gd name="T60" fmla="*/ 10 w 199"/>
                <a:gd name="T61" fmla="*/ 120 h 220"/>
                <a:gd name="T62" fmla="*/ 0 w 199"/>
                <a:gd name="T63" fmla="*/ 113 h 220"/>
                <a:gd name="T64" fmla="*/ 5 w 199"/>
                <a:gd name="T65" fmla="*/ 106 h 220"/>
                <a:gd name="T66" fmla="*/ 69 w 199"/>
                <a:gd name="T67" fmla="*/ 106 h 220"/>
                <a:gd name="T68" fmla="*/ 64 w 199"/>
                <a:gd name="T69" fmla="*/ 80 h 220"/>
                <a:gd name="T70" fmla="*/ 69 w 199"/>
                <a:gd name="T71" fmla="*/ 73 h 220"/>
                <a:gd name="T72" fmla="*/ 83 w 199"/>
                <a:gd name="T73" fmla="*/ 71 h 220"/>
                <a:gd name="T74" fmla="*/ 83 w 199"/>
                <a:gd name="T75" fmla="*/ 26 h 220"/>
                <a:gd name="T76" fmla="*/ 138 w 199"/>
                <a:gd name="T77" fmla="*/ 26 h 220"/>
                <a:gd name="T78" fmla="*/ 138 w 199"/>
                <a:gd name="T79" fmla="*/ 0 h 220"/>
                <a:gd name="T80" fmla="*/ 138 w 199"/>
                <a:gd name="T81" fmla="*/ 0 h 220"/>
                <a:gd name="T82" fmla="*/ 138 w 199"/>
                <a:gd name="T83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9" h="220">
                  <a:moveTo>
                    <a:pt x="138" y="0"/>
                  </a:moveTo>
                  <a:lnTo>
                    <a:pt x="138" y="0"/>
                  </a:lnTo>
                  <a:lnTo>
                    <a:pt x="199" y="42"/>
                  </a:lnTo>
                  <a:lnTo>
                    <a:pt x="173" y="42"/>
                  </a:lnTo>
                  <a:lnTo>
                    <a:pt x="180" y="118"/>
                  </a:lnTo>
                  <a:lnTo>
                    <a:pt x="190" y="191"/>
                  </a:lnTo>
                  <a:lnTo>
                    <a:pt x="192" y="194"/>
                  </a:lnTo>
                  <a:lnTo>
                    <a:pt x="190" y="205"/>
                  </a:lnTo>
                  <a:lnTo>
                    <a:pt x="123" y="205"/>
                  </a:lnTo>
                  <a:lnTo>
                    <a:pt x="121" y="208"/>
                  </a:lnTo>
                  <a:lnTo>
                    <a:pt x="114" y="208"/>
                  </a:lnTo>
                  <a:lnTo>
                    <a:pt x="104" y="210"/>
                  </a:lnTo>
                  <a:lnTo>
                    <a:pt x="95" y="205"/>
                  </a:lnTo>
                  <a:lnTo>
                    <a:pt x="88" y="208"/>
                  </a:lnTo>
                  <a:lnTo>
                    <a:pt x="85" y="217"/>
                  </a:lnTo>
                  <a:lnTo>
                    <a:pt x="81" y="220"/>
                  </a:lnTo>
                  <a:lnTo>
                    <a:pt x="69" y="208"/>
                  </a:lnTo>
                  <a:lnTo>
                    <a:pt x="59" y="196"/>
                  </a:lnTo>
                  <a:lnTo>
                    <a:pt x="50" y="191"/>
                  </a:lnTo>
                  <a:lnTo>
                    <a:pt x="43" y="187"/>
                  </a:lnTo>
                  <a:lnTo>
                    <a:pt x="31" y="187"/>
                  </a:lnTo>
                  <a:lnTo>
                    <a:pt x="24" y="191"/>
                  </a:lnTo>
                  <a:lnTo>
                    <a:pt x="17" y="189"/>
                  </a:lnTo>
                  <a:lnTo>
                    <a:pt x="12" y="194"/>
                  </a:lnTo>
                  <a:lnTo>
                    <a:pt x="10" y="187"/>
                  </a:lnTo>
                  <a:lnTo>
                    <a:pt x="15" y="177"/>
                  </a:lnTo>
                  <a:lnTo>
                    <a:pt x="17" y="160"/>
                  </a:lnTo>
                  <a:lnTo>
                    <a:pt x="15" y="144"/>
                  </a:lnTo>
                  <a:lnTo>
                    <a:pt x="12" y="137"/>
                  </a:lnTo>
                  <a:lnTo>
                    <a:pt x="15" y="127"/>
                  </a:lnTo>
                  <a:lnTo>
                    <a:pt x="10" y="120"/>
                  </a:lnTo>
                  <a:lnTo>
                    <a:pt x="0" y="113"/>
                  </a:lnTo>
                  <a:lnTo>
                    <a:pt x="5" y="106"/>
                  </a:lnTo>
                  <a:lnTo>
                    <a:pt x="69" y="106"/>
                  </a:lnTo>
                  <a:lnTo>
                    <a:pt x="64" y="80"/>
                  </a:lnTo>
                  <a:lnTo>
                    <a:pt x="69" y="73"/>
                  </a:lnTo>
                  <a:lnTo>
                    <a:pt x="83" y="71"/>
                  </a:lnTo>
                  <a:lnTo>
                    <a:pt x="83" y="26"/>
                  </a:lnTo>
                  <a:lnTo>
                    <a:pt x="138" y="26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138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56" name="Freeform 219">
              <a:extLst>
                <a:ext uri="{FF2B5EF4-FFF2-40B4-BE49-F238E27FC236}">
                  <a16:creationId xmlns:a16="http://schemas.microsoft.com/office/drawing/2014/main" id="{14B2C69B-3DE1-11E1-9EC8-E7E187B226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99875" y="3053954"/>
              <a:ext cx="333826" cy="108190"/>
            </a:xfrm>
            <a:custGeom>
              <a:avLst/>
              <a:gdLst>
                <a:gd name="T0" fmla="*/ 14 w 310"/>
                <a:gd name="T1" fmla="*/ 12 h 99"/>
                <a:gd name="T2" fmla="*/ 28 w 310"/>
                <a:gd name="T3" fmla="*/ 19 h 99"/>
                <a:gd name="T4" fmla="*/ 35 w 310"/>
                <a:gd name="T5" fmla="*/ 14 h 99"/>
                <a:gd name="T6" fmla="*/ 52 w 310"/>
                <a:gd name="T7" fmla="*/ 33 h 99"/>
                <a:gd name="T8" fmla="*/ 52 w 310"/>
                <a:gd name="T9" fmla="*/ 52 h 99"/>
                <a:gd name="T10" fmla="*/ 54 w 310"/>
                <a:gd name="T11" fmla="*/ 66 h 99"/>
                <a:gd name="T12" fmla="*/ 66 w 310"/>
                <a:gd name="T13" fmla="*/ 85 h 99"/>
                <a:gd name="T14" fmla="*/ 54 w 310"/>
                <a:gd name="T15" fmla="*/ 92 h 99"/>
                <a:gd name="T16" fmla="*/ 19 w 310"/>
                <a:gd name="T17" fmla="*/ 69 h 99"/>
                <a:gd name="T18" fmla="*/ 9 w 310"/>
                <a:gd name="T19" fmla="*/ 50 h 99"/>
                <a:gd name="T20" fmla="*/ 0 w 310"/>
                <a:gd name="T21" fmla="*/ 26 h 99"/>
                <a:gd name="T22" fmla="*/ 0 w 310"/>
                <a:gd name="T23" fmla="*/ 7 h 99"/>
                <a:gd name="T24" fmla="*/ 14 w 310"/>
                <a:gd name="T25" fmla="*/ 12 h 99"/>
                <a:gd name="T26" fmla="*/ 300 w 310"/>
                <a:gd name="T27" fmla="*/ 40 h 99"/>
                <a:gd name="T28" fmla="*/ 274 w 310"/>
                <a:gd name="T29" fmla="*/ 43 h 99"/>
                <a:gd name="T30" fmla="*/ 248 w 310"/>
                <a:gd name="T31" fmla="*/ 62 h 99"/>
                <a:gd name="T32" fmla="*/ 234 w 310"/>
                <a:gd name="T33" fmla="*/ 90 h 99"/>
                <a:gd name="T34" fmla="*/ 205 w 310"/>
                <a:gd name="T35" fmla="*/ 88 h 99"/>
                <a:gd name="T36" fmla="*/ 189 w 310"/>
                <a:gd name="T37" fmla="*/ 97 h 99"/>
                <a:gd name="T38" fmla="*/ 168 w 310"/>
                <a:gd name="T39" fmla="*/ 99 h 99"/>
                <a:gd name="T40" fmla="*/ 153 w 310"/>
                <a:gd name="T41" fmla="*/ 81 h 99"/>
                <a:gd name="T42" fmla="*/ 177 w 310"/>
                <a:gd name="T43" fmla="*/ 83 h 99"/>
                <a:gd name="T44" fmla="*/ 189 w 310"/>
                <a:gd name="T45" fmla="*/ 66 h 99"/>
                <a:gd name="T46" fmla="*/ 220 w 310"/>
                <a:gd name="T47" fmla="*/ 50 h 99"/>
                <a:gd name="T48" fmla="*/ 234 w 310"/>
                <a:gd name="T49" fmla="*/ 47 h 99"/>
                <a:gd name="T50" fmla="*/ 246 w 310"/>
                <a:gd name="T51" fmla="*/ 43 h 99"/>
                <a:gd name="T52" fmla="*/ 248 w 310"/>
                <a:gd name="T53" fmla="*/ 24 h 99"/>
                <a:gd name="T54" fmla="*/ 269 w 310"/>
                <a:gd name="T55" fmla="*/ 0 h 99"/>
                <a:gd name="T56" fmla="*/ 283 w 310"/>
                <a:gd name="T57" fmla="*/ 10 h 99"/>
                <a:gd name="T58" fmla="*/ 295 w 310"/>
                <a:gd name="T59" fmla="*/ 19 h 99"/>
                <a:gd name="T60" fmla="*/ 307 w 310"/>
                <a:gd name="T61" fmla="*/ 31 h 99"/>
                <a:gd name="T62" fmla="*/ 300 w 310"/>
                <a:gd name="T63" fmla="*/ 4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10" h="99">
                  <a:moveTo>
                    <a:pt x="14" y="12"/>
                  </a:moveTo>
                  <a:lnTo>
                    <a:pt x="14" y="12"/>
                  </a:lnTo>
                  <a:lnTo>
                    <a:pt x="16" y="21"/>
                  </a:lnTo>
                  <a:lnTo>
                    <a:pt x="28" y="19"/>
                  </a:lnTo>
                  <a:lnTo>
                    <a:pt x="30" y="12"/>
                  </a:lnTo>
                  <a:lnTo>
                    <a:pt x="35" y="14"/>
                  </a:lnTo>
                  <a:lnTo>
                    <a:pt x="45" y="24"/>
                  </a:lnTo>
                  <a:lnTo>
                    <a:pt x="52" y="33"/>
                  </a:lnTo>
                  <a:lnTo>
                    <a:pt x="54" y="45"/>
                  </a:lnTo>
                  <a:lnTo>
                    <a:pt x="52" y="52"/>
                  </a:lnTo>
                  <a:lnTo>
                    <a:pt x="52" y="57"/>
                  </a:lnTo>
                  <a:lnTo>
                    <a:pt x="54" y="66"/>
                  </a:lnTo>
                  <a:lnTo>
                    <a:pt x="59" y="71"/>
                  </a:lnTo>
                  <a:lnTo>
                    <a:pt x="66" y="85"/>
                  </a:lnTo>
                  <a:lnTo>
                    <a:pt x="66" y="92"/>
                  </a:lnTo>
                  <a:lnTo>
                    <a:pt x="54" y="92"/>
                  </a:lnTo>
                  <a:lnTo>
                    <a:pt x="40" y="81"/>
                  </a:lnTo>
                  <a:lnTo>
                    <a:pt x="19" y="69"/>
                  </a:lnTo>
                  <a:lnTo>
                    <a:pt x="19" y="59"/>
                  </a:lnTo>
                  <a:lnTo>
                    <a:pt x="9" y="50"/>
                  </a:lnTo>
                  <a:lnTo>
                    <a:pt x="7" y="36"/>
                  </a:lnTo>
                  <a:lnTo>
                    <a:pt x="0" y="26"/>
                  </a:lnTo>
                  <a:lnTo>
                    <a:pt x="2" y="14"/>
                  </a:lnTo>
                  <a:lnTo>
                    <a:pt x="0" y="7"/>
                  </a:lnTo>
                  <a:lnTo>
                    <a:pt x="2" y="5"/>
                  </a:lnTo>
                  <a:lnTo>
                    <a:pt x="14" y="12"/>
                  </a:lnTo>
                  <a:close/>
                  <a:moveTo>
                    <a:pt x="300" y="40"/>
                  </a:moveTo>
                  <a:lnTo>
                    <a:pt x="300" y="40"/>
                  </a:lnTo>
                  <a:lnTo>
                    <a:pt x="288" y="45"/>
                  </a:lnTo>
                  <a:lnTo>
                    <a:pt x="274" y="43"/>
                  </a:lnTo>
                  <a:lnTo>
                    <a:pt x="255" y="43"/>
                  </a:lnTo>
                  <a:lnTo>
                    <a:pt x="248" y="62"/>
                  </a:lnTo>
                  <a:lnTo>
                    <a:pt x="243" y="66"/>
                  </a:lnTo>
                  <a:lnTo>
                    <a:pt x="234" y="90"/>
                  </a:lnTo>
                  <a:lnTo>
                    <a:pt x="222" y="92"/>
                  </a:lnTo>
                  <a:lnTo>
                    <a:pt x="205" y="88"/>
                  </a:lnTo>
                  <a:lnTo>
                    <a:pt x="198" y="90"/>
                  </a:lnTo>
                  <a:lnTo>
                    <a:pt x="189" y="97"/>
                  </a:lnTo>
                  <a:lnTo>
                    <a:pt x="177" y="97"/>
                  </a:lnTo>
                  <a:lnTo>
                    <a:pt x="168" y="99"/>
                  </a:lnTo>
                  <a:lnTo>
                    <a:pt x="156" y="90"/>
                  </a:lnTo>
                  <a:lnTo>
                    <a:pt x="153" y="81"/>
                  </a:lnTo>
                  <a:lnTo>
                    <a:pt x="165" y="85"/>
                  </a:lnTo>
                  <a:lnTo>
                    <a:pt x="177" y="83"/>
                  </a:lnTo>
                  <a:lnTo>
                    <a:pt x="182" y="69"/>
                  </a:lnTo>
                  <a:lnTo>
                    <a:pt x="189" y="66"/>
                  </a:lnTo>
                  <a:lnTo>
                    <a:pt x="208" y="62"/>
                  </a:lnTo>
                  <a:lnTo>
                    <a:pt x="220" y="50"/>
                  </a:lnTo>
                  <a:lnTo>
                    <a:pt x="229" y="38"/>
                  </a:lnTo>
                  <a:lnTo>
                    <a:pt x="234" y="47"/>
                  </a:lnTo>
                  <a:lnTo>
                    <a:pt x="239" y="43"/>
                  </a:lnTo>
                  <a:lnTo>
                    <a:pt x="246" y="43"/>
                  </a:lnTo>
                  <a:lnTo>
                    <a:pt x="246" y="33"/>
                  </a:lnTo>
                  <a:lnTo>
                    <a:pt x="248" y="24"/>
                  </a:lnTo>
                  <a:lnTo>
                    <a:pt x="260" y="14"/>
                  </a:lnTo>
                  <a:lnTo>
                    <a:pt x="269" y="0"/>
                  </a:lnTo>
                  <a:lnTo>
                    <a:pt x="274" y="0"/>
                  </a:lnTo>
                  <a:lnTo>
                    <a:pt x="283" y="10"/>
                  </a:lnTo>
                  <a:lnTo>
                    <a:pt x="283" y="14"/>
                  </a:lnTo>
                  <a:lnTo>
                    <a:pt x="295" y="19"/>
                  </a:lnTo>
                  <a:lnTo>
                    <a:pt x="310" y="24"/>
                  </a:lnTo>
                  <a:lnTo>
                    <a:pt x="307" y="31"/>
                  </a:lnTo>
                  <a:lnTo>
                    <a:pt x="295" y="33"/>
                  </a:lnTo>
                  <a:lnTo>
                    <a:pt x="300" y="4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57" name="Freeform 224">
              <a:extLst>
                <a:ext uri="{FF2B5EF4-FFF2-40B4-BE49-F238E27FC236}">
                  <a16:creationId xmlns:a16="http://schemas.microsoft.com/office/drawing/2014/main" id="{944BC932-6535-A0BC-3C1B-4212C937D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5498" y="3538073"/>
              <a:ext cx="50613" cy="43713"/>
            </a:xfrm>
            <a:custGeom>
              <a:avLst/>
              <a:gdLst>
                <a:gd name="T0" fmla="*/ 47 w 47"/>
                <a:gd name="T1" fmla="*/ 35 h 40"/>
                <a:gd name="T2" fmla="*/ 47 w 47"/>
                <a:gd name="T3" fmla="*/ 35 h 40"/>
                <a:gd name="T4" fmla="*/ 42 w 47"/>
                <a:gd name="T5" fmla="*/ 40 h 40"/>
                <a:gd name="T6" fmla="*/ 33 w 47"/>
                <a:gd name="T7" fmla="*/ 35 h 40"/>
                <a:gd name="T8" fmla="*/ 21 w 47"/>
                <a:gd name="T9" fmla="*/ 26 h 40"/>
                <a:gd name="T10" fmla="*/ 11 w 47"/>
                <a:gd name="T11" fmla="*/ 16 h 40"/>
                <a:gd name="T12" fmla="*/ 2 w 47"/>
                <a:gd name="T13" fmla="*/ 4 h 40"/>
                <a:gd name="T14" fmla="*/ 0 w 47"/>
                <a:gd name="T15" fmla="*/ 0 h 40"/>
                <a:gd name="T16" fmla="*/ 4 w 47"/>
                <a:gd name="T17" fmla="*/ 0 h 40"/>
                <a:gd name="T18" fmla="*/ 14 w 47"/>
                <a:gd name="T19" fmla="*/ 4 h 40"/>
                <a:gd name="T20" fmla="*/ 21 w 47"/>
                <a:gd name="T21" fmla="*/ 12 h 40"/>
                <a:gd name="T22" fmla="*/ 26 w 47"/>
                <a:gd name="T23" fmla="*/ 16 h 40"/>
                <a:gd name="T24" fmla="*/ 40 w 47"/>
                <a:gd name="T25" fmla="*/ 26 h 40"/>
                <a:gd name="T26" fmla="*/ 47 w 47"/>
                <a:gd name="T27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" h="40">
                  <a:moveTo>
                    <a:pt x="47" y="35"/>
                  </a:moveTo>
                  <a:lnTo>
                    <a:pt x="47" y="35"/>
                  </a:lnTo>
                  <a:lnTo>
                    <a:pt x="42" y="40"/>
                  </a:lnTo>
                  <a:lnTo>
                    <a:pt x="33" y="35"/>
                  </a:lnTo>
                  <a:lnTo>
                    <a:pt x="21" y="26"/>
                  </a:lnTo>
                  <a:lnTo>
                    <a:pt x="11" y="16"/>
                  </a:lnTo>
                  <a:lnTo>
                    <a:pt x="2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14" y="4"/>
                  </a:lnTo>
                  <a:lnTo>
                    <a:pt x="21" y="12"/>
                  </a:lnTo>
                  <a:lnTo>
                    <a:pt x="26" y="16"/>
                  </a:lnTo>
                  <a:lnTo>
                    <a:pt x="40" y="26"/>
                  </a:lnTo>
                  <a:lnTo>
                    <a:pt x="47" y="3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58" name="Freeform 230">
              <a:extLst>
                <a:ext uri="{FF2B5EF4-FFF2-40B4-BE49-F238E27FC236}">
                  <a16:creationId xmlns:a16="http://schemas.microsoft.com/office/drawing/2014/main" id="{9F4416E5-16FA-EC70-879E-DB4844ADC5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4083" y="2909703"/>
              <a:ext cx="78612" cy="77590"/>
            </a:xfrm>
            <a:custGeom>
              <a:avLst/>
              <a:gdLst>
                <a:gd name="T0" fmla="*/ 71 w 73"/>
                <a:gd name="T1" fmla="*/ 7 h 71"/>
                <a:gd name="T2" fmla="*/ 71 w 73"/>
                <a:gd name="T3" fmla="*/ 7 h 71"/>
                <a:gd name="T4" fmla="*/ 73 w 73"/>
                <a:gd name="T5" fmla="*/ 11 h 71"/>
                <a:gd name="T6" fmla="*/ 71 w 73"/>
                <a:gd name="T7" fmla="*/ 18 h 71"/>
                <a:gd name="T8" fmla="*/ 68 w 73"/>
                <a:gd name="T9" fmla="*/ 23 h 71"/>
                <a:gd name="T10" fmla="*/ 68 w 73"/>
                <a:gd name="T11" fmla="*/ 30 h 71"/>
                <a:gd name="T12" fmla="*/ 68 w 73"/>
                <a:gd name="T13" fmla="*/ 35 h 71"/>
                <a:gd name="T14" fmla="*/ 68 w 73"/>
                <a:gd name="T15" fmla="*/ 42 h 71"/>
                <a:gd name="T16" fmla="*/ 66 w 73"/>
                <a:gd name="T17" fmla="*/ 45 h 71"/>
                <a:gd name="T18" fmla="*/ 64 w 73"/>
                <a:gd name="T19" fmla="*/ 52 h 71"/>
                <a:gd name="T20" fmla="*/ 66 w 73"/>
                <a:gd name="T21" fmla="*/ 56 h 71"/>
                <a:gd name="T22" fmla="*/ 61 w 73"/>
                <a:gd name="T23" fmla="*/ 61 h 71"/>
                <a:gd name="T24" fmla="*/ 64 w 73"/>
                <a:gd name="T25" fmla="*/ 66 h 71"/>
                <a:gd name="T26" fmla="*/ 66 w 73"/>
                <a:gd name="T27" fmla="*/ 68 h 71"/>
                <a:gd name="T28" fmla="*/ 61 w 73"/>
                <a:gd name="T29" fmla="*/ 71 h 71"/>
                <a:gd name="T30" fmla="*/ 57 w 73"/>
                <a:gd name="T31" fmla="*/ 68 h 71"/>
                <a:gd name="T32" fmla="*/ 54 w 73"/>
                <a:gd name="T33" fmla="*/ 66 h 71"/>
                <a:gd name="T34" fmla="*/ 50 w 73"/>
                <a:gd name="T35" fmla="*/ 66 h 71"/>
                <a:gd name="T36" fmla="*/ 45 w 73"/>
                <a:gd name="T37" fmla="*/ 68 h 71"/>
                <a:gd name="T38" fmla="*/ 35 w 73"/>
                <a:gd name="T39" fmla="*/ 63 h 71"/>
                <a:gd name="T40" fmla="*/ 33 w 73"/>
                <a:gd name="T41" fmla="*/ 66 h 71"/>
                <a:gd name="T42" fmla="*/ 26 w 73"/>
                <a:gd name="T43" fmla="*/ 59 h 71"/>
                <a:gd name="T44" fmla="*/ 19 w 73"/>
                <a:gd name="T45" fmla="*/ 52 h 71"/>
                <a:gd name="T46" fmla="*/ 16 w 73"/>
                <a:gd name="T47" fmla="*/ 47 h 71"/>
                <a:gd name="T48" fmla="*/ 9 w 73"/>
                <a:gd name="T49" fmla="*/ 42 h 71"/>
                <a:gd name="T50" fmla="*/ 0 w 73"/>
                <a:gd name="T51" fmla="*/ 35 h 71"/>
                <a:gd name="T52" fmla="*/ 2 w 73"/>
                <a:gd name="T53" fmla="*/ 33 h 71"/>
                <a:gd name="T54" fmla="*/ 5 w 73"/>
                <a:gd name="T55" fmla="*/ 35 h 71"/>
                <a:gd name="T56" fmla="*/ 7 w 73"/>
                <a:gd name="T57" fmla="*/ 33 h 71"/>
                <a:gd name="T58" fmla="*/ 12 w 73"/>
                <a:gd name="T59" fmla="*/ 33 h 71"/>
                <a:gd name="T60" fmla="*/ 14 w 73"/>
                <a:gd name="T61" fmla="*/ 30 h 71"/>
                <a:gd name="T62" fmla="*/ 16 w 73"/>
                <a:gd name="T63" fmla="*/ 30 h 71"/>
                <a:gd name="T64" fmla="*/ 16 w 73"/>
                <a:gd name="T65" fmla="*/ 21 h 71"/>
                <a:gd name="T66" fmla="*/ 19 w 73"/>
                <a:gd name="T67" fmla="*/ 21 h 71"/>
                <a:gd name="T68" fmla="*/ 24 w 73"/>
                <a:gd name="T69" fmla="*/ 21 h 71"/>
                <a:gd name="T70" fmla="*/ 26 w 73"/>
                <a:gd name="T71" fmla="*/ 16 h 71"/>
                <a:gd name="T72" fmla="*/ 31 w 73"/>
                <a:gd name="T73" fmla="*/ 21 h 71"/>
                <a:gd name="T74" fmla="*/ 33 w 73"/>
                <a:gd name="T75" fmla="*/ 18 h 71"/>
                <a:gd name="T76" fmla="*/ 35 w 73"/>
                <a:gd name="T77" fmla="*/ 16 h 71"/>
                <a:gd name="T78" fmla="*/ 42 w 73"/>
                <a:gd name="T79" fmla="*/ 11 h 71"/>
                <a:gd name="T80" fmla="*/ 42 w 73"/>
                <a:gd name="T81" fmla="*/ 9 h 71"/>
                <a:gd name="T82" fmla="*/ 42 w 73"/>
                <a:gd name="T83" fmla="*/ 9 h 71"/>
                <a:gd name="T84" fmla="*/ 45 w 73"/>
                <a:gd name="T85" fmla="*/ 4 h 71"/>
                <a:gd name="T86" fmla="*/ 47 w 73"/>
                <a:gd name="T87" fmla="*/ 4 h 71"/>
                <a:gd name="T88" fmla="*/ 50 w 73"/>
                <a:gd name="T89" fmla="*/ 7 h 71"/>
                <a:gd name="T90" fmla="*/ 54 w 73"/>
                <a:gd name="T91" fmla="*/ 7 h 71"/>
                <a:gd name="T92" fmla="*/ 57 w 73"/>
                <a:gd name="T93" fmla="*/ 4 h 71"/>
                <a:gd name="T94" fmla="*/ 59 w 73"/>
                <a:gd name="T95" fmla="*/ 4 h 71"/>
                <a:gd name="T96" fmla="*/ 66 w 73"/>
                <a:gd name="T97" fmla="*/ 2 h 71"/>
                <a:gd name="T98" fmla="*/ 68 w 73"/>
                <a:gd name="T99" fmla="*/ 0 h 71"/>
                <a:gd name="T100" fmla="*/ 73 w 73"/>
                <a:gd name="T101" fmla="*/ 0 h 71"/>
                <a:gd name="T102" fmla="*/ 73 w 73"/>
                <a:gd name="T103" fmla="*/ 2 h 71"/>
                <a:gd name="T104" fmla="*/ 71 w 73"/>
                <a:gd name="T105" fmla="*/ 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3" h="71">
                  <a:moveTo>
                    <a:pt x="71" y="7"/>
                  </a:moveTo>
                  <a:lnTo>
                    <a:pt x="71" y="7"/>
                  </a:lnTo>
                  <a:lnTo>
                    <a:pt x="73" y="11"/>
                  </a:lnTo>
                  <a:lnTo>
                    <a:pt x="71" y="18"/>
                  </a:lnTo>
                  <a:lnTo>
                    <a:pt x="68" y="23"/>
                  </a:lnTo>
                  <a:lnTo>
                    <a:pt x="68" y="30"/>
                  </a:lnTo>
                  <a:lnTo>
                    <a:pt x="68" y="35"/>
                  </a:lnTo>
                  <a:lnTo>
                    <a:pt x="68" y="42"/>
                  </a:lnTo>
                  <a:lnTo>
                    <a:pt x="66" y="45"/>
                  </a:lnTo>
                  <a:lnTo>
                    <a:pt x="64" y="52"/>
                  </a:lnTo>
                  <a:lnTo>
                    <a:pt x="66" y="56"/>
                  </a:lnTo>
                  <a:lnTo>
                    <a:pt x="61" y="61"/>
                  </a:lnTo>
                  <a:lnTo>
                    <a:pt x="64" y="66"/>
                  </a:lnTo>
                  <a:lnTo>
                    <a:pt x="66" y="68"/>
                  </a:lnTo>
                  <a:lnTo>
                    <a:pt x="61" y="71"/>
                  </a:lnTo>
                  <a:lnTo>
                    <a:pt x="57" y="68"/>
                  </a:lnTo>
                  <a:lnTo>
                    <a:pt x="54" y="66"/>
                  </a:lnTo>
                  <a:lnTo>
                    <a:pt x="50" y="66"/>
                  </a:lnTo>
                  <a:lnTo>
                    <a:pt x="45" y="68"/>
                  </a:lnTo>
                  <a:lnTo>
                    <a:pt x="35" y="63"/>
                  </a:lnTo>
                  <a:lnTo>
                    <a:pt x="33" y="66"/>
                  </a:lnTo>
                  <a:lnTo>
                    <a:pt x="26" y="59"/>
                  </a:lnTo>
                  <a:lnTo>
                    <a:pt x="19" y="52"/>
                  </a:lnTo>
                  <a:lnTo>
                    <a:pt x="16" y="47"/>
                  </a:lnTo>
                  <a:lnTo>
                    <a:pt x="9" y="42"/>
                  </a:lnTo>
                  <a:lnTo>
                    <a:pt x="0" y="35"/>
                  </a:lnTo>
                  <a:lnTo>
                    <a:pt x="2" y="33"/>
                  </a:lnTo>
                  <a:lnTo>
                    <a:pt x="5" y="35"/>
                  </a:lnTo>
                  <a:lnTo>
                    <a:pt x="7" y="33"/>
                  </a:lnTo>
                  <a:lnTo>
                    <a:pt x="12" y="33"/>
                  </a:lnTo>
                  <a:lnTo>
                    <a:pt x="14" y="30"/>
                  </a:lnTo>
                  <a:lnTo>
                    <a:pt x="16" y="30"/>
                  </a:lnTo>
                  <a:lnTo>
                    <a:pt x="16" y="21"/>
                  </a:lnTo>
                  <a:lnTo>
                    <a:pt x="19" y="21"/>
                  </a:lnTo>
                  <a:lnTo>
                    <a:pt x="24" y="21"/>
                  </a:lnTo>
                  <a:lnTo>
                    <a:pt x="26" y="16"/>
                  </a:lnTo>
                  <a:lnTo>
                    <a:pt x="31" y="21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2" y="11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5" y="4"/>
                  </a:lnTo>
                  <a:lnTo>
                    <a:pt x="47" y="4"/>
                  </a:lnTo>
                  <a:lnTo>
                    <a:pt x="50" y="7"/>
                  </a:lnTo>
                  <a:lnTo>
                    <a:pt x="54" y="7"/>
                  </a:lnTo>
                  <a:lnTo>
                    <a:pt x="57" y="4"/>
                  </a:lnTo>
                  <a:lnTo>
                    <a:pt x="59" y="4"/>
                  </a:lnTo>
                  <a:lnTo>
                    <a:pt x="66" y="2"/>
                  </a:lnTo>
                  <a:lnTo>
                    <a:pt x="68" y="0"/>
                  </a:lnTo>
                  <a:lnTo>
                    <a:pt x="73" y="0"/>
                  </a:lnTo>
                  <a:lnTo>
                    <a:pt x="73" y="2"/>
                  </a:lnTo>
                  <a:lnTo>
                    <a:pt x="71" y="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59" name="Freeform 234">
              <a:extLst>
                <a:ext uri="{FF2B5EF4-FFF2-40B4-BE49-F238E27FC236}">
                  <a16:creationId xmlns:a16="http://schemas.microsoft.com/office/drawing/2014/main" id="{D99FFFB7-4E99-FAB8-B4CA-5222F7403CE0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1518" y="1372646"/>
              <a:ext cx="458740" cy="548596"/>
            </a:xfrm>
            <a:custGeom>
              <a:avLst/>
              <a:gdLst>
                <a:gd name="T0" fmla="*/ 374 w 426"/>
                <a:gd name="T1" fmla="*/ 0 h 502"/>
                <a:gd name="T2" fmla="*/ 374 w 426"/>
                <a:gd name="T3" fmla="*/ 0 h 502"/>
                <a:gd name="T4" fmla="*/ 426 w 426"/>
                <a:gd name="T5" fmla="*/ 35 h 502"/>
                <a:gd name="T6" fmla="*/ 404 w 426"/>
                <a:gd name="T7" fmla="*/ 47 h 502"/>
                <a:gd name="T8" fmla="*/ 421 w 426"/>
                <a:gd name="T9" fmla="*/ 78 h 502"/>
                <a:gd name="T10" fmla="*/ 395 w 426"/>
                <a:gd name="T11" fmla="*/ 97 h 502"/>
                <a:gd name="T12" fmla="*/ 381 w 426"/>
                <a:gd name="T13" fmla="*/ 99 h 502"/>
                <a:gd name="T14" fmla="*/ 388 w 426"/>
                <a:gd name="T15" fmla="*/ 68 h 502"/>
                <a:gd name="T16" fmla="*/ 366 w 426"/>
                <a:gd name="T17" fmla="*/ 50 h 502"/>
                <a:gd name="T18" fmla="*/ 343 w 426"/>
                <a:gd name="T19" fmla="*/ 64 h 502"/>
                <a:gd name="T20" fmla="*/ 333 w 426"/>
                <a:gd name="T21" fmla="*/ 99 h 502"/>
                <a:gd name="T22" fmla="*/ 319 w 426"/>
                <a:gd name="T23" fmla="*/ 118 h 502"/>
                <a:gd name="T24" fmla="*/ 303 w 426"/>
                <a:gd name="T25" fmla="*/ 106 h 502"/>
                <a:gd name="T26" fmla="*/ 279 w 426"/>
                <a:gd name="T27" fmla="*/ 109 h 502"/>
                <a:gd name="T28" fmla="*/ 262 w 426"/>
                <a:gd name="T29" fmla="*/ 85 h 502"/>
                <a:gd name="T30" fmla="*/ 253 w 426"/>
                <a:gd name="T31" fmla="*/ 99 h 502"/>
                <a:gd name="T32" fmla="*/ 243 w 426"/>
                <a:gd name="T33" fmla="*/ 99 h 502"/>
                <a:gd name="T34" fmla="*/ 241 w 426"/>
                <a:gd name="T35" fmla="*/ 128 h 502"/>
                <a:gd name="T36" fmla="*/ 210 w 426"/>
                <a:gd name="T37" fmla="*/ 121 h 502"/>
                <a:gd name="T38" fmla="*/ 206 w 426"/>
                <a:gd name="T39" fmla="*/ 147 h 502"/>
                <a:gd name="T40" fmla="*/ 189 w 426"/>
                <a:gd name="T41" fmla="*/ 144 h 502"/>
                <a:gd name="T42" fmla="*/ 180 w 426"/>
                <a:gd name="T43" fmla="*/ 175 h 502"/>
                <a:gd name="T44" fmla="*/ 163 w 426"/>
                <a:gd name="T45" fmla="*/ 222 h 502"/>
                <a:gd name="T46" fmla="*/ 137 w 426"/>
                <a:gd name="T47" fmla="*/ 274 h 502"/>
                <a:gd name="T48" fmla="*/ 144 w 426"/>
                <a:gd name="T49" fmla="*/ 289 h 502"/>
                <a:gd name="T50" fmla="*/ 137 w 426"/>
                <a:gd name="T51" fmla="*/ 303 h 502"/>
                <a:gd name="T52" fmla="*/ 123 w 426"/>
                <a:gd name="T53" fmla="*/ 303 h 502"/>
                <a:gd name="T54" fmla="*/ 111 w 426"/>
                <a:gd name="T55" fmla="*/ 336 h 502"/>
                <a:gd name="T56" fmla="*/ 113 w 426"/>
                <a:gd name="T57" fmla="*/ 383 h 502"/>
                <a:gd name="T58" fmla="*/ 123 w 426"/>
                <a:gd name="T59" fmla="*/ 400 h 502"/>
                <a:gd name="T60" fmla="*/ 118 w 426"/>
                <a:gd name="T61" fmla="*/ 438 h 502"/>
                <a:gd name="T62" fmla="*/ 104 w 426"/>
                <a:gd name="T63" fmla="*/ 461 h 502"/>
                <a:gd name="T64" fmla="*/ 97 w 426"/>
                <a:gd name="T65" fmla="*/ 478 h 502"/>
                <a:gd name="T66" fmla="*/ 85 w 426"/>
                <a:gd name="T67" fmla="*/ 459 h 502"/>
                <a:gd name="T68" fmla="*/ 54 w 426"/>
                <a:gd name="T69" fmla="*/ 495 h 502"/>
                <a:gd name="T70" fmla="*/ 33 w 426"/>
                <a:gd name="T71" fmla="*/ 502 h 502"/>
                <a:gd name="T72" fmla="*/ 9 w 426"/>
                <a:gd name="T73" fmla="*/ 487 h 502"/>
                <a:gd name="T74" fmla="*/ 5 w 426"/>
                <a:gd name="T75" fmla="*/ 452 h 502"/>
                <a:gd name="T76" fmla="*/ 0 w 426"/>
                <a:gd name="T77" fmla="*/ 379 h 502"/>
                <a:gd name="T78" fmla="*/ 14 w 426"/>
                <a:gd name="T79" fmla="*/ 355 h 502"/>
                <a:gd name="T80" fmla="*/ 57 w 426"/>
                <a:gd name="T81" fmla="*/ 324 h 502"/>
                <a:gd name="T82" fmla="*/ 90 w 426"/>
                <a:gd name="T83" fmla="*/ 286 h 502"/>
                <a:gd name="T84" fmla="*/ 118 w 426"/>
                <a:gd name="T85" fmla="*/ 234 h 502"/>
                <a:gd name="T86" fmla="*/ 158 w 426"/>
                <a:gd name="T87" fmla="*/ 154 h 502"/>
                <a:gd name="T88" fmla="*/ 184 w 426"/>
                <a:gd name="T89" fmla="*/ 121 h 502"/>
                <a:gd name="T90" fmla="*/ 229 w 426"/>
                <a:gd name="T91" fmla="*/ 66 h 502"/>
                <a:gd name="T92" fmla="*/ 265 w 426"/>
                <a:gd name="T93" fmla="*/ 45 h 502"/>
                <a:gd name="T94" fmla="*/ 291 w 426"/>
                <a:gd name="T95" fmla="*/ 47 h 502"/>
                <a:gd name="T96" fmla="*/ 314 w 426"/>
                <a:gd name="T97" fmla="*/ 7 h 502"/>
                <a:gd name="T98" fmla="*/ 345 w 426"/>
                <a:gd name="T99" fmla="*/ 9 h 502"/>
                <a:gd name="T100" fmla="*/ 374 w 426"/>
                <a:gd name="T101" fmla="*/ 0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26" h="502">
                  <a:moveTo>
                    <a:pt x="374" y="0"/>
                  </a:moveTo>
                  <a:lnTo>
                    <a:pt x="374" y="0"/>
                  </a:lnTo>
                  <a:lnTo>
                    <a:pt x="426" y="35"/>
                  </a:lnTo>
                  <a:lnTo>
                    <a:pt x="404" y="47"/>
                  </a:lnTo>
                  <a:lnTo>
                    <a:pt x="421" y="78"/>
                  </a:lnTo>
                  <a:lnTo>
                    <a:pt x="395" y="97"/>
                  </a:lnTo>
                  <a:lnTo>
                    <a:pt x="381" y="99"/>
                  </a:lnTo>
                  <a:lnTo>
                    <a:pt x="388" y="68"/>
                  </a:lnTo>
                  <a:lnTo>
                    <a:pt x="366" y="50"/>
                  </a:lnTo>
                  <a:lnTo>
                    <a:pt x="343" y="64"/>
                  </a:lnTo>
                  <a:lnTo>
                    <a:pt x="333" y="99"/>
                  </a:lnTo>
                  <a:lnTo>
                    <a:pt x="319" y="118"/>
                  </a:lnTo>
                  <a:lnTo>
                    <a:pt x="303" y="106"/>
                  </a:lnTo>
                  <a:lnTo>
                    <a:pt x="279" y="109"/>
                  </a:lnTo>
                  <a:lnTo>
                    <a:pt x="262" y="85"/>
                  </a:lnTo>
                  <a:lnTo>
                    <a:pt x="253" y="99"/>
                  </a:lnTo>
                  <a:lnTo>
                    <a:pt x="243" y="99"/>
                  </a:lnTo>
                  <a:lnTo>
                    <a:pt x="241" y="128"/>
                  </a:lnTo>
                  <a:lnTo>
                    <a:pt x="210" y="121"/>
                  </a:lnTo>
                  <a:lnTo>
                    <a:pt x="206" y="147"/>
                  </a:lnTo>
                  <a:lnTo>
                    <a:pt x="189" y="144"/>
                  </a:lnTo>
                  <a:lnTo>
                    <a:pt x="180" y="175"/>
                  </a:lnTo>
                  <a:lnTo>
                    <a:pt x="163" y="222"/>
                  </a:lnTo>
                  <a:lnTo>
                    <a:pt x="137" y="274"/>
                  </a:lnTo>
                  <a:lnTo>
                    <a:pt x="144" y="289"/>
                  </a:lnTo>
                  <a:lnTo>
                    <a:pt x="137" y="303"/>
                  </a:lnTo>
                  <a:lnTo>
                    <a:pt x="123" y="303"/>
                  </a:lnTo>
                  <a:lnTo>
                    <a:pt x="111" y="336"/>
                  </a:lnTo>
                  <a:lnTo>
                    <a:pt x="113" y="383"/>
                  </a:lnTo>
                  <a:lnTo>
                    <a:pt x="123" y="400"/>
                  </a:lnTo>
                  <a:lnTo>
                    <a:pt x="118" y="438"/>
                  </a:lnTo>
                  <a:lnTo>
                    <a:pt x="104" y="461"/>
                  </a:lnTo>
                  <a:lnTo>
                    <a:pt x="97" y="478"/>
                  </a:lnTo>
                  <a:lnTo>
                    <a:pt x="85" y="459"/>
                  </a:lnTo>
                  <a:lnTo>
                    <a:pt x="54" y="495"/>
                  </a:lnTo>
                  <a:lnTo>
                    <a:pt x="33" y="502"/>
                  </a:lnTo>
                  <a:lnTo>
                    <a:pt x="9" y="487"/>
                  </a:lnTo>
                  <a:lnTo>
                    <a:pt x="5" y="452"/>
                  </a:lnTo>
                  <a:lnTo>
                    <a:pt x="0" y="379"/>
                  </a:lnTo>
                  <a:lnTo>
                    <a:pt x="14" y="355"/>
                  </a:lnTo>
                  <a:lnTo>
                    <a:pt x="57" y="324"/>
                  </a:lnTo>
                  <a:lnTo>
                    <a:pt x="90" y="286"/>
                  </a:lnTo>
                  <a:lnTo>
                    <a:pt x="118" y="234"/>
                  </a:lnTo>
                  <a:lnTo>
                    <a:pt x="158" y="154"/>
                  </a:lnTo>
                  <a:lnTo>
                    <a:pt x="184" y="121"/>
                  </a:lnTo>
                  <a:lnTo>
                    <a:pt x="229" y="66"/>
                  </a:lnTo>
                  <a:lnTo>
                    <a:pt x="265" y="45"/>
                  </a:lnTo>
                  <a:lnTo>
                    <a:pt x="291" y="47"/>
                  </a:lnTo>
                  <a:lnTo>
                    <a:pt x="314" y="7"/>
                  </a:lnTo>
                  <a:lnTo>
                    <a:pt x="345" y="9"/>
                  </a:lnTo>
                  <a:lnTo>
                    <a:pt x="37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60" name="Freeform 238">
              <a:extLst>
                <a:ext uri="{FF2B5EF4-FFF2-40B4-BE49-F238E27FC236}">
                  <a16:creationId xmlns:a16="http://schemas.microsoft.com/office/drawing/2014/main" id="{55122B92-6EBC-9AAD-2882-0A224DF775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56418" y="3822208"/>
              <a:ext cx="207834" cy="281948"/>
            </a:xfrm>
            <a:custGeom>
              <a:avLst/>
              <a:gdLst>
                <a:gd name="T0" fmla="*/ 106 w 193"/>
                <a:gd name="T1" fmla="*/ 133 h 258"/>
                <a:gd name="T2" fmla="*/ 120 w 193"/>
                <a:gd name="T3" fmla="*/ 133 h 258"/>
                <a:gd name="T4" fmla="*/ 125 w 193"/>
                <a:gd name="T5" fmla="*/ 149 h 258"/>
                <a:gd name="T6" fmla="*/ 108 w 193"/>
                <a:gd name="T7" fmla="*/ 175 h 258"/>
                <a:gd name="T8" fmla="*/ 106 w 193"/>
                <a:gd name="T9" fmla="*/ 194 h 258"/>
                <a:gd name="T10" fmla="*/ 80 w 193"/>
                <a:gd name="T11" fmla="*/ 204 h 258"/>
                <a:gd name="T12" fmla="*/ 66 w 193"/>
                <a:gd name="T13" fmla="*/ 242 h 258"/>
                <a:gd name="T14" fmla="*/ 44 w 193"/>
                <a:gd name="T15" fmla="*/ 258 h 258"/>
                <a:gd name="T16" fmla="*/ 21 w 193"/>
                <a:gd name="T17" fmla="*/ 251 h 258"/>
                <a:gd name="T18" fmla="*/ 0 w 193"/>
                <a:gd name="T19" fmla="*/ 239 h 258"/>
                <a:gd name="T20" fmla="*/ 28 w 193"/>
                <a:gd name="T21" fmla="*/ 201 h 258"/>
                <a:gd name="T22" fmla="*/ 52 w 193"/>
                <a:gd name="T23" fmla="*/ 189 h 258"/>
                <a:gd name="T24" fmla="*/ 75 w 193"/>
                <a:gd name="T25" fmla="*/ 166 h 258"/>
                <a:gd name="T26" fmla="*/ 89 w 193"/>
                <a:gd name="T27" fmla="*/ 144 h 258"/>
                <a:gd name="T28" fmla="*/ 101 w 193"/>
                <a:gd name="T29" fmla="*/ 123 h 258"/>
                <a:gd name="T30" fmla="*/ 132 w 193"/>
                <a:gd name="T31" fmla="*/ 33 h 258"/>
                <a:gd name="T32" fmla="*/ 144 w 193"/>
                <a:gd name="T33" fmla="*/ 55 h 258"/>
                <a:gd name="T34" fmla="*/ 151 w 193"/>
                <a:gd name="T35" fmla="*/ 45 h 258"/>
                <a:gd name="T36" fmla="*/ 167 w 193"/>
                <a:gd name="T37" fmla="*/ 69 h 258"/>
                <a:gd name="T38" fmla="*/ 186 w 193"/>
                <a:gd name="T39" fmla="*/ 62 h 258"/>
                <a:gd name="T40" fmla="*/ 191 w 193"/>
                <a:gd name="T41" fmla="*/ 83 h 258"/>
                <a:gd name="T42" fmla="*/ 172 w 193"/>
                <a:gd name="T43" fmla="*/ 95 h 258"/>
                <a:gd name="T44" fmla="*/ 170 w 193"/>
                <a:gd name="T45" fmla="*/ 109 h 258"/>
                <a:gd name="T46" fmla="*/ 163 w 193"/>
                <a:gd name="T47" fmla="*/ 126 h 258"/>
                <a:gd name="T48" fmla="*/ 141 w 193"/>
                <a:gd name="T49" fmla="*/ 147 h 258"/>
                <a:gd name="T50" fmla="*/ 132 w 193"/>
                <a:gd name="T51" fmla="*/ 140 h 258"/>
                <a:gd name="T52" fmla="*/ 137 w 193"/>
                <a:gd name="T53" fmla="*/ 109 h 258"/>
                <a:gd name="T54" fmla="*/ 120 w 193"/>
                <a:gd name="T55" fmla="*/ 95 h 258"/>
                <a:gd name="T56" fmla="*/ 134 w 193"/>
                <a:gd name="T57" fmla="*/ 71 h 258"/>
                <a:gd name="T58" fmla="*/ 125 w 193"/>
                <a:gd name="T59" fmla="*/ 45 h 258"/>
                <a:gd name="T60" fmla="*/ 120 w 193"/>
                <a:gd name="T61" fmla="*/ 33 h 258"/>
                <a:gd name="T62" fmla="*/ 99 w 193"/>
                <a:gd name="T63" fmla="*/ 0 h 258"/>
                <a:gd name="T64" fmla="*/ 113 w 193"/>
                <a:gd name="T65" fmla="*/ 12 h 258"/>
                <a:gd name="T66" fmla="*/ 132 w 193"/>
                <a:gd name="T67" fmla="*/ 33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3" h="258">
                  <a:moveTo>
                    <a:pt x="106" y="133"/>
                  </a:moveTo>
                  <a:lnTo>
                    <a:pt x="106" y="133"/>
                  </a:lnTo>
                  <a:lnTo>
                    <a:pt x="108" y="140"/>
                  </a:lnTo>
                  <a:lnTo>
                    <a:pt x="120" y="133"/>
                  </a:lnTo>
                  <a:lnTo>
                    <a:pt x="125" y="140"/>
                  </a:lnTo>
                  <a:lnTo>
                    <a:pt x="125" y="149"/>
                  </a:lnTo>
                  <a:lnTo>
                    <a:pt x="120" y="159"/>
                  </a:lnTo>
                  <a:lnTo>
                    <a:pt x="108" y="175"/>
                  </a:lnTo>
                  <a:lnTo>
                    <a:pt x="101" y="185"/>
                  </a:lnTo>
                  <a:lnTo>
                    <a:pt x="106" y="194"/>
                  </a:lnTo>
                  <a:lnTo>
                    <a:pt x="94" y="194"/>
                  </a:lnTo>
                  <a:lnTo>
                    <a:pt x="80" y="204"/>
                  </a:lnTo>
                  <a:lnTo>
                    <a:pt x="75" y="218"/>
                  </a:lnTo>
                  <a:lnTo>
                    <a:pt x="66" y="242"/>
                  </a:lnTo>
                  <a:lnTo>
                    <a:pt x="54" y="253"/>
                  </a:lnTo>
                  <a:lnTo>
                    <a:pt x="44" y="258"/>
                  </a:lnTo>
                  <a:lnTo>
                    <a:pt x="30" y="258"/>
                  </a:lnTo>
                  <a:lnTo>
                    <a:pt x="21" y="251"/>
                  </a:lnTo>
                  <a:lnTo>
                    <a:pt x="2" y="249"/>
                  </a:lnTo>
                  <a:lnTo>
                    <a:pt x="0" y="239"/>
                  </a:lnTo>
                  <a:lnTo>
                    <a:pt x="9" y="223"/>
                  </a:lnTo>
                  <a:lnTo>
                    <a:pt x="28" y="201"/>
                  </a:lnTo>
                  <a:lnTo>
                    <a:pt x="40" y="197"/>
                  </a:lnTo>
                  <a:lnTo>
                    <a:pt x="52" y="189"/>
                  </a:lnTo>
                  <a:lnTo>
                    <a:pt x="66" y="175"/>
                  </a:lnTo>
                  <a:lnTo>
                    <a:pt x="75" y="166"/>
                  </a:lnTo>
                  <a:lnTo>
                    <a:pt x="82" y="149"/>
                  </a:lnTo>
                  <a:lnTo>
                    <a:pt x="89" y="144"/>
                  </a:lnTo>
                  <a:lnTo>
                    <a:pt x="92" y="133"/>
                  </a:lnTo>
                  <a:lnTo>
                    <a:pt x="101" y="123"/>
                  </a:lnTo>
                  <a:lnTo>
                    <a:pt x="106" y="133"/>
                  </a:lnTo>
                  <a:close/>
                  <a:moveTo>
                    <a:pt x="132" y="33"/>
                  </a:moveTo>
                  <a:lnTo>
                    <a:pt x="132" y="33"/>
                  </a:lnTo>
                  <a:lnTo>
                    <a:pt x="144" y="55"/>
                  </a:lnTo>
                  <a:lnTo>
                    <a:pt x="144" y="40"/>
                  </a:lnTo>
                  <a:lnTo>
                    <a:pt x="151" y="45"/>
                  </a:lnTo>
                  <a:lnTo>
                    <a:pt x="153" y="62"/>
                  </a:lnTo>
                  <a:lnTo>
                    <a:pt x="167" y="69"/>
                  </a:lnTo>
                  <a:lnTo>
                    <a:pt x="177" y="71"/>
                  </a:lnTo>
                  <a:lnTo>
                    <a:pt x="186" y="62"/>
                  </a:lnTo>
                  <a:lnTo>
                    <a:pt x="193" y="64"/>
                  </a:lnTo>
                  <a:lnTo>
                    <a:pt x="191" y="83"/>
                  </a:lnTo>
                  <a:lnTo>
                    <a:pt x="186" y="95"/>
                  </a:lnTo>
                  <a:lnTo>
                    <a:pt x="172" y="95"/>
                  </a:lnTo>
                  <a:lnTo>
                    <a:pt x="170" y="99"/>
                  </a:lnTo>
                  <a:lnTo>
                    <a:pt x="170" y="109"/>
                  </a:lnTo>
                  <a:lnTo>
                    <a:pt x="167" y="114"/>
                  </a:lnTo>
                  <a:lnTo>
                    <a:pt x="163" y="126"/>
                  </a:lnTo>
                  <a:lnTo>
                    <a:pt x="153" y="140"/>
                  </a:lnTo>
                  <a:lnTo>
                    <a:pt x="141" y="147"/>
                  </a:lnTo>
                  <a:lnTo>
                    <a:pt x="139" y="142"/>
                  </a:lnTo>
                  <a:lnTo>
                    <a:pt x="132" y="140"/>
                  </a:lnTo>
                  <a:lnTo>
                    <a:pt x="141" y="121"/>
                  </a:lnTo>
                  <a:lnTo>
                    <a:pt x="137" y="109"/>
                  </a:lnTo>
                  <a:lnTo>
                    <a:pt x="118" y="102"/>
                  </a:lnTo>
                  <a:lnTo>
                    <a:pt x="120" y="95"/>
                  </a:lnTo>
                  <a:lnTo>
                    <a:pt x="130" y="88"/>
                  </a:lnTo>
                  <a:lnTo>
                    <a:pt x="134" y="71"/>
                  </a:lnTo>
                  <a:lnTo>
                    <a:pt x="132" y="57"/>
                  </a:lnTo>
                  <a:lnTo>
                    <a:pt x="125" y="45"/>
                  </a:lnTo>
                  <a:lnTo>
                    <a:pt x="127" y="40"/>
                  </a:lnTo>
                  <a:lnTo>
                    <a:pt x="120" y="33"/>
                  </a:lnTo>
                  <a:lnTo>
                    <a:pt x="106" y="14"/>
                  </a:lnTo>
                  <a:lnTo>
                    <a:pt x="99" y="0"/>
                  </a:lnTo>
                  <a:lnTo>
                    <a:pt x="106" y="0"/>
                  </a:lnTo>
                  <a:lnTo>
                    <a:pt x="113" y="12"/>
                  </a:lnTo>
                  <a:lnTo>
                    <a:pt x="127" y="17"/>
                  </a:lnTo>
                  <a:lnTo>
                    <a:pt x="132" y="33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61" name="Freeform 242">
              <a:extLst>
                <a:ext uri="{FF2B5EF4-FFF2-40B4-BE49-F238E27FC236}">
                  <a16:creationId xmlns:a16="http://schemas.microsoft.com/office/drawing/2014/main" id="{0A0DF7E7-A2CF-FEB6-03D0-A98422CCB2A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3917" y="2472573"/>
              <a:ext cx="296135" cy="273206"/>
            </a:xfrm>
            <a:custGeom>
              <a:avLst/>
              <a:gdLst>
                <a:gd name="T0" fmla="*/ 275 w 275"/>
                <a:gd name="T1" fmla="*/ 33 h 250"/>
                <a:gd name="T2" fmla="*/ 242 w 275"/>
                <a:gd name="T3" fmla="*/ 52 h 250"/>
                <a:gd name="T4" fmla="*/ 209 w 275"/>
                <a:gd name="T5" fmla="*/ 56 h 250"/>
                <a:gd name="T6" fmla="*/ 220 w 275"/>
                <a:gd name="T7" fmla="*/ 85 h 250"/>
                <a:gd name="T8" fmla="*/ 220 w 275"/>
                <a:gd name="T9" fmla="*/ 106 h 250"/>
                <a:gd name="T10" fmla="*/ 204 w 275"/>
                <a:gd name="T11" fmla="*/ 139 h 250"/>
                <a:gd name="T12" fmla="*/ 178 w 275"/>
                <a:gd name="T13" fmla="*/ 177 h 250"/>
                <a:gd name="T14" fmla="*/ 140 w 275"/>
                <a:gd name="T15" fmla="*/ 194 h 250"/>
                <a:gd name="T16" fmla="*/ 154 w 275"/>
                <a:gd name="T17" fmla="*/ 215 h 250"/>
                <a:gd name="T18" fmla="*/ 166 w 275"/>
                <a:gd name="T19" fmla="*/ 241 h 250"/>
                <a:gd name="T20" fmla="*/ 119 w 275"/>
                <a:gd name="T21" fmla="*/ 250 h 250"/>
                <a:gd name="T22" fmla="*/ 102 w 275"/>
                <a:gd name="T23" fmla="*/ 234 h 250"/>
                <a:gd name="T24" fmla="*/ 60 w 275"/>
                <a:gd name="T25" fmla="*/ 224 h 250"/>
                <a:gd name="T26" fmla="*/ 10 w 275"/>
                <a:gd name="T27" fmla="*/ 227 h 250"/>
                <a:gd name="T28" fmla="*/ 41 w 275"/>
                <a:gd name="T29" fmla="*/ 198 h 250"/>
                <a:gd name="T30" fmla="*/ 31 w 275"/>
                <a:gd name="T31" fmla="*/ 187 h 250"/>
                <a:gd name="T32" fmla="*/ 15 w 275"/>
                <a:gd name="T33" fmla="*/ 163 h 250"/>
                <a:gd name="T34" fmla="*/ 0 w 275"/>
                <a:gd name="T35" fmla="*/ 142 h 250"/>
                <a:gd name="T36" fmla="*/ 45 w 275"/>
                <a:gd name="T37" fmla="*/ 149 h 250"/>
                <a:gd name="T38" fmla="*/ 57 w 275"/>
                <a:gd name="T39" fmla="*/ 146 h 250"/>
                <a:gd name="T40" fmla="*/ 90 w 275"/>
                <a:gd name="T41" fmla="*/ 142 h 250"/>
                <a:gd name="T42" fmla="*/ 100 w 275"/>
                <a:gd name="T43" fmla="*/ 113 h 250"/>
                <a:gd name="T44" fmla="*/ 114 w 275"/>
                <a:gd name="T45" fmla="*/ 108 h 250"/>
                <a:gd name="T46" fmla="*/ 130 w 275"/>
                <a:gd name="T47" fmla="*/ 108 h 250"/>
                <a:gd name="T48" fmla="*/ 135 w 275"/>
                <a:gd name="T49" fmla="*/ 92 h 250"/>
                <a:gd name="T50" fmla="*/ 154 w 275"/>
                <a:gd name="T51" fmla="*/ 75 h 250"/>
                <a:gd name="T52" fmla="*/ 164 w 275"/>
                <a:gd name="T53" fmla="*/ 63 h 250"/>
                <a:gd name="T54" fmla="*/ 166 w 275"/>
                <a:gd name="T55" fmla="*/ 47 h 250"/>
                <a:gd name="T56" fmla="*/ 173 w 275"/>
                <a:gd name="T57" fmla="*/ 30 h 250"/>
                <a:gd name="T58" fmla="*/ 178 w 275"/>
                <a:gd name="T59" fmla="*/ 14 h 250"/>
                <a:gd name="T60" fmla="*/ 213 w 275"/>
                <a:gd name="T61" fmla="*/ 7 h 250"/>
                <a:gd name="T62" fmla="*/ 232 w 275"/>
                <a:gd name="T63" fmla="*/ 0 h 250"/>
                <a:gd name="T64" fmla="*/ 249 w 275"/>
                <a:gd name="T65" fmla="*/ 2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5" h="250">
                  <a:moveTo>
                    <a:pt x="275" y="33"/>
                  </a:moveTo>
                  <a:lnTo>
                    <a:pt x="275" y="33"/>
                  </a:lnTo>
                  <a:lnTo>
                    <a:pt x="261" y="49"/>
                  </a:lnTo>
                  <a:lnTo>
                    <a:pt x="242" y="52"/>
                  </a:lnTo>
                  <a:lnTo>
                    <a:pt x="216" y="47"/>
                  </a:lnTo>
                  <a:lnTo>
                    <a:pt x="209" y="56"/>
                  </a:lnTo>
                  <a:lnTo>
                    <a:pt x="216" y="73"/>
                  </a:lnTo>
                  <a:lnTo>
                    <a:pt x="220" y="85"/>
                  </a:lnTo>
                  <a:lnTo>
                    <a:pt x="235" y="97"/>
                  </a:lnTo>
                  <a:lnTo>
                    <a:pt x="220" y="106"/>
                  </a:lnTo>
                  <a:lnTo>
                    <a:pt x="220" y="120"/>
                  </a:lnTo>
                  <a:lnTo>
                    <a:pt x="204" y="139"/>
                  </a:lnTo>
                  <a:lnTo>
                    <a:pt x="194" y="158"/>
                  </a:lnTo>
                  <a:lnTo>
                    <a:pt x="178" y="177"/>
                  </a:lnTo>
                  <a:lnTo>
                    <a:pt x="159" y="175"/>
                  </a:lnTo>
                  <a:lnTo>
                    <a:pt x="140" y="194"/>
                  </a:lnTo>
                  <a:lnTo>
                    <a:pt x="152" y="203"/>
                  </a:lnTo>
                  <a:lnTo>
                    <a:pt x="154" y="215"/>
                  </a:lnTo>
                  <a:lnTo>
                    <a:pt x="161" y="224"/>
                  </a:lnTo>
                  <a:lnTo>
                    <a:pt x="166" y="241"/>
                  </a:lnTo>
                  <a:lnTo>
                    <a:pt x="130" y="241"/>
                  </a:lnTo>
                  <a:lnTo>
                    <a:pt x="119" y="250"/>
                  </a:lnTo>
                  <a:lnTo>
                    <a:pt x="107" y="248"/>
                  </a:lnTo>
                  <a:lnTo>
                    <a:pt x="102" y="234"/>
                  </a:lnTo>
                  <a:lnTo>
                    <a:pt x="90" y="222"/>
                  </a:lnTo>
                  <a:lnTo>
                    <a:pt x="60" y="224"/>
                  </a:lnTo>
                  <a:lnTo>
                    <a:pt x="34" y="224"/>
                  </a:lnTo>
                  <a:lnTo>
                    <a:pt x="10" y="227"/>
                  </a:lnTo>
                  <a:lnTo>
                    <a:pt x="17" y="205"/>
                  </a:lnTo>
                  <a:lnTo>
                    <a:pt x="41" y="198"/>
                  </a:lnTo>
                  <a:lnTo>
                    <a:pt x="38" y="189"/>
                  </a:lnTo>
                  <a:lnTo>
                    <a:pt x="31" y="187"/>
                  </a:lnTo>
                  <a:lnTo>
                    <a:pt x="31" y="170"/>
                  </a:lnTo>
                  <a:lnTo>
                    <a:pt x="15" y="163"/>
                  </a:lnTo>
                  <a:lnTo>
                    <a:pt x="7" y="151"/>
                  </a:lnTo>
                  <a:lnTo>
                    <a:pt x="0" y="142"/>
                  </a:lnTo>
                  <a:lnTo>
                    <a:pt x="29" y="151"/>
                  </a:lnTo>
                  <a:lnTo>
                    <a:pt x="45" y="149"/>
                  </a:lnTo>
                  <a:lnTo>
                    <a:pt x="55" y="151"/>
                  </a:lnTo>
                  <a:lnTo>
                    <a:pt x="57" y="146"/>
                  </a:lnTo>
                  <a:lnTo>
                    <a:pt x="69" y="149"/>
                  </a:lnTo>
                  <a:lnTo>
                    <a:pt x="90" y="142"/>
                  </a:lnTo>
                  <a:lnTo>
                    <a:pt x="90" y="125"/>
                  </a:lnTo>
                  <a:lnTo>
                    <a:pt x="100" y="113"/>
                  </a:lnTo>
                  <a:lnTo>
                    <a:pt x="112" y="113"/>
                  </a:lnTo>
                  <a:lnTo>
                    <a:pt x="114" y="108"/>
                  </a:lnTo>
                  <a:lnTo>
                    <a:pt x="126" y="106"/>
                  </a:lnTo>
                  <a:lnTo>
                    <a:pt x="130" y="108"/>
                  </a:lnTo>
                  <a:lnTo>
                    <a:pt x="138" y="101"/>
                  </a:lnTo>
                  <a:lnTo>
                    <a:pt x="135" y="92"/>
                  </a:lnTo>
                  <a:lnTo>
                    <a:pt x="145" y="78"/>
                  </a:lnTo>
                  <a:lnTo>
                    <a:pt x="154" y="75"/>
                  </a:lnTo>
                  <a:lnTo>
                    <a:pt x="147" y="61"/>
                  </a:lnTo>
                  <a:lnTo>
                    <a:pt x="164" y="63"/>
                  </a:lnTo>
                  <a:lnTo>
                    <a:pt x="166" y="56"/>
                  </a:lnTo>
                  <a:lnTo>
                    <a:pt x="166" y="47"/>
                  </a:lnTo>
                  <a:lnTo>
                    <a:pt x="175" y="40"/>
                  </a:lnTo>
                  <a:lnTo>
                    <a:pt x="173" y="30"/>
                  </a:lnTo>
                  <a:lnTo>
                    <a:pt x="168" y="21"/>
                  </a:lnTo>
                  <a:lnTo>
                    <a:pt x="178" y="14"/>
                  </a:lnTo>
                  <a:lnTo>
                    <a:pt x="197" y="9"/>
                  </a:lnTo>
                  <a:lnTo>
                    <a:pt x="213" y="7"/>
                  </a:lnTo>
                  <a:lnTo>
                    <a:pt x="223" y="2"/>
                  </a:lnTo>
                  <a:lnTo>
                    <a:pt x="232" y="0"/>
                  </a:lnTo>
                  <a:lnTo>
                    <a:pt x="244" y="9"/>
                  </a:lnTo>
                  <a:lnTo>
                    <a:pt x="249" y="26"/>
                  </a:lnTo>
                  <a:lnTo>
                    <a:pt x="275" y="33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62" name="Freeform 244">
              <a:extLst>
                <a:ext uri="{FF2B5EF4-FFF2-40B4-BE49-F238E27FC236}">
                  <a16:creationId xmlns:a16="http://schemas.microsoft.com/office/drawing/2014/main" id="{4FB3FD61-498C-EC05-952E-45F1B1E25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5923" y="3006962"/>
              <a:ext cx="101225" cy="41528"/>
            </a:xfrm>
            <a:custGeom>
              <a:avLst/>
              <a:gdLst>
                <a:gd name="T0" fmla="*/ 80 w 94"/>
                <a:gd name="T1" fmla="*/ 5 h 38"/>
                <a:gd name="T2" fmla="*/ 80 w 94"/>
                <a:gd name="T3" fmla="*/ 5 h 38"/>
                <a:gd name="T4" fmla="*/ 85 w 94"/>
                <a:gd name="T5" fmla="*/ 10 h 38"/>
                <a:gd name="T6" fmla="*/ 92 w 94"/>
                <a:gd name="T7" fmla="*/ 15 h 38"/>
                <a:gd name="T8" fmla="*/ 89 w 94"/>
                <a:gd name="T9" fmla="*/ 17 h 38"/>
                <a:gd name="T10" fmla="*/ 94 w 94"/>
                <a:gd name="T11" fmla="*/ 27 h 38"/>
                <a:gd name="T12" fmla="*/ 89 w 94"/>
                <a:gd name="T13" fmla="*/ 31 h 38"/>
                <a:gd name="T14" fmla="*/ 85 w 94"/>
                <a:gd name="T15" fmla="*/ 31 h 38"/>
                <a:gd name="T16" fmla="*/ 82 w 94"/>
                <a:gd name="T17" fmla="*/ 38 h 38"/>
                <a:gd name="T18" fmla="*/ 78 w 94"/>
                <a:gd name="T19" fmla="*/ 34 h 38"/>
                <a:gd name="T20" fmla="*/ 73 w 94"/>
                <a:gd name="T21" fmla="*/ 24 h 38"/>
                <a:gd name="T22" fmla="*/ 78 w 94"/>
                <a:gd name="T23" fmla="*/ 19 h 38"/>
                <a:gd name="T24" fmla="*/ 73 w 94"/>
                <a:gd name="T25" fmla="*/ 19 h 38"/>
                <a:gd name="T26" fmla="*/ 71 w 94"/>
                <a:gd name="T27" fmla="*/ 15 h 38"/>
                <a:gd name="T28" fmla="*/ 63 w 94"/>
                <a:gd name="T29" fmla="*/ 10 h 38"/>
                <a:gd name="T30" fmla="*/ 56 w 94"/>
                <a:gd name="T31" fmla="*/ 10 h 38"/>
                <a:gd name="T32" fmla="*/ 52 w 94"/>
                <a:gd name="T33" fmla="*/ 17 h 38"/>
                <a:gd name="T34" fmla="*/ 45 w 94"/>
                <a:gd name="T35" fmla="*/ 19 h 38"/>
                <a:gd name="T36" fmla="*/ 42 w 94"/>
                <a:gd name="T37" fmla="*/ 22 h 38"/>
                <a:gd name="T38" fmla="*/ 42 w 94"/>
                <a:gd name="T39" fmla="*/ 24 h 38"/>
                <a:gd name="T40" fmla="*/ 49 w 94"/>
                <a:gd name="T41" fmla="*/ 34 h 38"/>
                <a:gd name="T42" fmla="*/ 45 w 94"/>
                <a:gd name="T43" fmla="*/ 36 h 38"/>
                <a:gd name="T44" fmla="*/ 42 w 94"/>
                <a:gd name="T45" fmla="*/ 38 h 38"/>
                <a:gd name="T46" fmla="*/ 35 w 94"/>
                <a:gd name="T47" fmla="*/ 38 h 38"/>
                <a:gd name="T48" fmla="*/ 30 w 94"/>
                <a:gd name="T49" fmla="*/ 29 h 38"/>
                <a:gd name="T50" fmla="*/ 30 w 94"/>
                <a:gd name="T51" fmla="*/ 31 h 38"/>
                <a:gd name="T52" fmla="*/ 23 w 94"/>
                <a:gd name="T53" fmla="*/ 31 h 38"/>
                <a:gd name="T54" fmla="*/ 21 w 94"/>
                <a:gd name="T55" fmla="*/ 24 h 38"/>
                <a:gd name="T56" fmla="*/ 14 w 94"/>
                <a:gd name="T57" fmla="*/ 22 h 38"/>
                <a:gd name="T58" fmla="*/ 9 w 94"/>
                <a:gd name="T59" fmla="*/ 22 h 38"/>
                <a:gd name="T60" fmla="*/ 2 w 94"/>
                <a:gd name="T61" fmla="*/ 22 h 38"/>
                <a:gd name="T62" fmla="*/ 2 w 94"/>
                <a:gd name="T63" fmla="*/ 24 h 38"/>
                <a:gd name="T64" fmla="*/ 0 w 94"/>
                <a:gd name="T65" fmla="*/ 22 h 38"/>
                <a:gd name="T66" fmla="*/ 2 w 94"/>
                <a:gd name="T67" fmla="*/ 19 h 38"/>
                <a:gd name="T68" fmla="*/ 2 w 94"/>
                <a:gd name="T69" fmla="*/ 17 h 38"/>
                <a:gd name="T70" fmla="*/ 2 w 94"/>
                <a:gd name="T71" fmla="*/ 12 h 38"/>
                <a:gd name="T72" fmla="*/ 4 w 94"/>
                <a:gd name="T73" fmla="*/ 10 h 38"/>
                <a:gd name="T74" fmla="*/ 2 w 94"/>
                <a:gd name="T75" fmla="*/ 8 h 38"/>
                <a:gd name="T76" fmla="*/ 2 w 94"/>
                <a:gd name="T77" fmla="*/ 3 h 38"/>
                <a:gd name="T78" fmla="*/ 7 w 94"/>
                <a:gd name="T79" fmla="*/ 0 h 38"/>
                <a:gd name="T80" fmla="*/ 11 w 94"/>
                <a:gd name="T81" fmla="*/ 5 h 38"/>
                <a:gd name="T82" fmla="*/ 11 w 94"/>
                <a:gd name="T83" fmla="*/ 10 h 38"/>
                <a:gd name="T84" fmla="*/ 18 w 94"/>
                <a:gd name="T85" fmla="*/ 10 h 38"/>
                <a:gd name="T86" fmla="*/ 21 w 94"/>
                <a:gd name="T87" fmla="*/ 10 h 38"/>
                <a:gd name="T88" fmla="*/ 26 w 94"/>
                <a:gd name="T89" fmla="*/ 12 h 38"/>
                <a:gd name="T90" fmla="*/ 33 w 94"/>
                <a:gd name="T91" fmla="*/ 12 h 38"/>
                <a:gd name="T92" fmla="*/ 40 w 94"/>
                <a:gd name="T93" fmla="*/ 8 h 38"/>
                <a:gd name="T94" fmla="*/ 49 w 94"/>
                <a:gd name="T95" fmla="*/ 5 h 38"/>
                <a:gd name="T96" fmla="*/ 56 w 94"/>
                <a:gd name="T97" fmla="*/ 0 h 38"/>
                <a:gd name="T98" fmla="*/ 63 w 94"/>
                <a:gd name="T99" fmla="*/ 0 h 38"/>
                <a:gd name="T100" fmla="*/ 63 w 94"/>
                <a:gd name="T101" fmla="*/ 3 h 38"/>
                <a:gd name="T102" fmla="*/ 73 w 94"/>
                <a:gd name="T103" fmla="*/ 3 h 38"/>
                <a:gd name="T104" fmla="*/ 80 w 94"/>
                <a:gd name="T105" fmla="*/ 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38">
                  <a:moveTo>
                    <a:pt x="80" y="5"/>
                  </a:moveTo>
                  <a:lnTo>
                    <a:pt x="80" y="5"/>
                  </a:lnTo>
                  <a:lnTo>
                    <a:pt x="85" y="10"/>
                  </a:lnTo>
                  <a:lnTo>
                    <a:pt x="92" y="15"/>
                  </a:lnTo>
                  <a:lnTo>
                    <a:pt x="89" y="17"/>
                  </a:lnTo>
                  <a:lnTo>
                    <a:pt x="94" y="27"/>
                  </a:lnTo>
                  <a:lnTo>
                    <a:pt x="89" y="31"/>
                  </a:lnTo>
                  <a:lnTo>
                    <a:pt x="85" y="31"/>
                  </a:lnTo>
                  <a:lnTo>
                    <a:pt x="82" y="38"/>
                  </a:lnTo>
                  <a:lnTo>
                    <a:pt x="78" y="34"/>
                  </a:lnTo>
                  <a:lnTo>
                    <a:pt x="73" y="24"/>
                  </a:lnTo>
                  <a:lnTo>
                    <a:pt x="78" y="19"/>
                  </a:lnTo>
                  <a:lnTo>
                    <a:pt x="73" y="19"/>
                  </a:lnTo>
                  <a:lnTo>
                    <a:pt x="71" y="15"/>
                  </a:lnTo>
                  <a:lnTo>
                    <a:pt x="63" y="10"/>
                  </a:lnTo>
                  <a:lnTo>
                    <a:pt x="56" y="10"/>
                  </a:lnTo>
                  <a:lnTo>
                    <a:pt x="52" y="17"/>
                  </a:lnTo>
                  <a:lnTo>
                    <a:pt x="45" y="19"/>
                  </a:lnTo>
                  <a:lnTo>
                    <a:pt x="42" y="22"/>
                  </a:lnTo>
                  <a:lnTo>
                    <a:pt x="42" y="24"/>
                  </a:lnTo>
                  <a:lnTo>
                    <a:pt x="49" y="34"/>
                  </a:lnTo>
                  <a:lnTo>
                    <a:pt x="45" y="36"/>
                  </a:lnTo>
                  <a:lnTo>
                    <a:pt x="42" y="38"/>
                  </a:lnTo>
                  <a:lnTo>
                    <a:pt x="35" y="38"/>
                  </a:lnTo>
                  <a:lnTo>
                    <a:pt x="30" y="29"/>
                  </a:lnTo>
                  <a:lnTo>
                    <a:pt x="30" y="31"/>
                  </a:lnTo>
                  <a:lnTo>
                    <a:pt x="23" y="31"/>
                  </a:lnTo>
                  <a:lnTo>
                    <a:pt x="21" y="24"/>
                  </a:lnTo>
                  <a:lnTo>
                    <a:pt x="14" y="22"/>
                  </a:lnTo>
                  <a:lnTo>
                    <a:pt x="9" y="22"/>
                  </a:lnTo>
                  <a:lnTo>
                    <a:pt x="2" y="22"/>
                  </a:lnTo>
                  <a:lnTo>
                    <a:pt x="2" y="24"/>
                  </a:lnTo>
                  <a:lnTo>
                    <a:pt x="0" y="22"/>
                  </a:lnTo>
                  <a:lnTo>
                    <a:pt x="2" y="19"/>
                  </a:lnTo>
                  <a:lnTo>
                    <a:pt x="2" y="17"/>
                  </a:lnTo>
                  <a:lnTo>
                    <a:pt x="2" y="12"/>
                  </a:lnTo>
                  <a:lnTo>
                    <a:pt x="4" y="10"/>
                  </a:lnTo>
                  <a:lnTo>
                    <a:pt x="2" y="8"/>
                  </a:lnTo>
                  <a:lnTo>
                    <a:pt x="2" y="3"/>
                  </a:lnTo>
                  <a:lnTo>
                    <a:pt x="7" y="0"/>
                  </a:lnTo>
                  <a:lnTo>
                    <a:pt x="11" y="5"/>
                  </a:lnTo>
                  <a:lnTo>
                    <a:pt x="11" y="10"/>
                  </a:lnTo>
                  <a:lnTo>
                    <a:pt x="18" y="10"/>
                  </a:lnTo>
                  <a:lnTo>
                    <a:pt x="21" y="10"/>
                  </a:lnTo>
                  <a:lnTo>
                    <a:pt x="26" y="12"/>
                  </a:lnTo>
                  <a:lnTo>
                    <a:pt x="33" y="12"/>
                  </a:lnTo>
                  <a:lnTo>
                    <a:pt x="40" y="8"/>
                  </a:lnTo>
                  <a:lnTo>
                    <a:pt x="49" y="5"/>
                  </a:lnTo>
                  <a:lnTo>
                    <a:pt x="56" y="0"/>
                  </a:lnTo>
                  <a:lnTo>
                    <a:pt x="63" y="0"/>
                  </a:lnTo>
                  <a:lnTo>
                    <a:pt x="63" y="3"/>
                  </a:lnTo>
                  <a:lnTo>
                    <a:pt x="73" y="3"/>
                  </a:lnTo>
                  <a:lnTo>
                    <a:pt x="80" y="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63" name="Freeform 246">
              <a:extLst>
                <a:ext uri="{FF2B5EF4-FFF2-40B4-BE49-F238E27FC236}">
                  <a16:creationId xmlns:a16="http://schemas.microsoft.com/office/drawing/2014/main" id="{3942C025-3B77-5D04-6750-A9CDA3A277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3921" y="3178535"/>
              <a:ext cx="220756" cy="325661"/>
            </a:xfrm>
            <a:custGeom>
              <a:avLst/>
              <a:gdLst>
                <a:gd name="T0" fmla="*/ 134 w 205"/>
                <a:gd name="T1" fmla="*/ 35 h 298"/>
                <a:gd name="T2" fmla="*/ 156 w 205"/>
                <a:gd name="T3" fmla="*/ 33 h 298"/>
                <a:gd name="T4" fmla="*/ 172 w 205"/>
                <a:gd name="T5" fmla="*/ 33 h 298"/>
                <a:gd name="T6" fmla="*/ 172 w 205"/>
                <a:gd name="T7" fmla="*/ 59 h 298"/>
                <a:gd name="T8" fmla="*/ 186 w 205"/>
                <a:gd name="T9" fmla="*/ 66 h 298"/>
                <a:gd name="T10" fmla="*/ 170 w 205"/>
                <a:gd name="T11" fmla="*/ 68 h 298"/>
                <a:gd name="T12" fmla="*/ 137 w 205"/>
                <a:gd name="T13" fmla="*/ 83 h 298"/>
                <a:gd name="T14" fmla="*/ 132 w 205"/>
                <a:gd name="T15" fmla="*/ 97 h 298"/>
                <a:gd name="T16" fmla="*/ 125 w 205"/>
                <a:gd name="T17" fmla="*/ 109 h 298"/>
                <a:gd name="T18" fmla="*/ 120 w 205"/>
                <a:gd name="T19" fmla="*/ 120 h 298"/>
                <a:gd name="T20" fmla="*/ 134 w 205"/>
                <a:gd name="T21" fmla="*/ 144 h 298"/>
                <a:gd name="T22" fmla="*/ 144 w 205"/>
                <a:gd name="T23" fmla="*/ 151 h 298"/>
                <a:gd name="T24" fmla="*/ 163 w 205"/>
                <a:gd name="T25" fmla="*/ 161 h 298"/>
                <a:gd name="T26" fmla="*/ 177 w 205"/>
                <a:gd name="T27" fmla="*/ 175 h 298"/>
                <a:gd name="T28" fmla="*/ 191 w 205"/>
                <a:gd name="T29" fmla="*/ 175 h 298"/>
                <a:gd name="T30" fmla="*/ 203 w 205"/>
                <a:gd name="T31" fmla="*/ 208 h 298"/>
                <a:gd name="T32" fmla="*/ 201 w 205"/>
                <a:gd name="T33" fmla="*/ 232 h 298"/>
                <a:gd name="T34" fmla="*/ 198 w 205"/>
                <a:gd name="T35" fmla="*/ 246 h 298"/>
                <a:gd name="T36" fmla="*/ 201 w 205"/>
                <a:gd name="T37" fmla="*/ 267 h 298"/>
                <a:gd name="T38" fmla="*/ 186 w 205"/>
                <a:gd name="T39" fmla="*/ 293 h 298"/>
                <a:gd name="T40" fmla="*/ 163 w 205"/>
                <a:gd name="T41" fmla="*/ 288 h 298"/>
                <a:gd name="T42" fmla="*/ 130 w 205"/>
                <a:gd name="T43" fmla="*/ 265 h 298"/>
                <a:gd name="T44" fmla="*/ 87 w 205"/>
                <a:gd name="T45" fmla="*/ 236 h 298"/>
                <a:gd name="T46" fmla="*/ 85 w 205"/>
                <a:gd name="T47" fmla="*/ 217 h 298"/>
                <a:gd name="T48" fmla="*/ 54 w 205"/>
                <a:gd name="T49" fmla="*/ 165 h 298"/>
                <a:gd name="T50" fmla="*/ 33 w 205"/>
                <a:gd name="T51" fmla="*/ 125 h 298"/>
                <a:gd name="T52" fmla="*/ 14 w 205"/>
                <a:gd name="T53" fmla="*/ 104 h 298"/>
                <a:gd name="T54" fmla="*/ 9 w 205"/>
                <a:gd name="T55" fmla="*/ 90 h 298"/>
                <a:gd name="T56" fmla="*/ 7 w 205"/>
                <a:gd name="T57" fmla="*/ 64 h 298"/>
                <a:gd name="T58" fmla="*/ 21 w 205"/>
                <a:gd name="T59" fmla="*/ 59 h 298"/>
                <a:gd name="T60" fmla="*/ 16 w 205"/>
                <a:gd name="T61" fmla="*/ 68 h 298"/>
                <a:gd name="T62" fmla="*/ 30 w 205"/>
                <a:gd name="T63" fmla="*/ 68 h 298"/>
                <a:gd name="T64" fmla="*/ 45 w 205"/>
                <a:gd name="T65" fmla="*/ 71 h 298"/>
                <a:gd name="T66" fmla="*/ 59 w 205"/>
                <a:gd name="T67" fmla="*/ 45 h 298"/>
                <a:gd name="T68" fmla="*/ 94 w 205"/>
                <a:gd name="T69" fmla="*/ 23 h 298"/>
                <a:gd name="T70" fmla="*/ 99 w 205"/>
                <a:gd name="T71" fmla="*/ 0 h 298"/>
                <a:gd name="T72" fmla="*/ 113 w 205"/>
                <a:gd name="T73" fmla="*/ 7 h 298"/>
                <a:gd name="T74" fmla="*/ 125 w 205"/>
                <a:gd name="T75" fmla="*/ 19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5" h="298">
                  <a:moveTo>
                    <a:pt x="134" y="35"/>
                  </a:moveTo>
                  <a:lnTo>
                    <a:pt x="134" y="35"/>
                  </a:lnTo>
                  <a:lnTo>
                    <a:pt x="146" y="38"/>
                  </a:lnTo>
                  <a:lnTo>
                    <a:pt x="156" y="33"/>
                  </a:lnTo>
                  <a:lnTo>
                    <a:pt x="160" y="35"/>
                  </a:lnTo>
                  <a:lnTo>
                    <a:pt x="172" y="33"/>
                  </a:lnTo>
                  <a:lnTo>
                    <a:pt x="184" y="42"/>
                  </a:lnTo>
                  <a:lnTo>
                    <a:pt x="172" y="59"/>
                  </a:lnTo>
                  <a:lnTo>
                    <a:pt x="179" y="59"/>
                  </a:lnTo>
                  <a:lnTo>
                    <a:pt x="186" y="66"/>
                  </a:lnTo>
                  <a:lnTo>
                    <a:pt x="172" y="66"/>
                  </a:lnTo>
                  <a:lnTo>
                    <a:pt x="170" y="68"/>
                  </a:lnTo>
                  <a:lnTo>
                    <a:pt x="156" y="71"/>
                  </a:lnTo>
                  <a:lnTo>
                    <a:pt x="137" y="83"/>
                  </a:lnTo>
                  <a:lnTo>
                    <a:pt x="137" y="90"/>
                  </a:lnTo>
                  <a:lnTo>
                    <a:pt x="132" y="97"/>
                  </a:lnTo>
                  <a:lnTo>
                    <a:pt x="134" y="106"/>
                  </a:lnTo>
                  <a:lnTo>
                    <a:pt x="125" y="109"/>
                  </a:lnTo>
                  <a:lnTo>
                    <a:pt x="125" y="116"/>
                  </a:lnTo>
                  <a:lnTo>
                    <a:pt x="120" y="120"/>
                  </a:lnTo>
                  <a:lnTo>
                    <a:pt x="127" y="135"/>
                  </a:lnTo>
                  <a:lnTo>
                    <a:pt x="134" y="144"/>
                  </a:lnTo>
                  <a:lnTo>
                    <a:pt x="132" y="151"/>
                  </a:lnTo>
                  <a:lnTo>
                    <a:pt x="144" y="151"/>
                  </a:lnTo>
                  <a:lnTo>
                    <a:pt x="149" y="161"/>
                  </a:lnTo>
                  <a:lnTo>
                    <a:pt x="163" y="161"/>
                  </a:lnTo>
                  <a:lnTo>
                    <a:pt x="177" y="151"/>
                  </a:lnTo>
                  <a:lnTo>
                    <a:pt x="177" y="175"/>
                  </a:lnTo>
                  <a:lnTo>
                    <a:pt x="182" y="177"/>
                  </a:lnTo>
                  <a:lnTo>
                    <a:pt x="191" y="175"/>
                  </a:lnTo>
                  <a:lnTo>
                    <a:pt x="205" y="201"/>
                  </a:lnTo>
                  <a:lnTo>
                    <a:pt x="203" y="208"/>
                  </a:lnTo>
                  <a:lnTo>
                    <a:pt x="201" y="217"/>
                  </a:lnTo>
                  <a:lnTo>
                    <a:pt x="201" y="232"/>
                  </a:lnTo>
                  <a:lnTo>
                    <a:pt x="196" y="241"/>
                  </a:lnTo>
                  <a:lnTo>
                    <a:pt x="198" y="246"/>
                  </a:lnTo>
                  <a:lnTo>
                    <a:pt x="194" y="253"/>
                  </a:lnTo>
                  <a:lnTo>
                    <a:pt x="201" y="267"/>
                  </a:lnTo>
                  <a:lnTo>
                    <a:pt x="191" y="286"/>
                  </a:lnTo>
                  <a:lnTo>
                    <a:pt x="186" y="293"/>
                  </a:lnTo>
                  <a:lnTo>
                    <a:pt x="179" y="298"/>
                  </a:lnTo>
                  <a:lnTo>
                    <a:pt x="163" y="288"/>
                  </a:lnTo>
                  <a:lnTo>
                    <a:pt x="160" y="281"/>
                  </a:lnTo>
                  <a:lnTo>
                    <a:pt x="130" y="265"/>
                  </a:lnTo>
                  <a:lnTo>
                    <a:pt x="101" y="246"/>
                  </a:lnTo>
                  <a:lnTo>
                    <a:pt x="87" y="236"/>
                  </a:lnTo>
                  <a:lnTo>
                    <a:pt x="80" y="222"/>
                  </a:lnTo>
                  <a:lnTo>
                    <a:pt x="85" y="217"/>
                  </a:lnTo>
                  <a:lnTo>
                    <a:pt x="71" y="196"/>
                  </a:lnTo>
                  <a:lnTo>
                    <a:pt x="54" y="165"/>
                  </a:lnTo>
                  <a:lnTo>
                    <a:pt x="37" y="132"/>
                  </a:lnTo>
                  <a:lnTo>
                    <a:pt x="33" y="125"/>
                  </a:lnTo>
                  <a:lnTo>
                    <a:pt x="28" y="113"/>
                  </a:lnTo>
                  <a:lnTo>
                    <a:pt x="14" y="104"/>
                  </a:lnTo>
                  <a:lnTo>
                    <a:pt x="2" y="97"/>
                  </a:lnTo>
                  <a:lnTo>
                    <a:pt x="9" y="90"/>
                  </a:lnTo>
                  <a:lnTo>
                    <a:pt x="0" y="73"/>
                  </a:lnTo>
                  <a:lnTo>
                    <a:pt x="7" y="64"/>
                  </a:lnTo>
                  <a:lnTo>
                    <a:pt x="19" y="52"/>
                  </a:lnTo>
                  <a:lnTo>
                    <a:pt x="21" y="59"/>
                  </a:lnTo>
                  <a:lnTo>
                    <a:pt x="16" y="64"/>
                  </a:lnTo>
                  <a:lnTo>
                    <a:pt x="16" y="68"/>
                  </a:lnTo>
                  <a:lnTo>
                    <a:pt x="23" y="68"/>
                  </a:lnTo>
                  <a:lnTo>
                    <a:pt x="30" y="68"/>
                  </a:lnTo>
                  <a:lnTo>
                    <a:pt x="35" y="78"/>
                  </a:lnTo>
                  <a:lnTo>
                    <a:pt x="45" y="71"/>
                  </a:lnTo>
                  <a:lnTo>
                    <a:pt x="49" y="61"/>
                  </a:lnTo>
                  <a:lnTo>
                    <a:pt x="59" y="45"/>
                  </a:lnTo>
                  <a:lnTo>
                    <a:pt x="78" y="40"/>
                  </a:lnTo>
                  <a:lnTo>
                    <a:pt x="94" y="23"/>
                  </a:lnTo>
                  <a:lnTo>
                    <a:pt x="101" y="12"/>
                  </a:lnTo>
                  <a:lnTo>
                    <a:pt x="99" y="0"/>
                  </a:lnTo>
                  <a:lnTo>
                    <a:pt x="101" y="0"/>
                  </a:lnTo>
                  <a:lnTo>
                    <a:pt x="113" y="7"/>
                  </a:lnTo>
                  <a:lnTo>
                    <a:pt x="118" y="14"/>
                  </a:lnTo>
                  <a:lnTo>
                    <a:pt x="125" y="19"/>
                  </a:lnTo>
                  <a:lnTo>
                    <a:pt x="134" y="3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64" name="Freeform 248">
              <a:extLst>
                <a:ext uri="{FF2B5EF4-FFF2-40B4-BE49-F238E27FC236}">
                  <a16:creationId xmlns:a16="http://schemas.microsoft.com/office/drawing/2014/main" id="{FB5FA165-9A99-BBB0-7FF2-C194F6A03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97087" y="2844133"/>
              <a:ext cx="163681" cy="236050"/>
            </a:xfrm>
            <a:custGeom>
              <a:avLst/>
              <a:gdLst>
                <a:gd name="T0" fmla="*/ 147 w 152"/>
                <a:gd name="T1" fmla="*/ 168 h 216"/>
                <a:gd name="T2" fmla="*/ 152 w 152"/>
                <a:gd name="T3" fmla="*/ 190 h 216"/>
                <a:gd name="T4" fmla="*/ 140 w 152"/>
                <a:gd name="T5" fmla="*/ 187 h 216"/>
                <a:gd name="T6" fmla="*/ 138 w 152"/>
                <a:gd name="T7" fmla="*/ 206 h 216"/>
                <a:gd name="T8" fmla="*/ 114 w 152"/>
                <a:gd name="T9" fmla="*/ 204 h 216"/>
                <a:gd name="T10" fmla="*/ 114 w 152"/>
                <a:gd name="T11" fmla="*/ 185 h 216"/>
                <a:gd name="T12" fmla="*/ 97 w 152"/>
                <a:gd name="T13" fmla="*/ 185 h 216"/>
                <a:gd name="T14" fmla="*/ 78 w 152"/>
                <a:gd name="T15" fmla="*/ 194 h 216"/>
                <a:gd name="T16" fmla="*/ 83 w 152"/>
                <a:gd name="T17" fmla="*/ 176 h 216"/>
                <a:gd name="T18" fmla="*/ 102 w 152"/>
                <a:gd name="T19" fmla="*/ 164 h 216"/>
                <a:gd name="T20" fmla="*/ 119 w 152"/>
                <a:gd name="T21" fmla="*/ 166 h 216"/>
                <a:gd name="T22" fmla="*/ 133 w 152"/>
                <a:gd name="T23" fmla="*/ 159 h 216"/>
                <a:gd name="T24" fmla="*/ 145 w 152"/>
                <a:gd name="T25" fmla="*/ 154 h 216"/>
                <a:gd name="T26" fmla="*/ 147 w 152"/>
                <a:gd name="T27" fmla="*/ 168 h 216"/>
                <a:gd name="T28" fmla="*/ 109 w 152"/>
                <a:gd name="T29" fmla="*/ 138 h 216"/>
                <a:gd name="T30" fmla="*/ 97 w 152"/>
                <a:gd name="T31" fmla="*/ 154 h 216"/>
                <a:gd name="T32" fmla="*/ 83 w 152"/>
                <a:gd name="T33" fmla="*/ 147 h 216"/>
                <a:gd name="T34" fmla="*/ 90 w 152"/>
                <a:gd name="T35" fmla="*/ 138 h 216"/>
                <a:gd name="T36" fmla="*/ 102 w 152"/>
                <a:gd name="T37" fmla="*/ 128 h 216"/>
                <a:gd name="T38" fmla="*/ 112 w 152"/>
                <a:gd name="T39" fmla="*/ 123 h 216"/>
                <a:gd name="T40" fmla="*/ 22 w 152"/>
                <a:gd name="T41" fmla="*/ 154 h 216"/>
                <a:gd name="T42" fmla="*/ 0 w 152"/>
                <a:gd name="T43" fmla="*/ 171 h 216"/>
                <a:gd name="T44" fmla="*/ 19 w 152"/>
                <a:gd name="T45" fmla="*/ 147 h 216"/>
                <a:gd name="T46" fmla="*/ 36 w 152"/>
                <a:gd name="T47" fmla="*/ 121 h 216"/>
                <a:gd name="T48" fmla="*/ 29 w 152"/>
                <a:gd name="T49" fmla="*/ 142 h 216"/>
                <a:gd name="T50" fmla="*/ 76 w 152"/>
                <a:gd name="T51" fmla="*/ 112 h 216"/>
                <a:gd name="T52" fmla="*/ 86 w 152"/>
                <a:gd name="T53" fmla="*/ 116 h 216"/>
                <a:gd name="T54" fmla="*/ 95 w 152"/>
                <a:gd name="T55" fmla="*/ 123 h 216"/>
                <a:gd name="T56" fmla="*/ 78 w 152"/>
                <a:gd name="T57" fmla="*/ 135 h 216"/>
                <a:gd name="T58" fmla="*/ 78 w 152"/>
                <a:gd name="T59" fmla="*/ 119 h 216"/>
                <a:gd name="T60" fmla="*/ 133 w 152"/>
                <a:gd name="T61" fmla="*/ 107 h 216"/>
                <a:gd name="T62" fmla="*/ 138 w 152"/>
                <a:gd name="T63" fmla="*/ 126 h 216"/>
                <a:gd name="T64" fmla="*/ 126 w 152"/>
                <a:gd name="T65" fmla="*/ 128 h 216"/>
                <a:gd name="T66" fmla="*/ 123 w 152"/>
                <a:gd name="T67" fmla="*/ 140 h 216"/>
                <a:gd name="T68" fmla="*/ 116 w 152"/>
                <a:gd name="T69" fmla="*/ 128 h 216"/>
                <a:gd name="T70" fmla="*/ 123 w 152"/>
                <a:gd name="T71" fmla="*/ 119 h 216"/>
                <a:gd name="T72" fmla="*/ 114 w 152"/>
                <a:gd name="T73" fmla="*/ 100 h 216"/>
                <a:gd name="T74" fmla="*/ 133 w 152"/>
                <a:gd name="T75" fmla="*/ 107 h 216"/>
                <a:gd name="T76" fmla="*/ 69 w 152"/>
                <a:gd name="T77" fmla="*/ 93 h 216"/>
                <a:gd name="T78" fmla="*/ 60 w 152"/>
                <a:gd name="T79" fmla="*/ 97 h 216"/>
                <a:gd name="T80" fmla="*/ 64 w 152"/>
                <a:gd name="T81" fmla="*/ 86 h 216"/>
                <a:gd name="T82" fmla="*/ 67 w 152"/>
                <a:gd name="T83" fmla="*/ 0 h 216"/>
                <a:gd name="T84" fmla="*/ 76 w 152"/>
                <a:gd name="T85" fmla="*/ 5 h 216"/>
                <a:gd name="T86" fmla="*/ 83 w 152"/>
                <a:gd name="T87" fmla="*/ 5 h 216"/>
                <a:gd name="T88" fmla="*/ 86 w 152"/>
                <a:gd name="T89" fmla="*/ 24 h 216"/>
                <a:gd name="T90" fmla="*/ 71 w 152"/>
                <a:gd name="T91" fmla="*/ 45 h 216"/>
                <a:gd name="T92" fmla="*/ 74 w 152"/>
                <a:gd name="T93" fmla="*/ 71 h 216"/>
                <a:gd name="T94" fmla="*/ 88 w 152"/>
                <a:gd name="T95" fmla="*/ 71 h 216"/>
                <a:gd name="T96" fmla="*/ 107 w 152"/>
                <a:gd name="T97" fmla="*/ 90 h 216"/>
                <a:gd name="T98" fmla="*/ 112 w 152"/>
                <a:gd name="T99" fmla="*/ 102 h 216"/>
                <a:gd name="T100" fmla="*/ 93 w 152"/>
                <a:gd name="T101" fmla="*/ 86 h 216"/>
                <a:gd name="T102" fmla="*/ 78 w 152"/>
                <a:gd name="T103" fmla="*/ 81 h 216"/>
                <a:gd name="T104" fmla="*/ 55 w 152"/>
                <a:gd name="T105" fmla="*/ 78 h 216"/>
                <a:gd name="T106" fmla="*/ 62 w 152"/>
                <a:gd name="T107" fmla="*/ 67 h 216"/>
                <a:gd name="T108" fmla="*/ 55 w 152"/>
                <a:gd name="T109" fmla="*/ 69 h 216"/>
                <a:gd name="T110" fmla="*/ 43 w 152"/>
                <a:gd name="T111" fmla="*/ 52 h 216"/>
                <a:gd name="T112" fmla="*/ 50 w 152"/>
                <a:gd name="T113" fmla="*/ 43 h 216"/>
                <a:gd name="T114" fmla="*/ 57 w 152"/>
                <a:gd name="T115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2" h="216">
                  <a:moveTo>
                    <a:pt x="147" y="168"/>
                  </a:moveTo>
                  <a:lnTo>
                    <a:pt x="147" y="168"/>
                  </a:lnTo>
                  <a:lnTo>
                    <a:pt x="149" y="180"/>
                  </a:lnTo>
                  <a:lnTo>
                    <a:pt x="152" y="190"/>
                  </a:lnTo>
                  <a:lnTo>
                    <a:pt x="145" y="204"/>
                  </a:lnTo>
                  <a:lnTo>
                    <a:pt x="140" y="187"/>
                  </a:lnTo>
                  <a:lnTo>
                    <a:pt x="130" y="194"/>
                  </a:lnTo>
                  <a:lnTo>
                    <a:pt x="138" y="206"/>
                  </a:lnTo>
                  <a:lnTo>
                    <a:pt x="133" y="216"/>
                  </a:lnTo>
                  <a:lnTo>
                    <a:pt x="114" y="204"/>
                  </a:lnTo>
                  <a:lnTo>
                    <a:pt x="109" y="194"/>
                  </a:lnTo>
                  <a:lnTo>
                    <a:pt x="114" y="185"/>
                  </a:lnTo>
                  <a:lnTo>
                    <a:pt x="104" y="178"/>
                  </a:lnTo>
                  <a:lnTo>
                    <a:pt x="97" y="185"/>
                  </a:lnTo>
                  <a:lnTo>
                    <a:pt x="90" y="185"/>
                  </a:lnTo>
                  <a:lnTo>
                    <a:pt x="78" y="194"/>
                  </a:lnTo>
                  <a:lnTo>
                    <a:pt x="76" y="190"/>
                  </a:lnTo>
                  <a:lnTo>
                    <a:pt x="83" y="176"/>
                  </a:lnTo>
                  <a:lnTo>
                    <a:pt x="93" y="171"/>
                  </a:lnTo>
                  <a:lnTo>
                    <a:pt x="102" y="164"/>
                  </a:lnTo>
                  <a:lnTo>
                    <a:pt x="107" y="171"/>
                  </a:lnTo>
                  <a:lnTo>
                    <a:pt x="119" y="166"/>
                  </a:lnTo>
                  <a:lnTo>
                    <a:pt x="123" y="159"/>
                  </a:lnTo>
                  <a:lnTo>
                    <a:pt x="133" y="159"/>
                  </a:lnTo>
                  <a:lnTo>
                    <a:pt x="133" y="147"/>
                  </a:lnTo>
                  <a:lnTo>
                    <a:pt x="145" y="154"/>
                  </a:lnTo>
                  <a:lnTo>
                    <a:pt x="147" y="161"/>
                  </a:lnTo>
                  <a:lnTo>
                    <a:pt x="147" y="168"/>
                  </a:lnTo>
                  <a:close/>
                  <a:moveTo>
                    <a:pt x="109" y="138"/>
                  </a:moveTo>
                  <a:lnTo>
                    <a:pt x="109" y="138"/>
                  </a:lnTo>
                  <a:lnTo>
                    <a:pt x="104" y="142"/>
                  </a:lnTo>
                  <a:lnTo>
                    <a:pt x="97" y="154"/>
                  </a:lnTo>
                  <a:lnTo>
                    <a:pt x="93" y="159"/>
                  </a:lnTo>
                  <a:lnTo>
                    <a:pt x="83" y="147"/>
                  </a:lnTo>
                  <a:lnTo>
                    <a:pt x="86" y="142"/>
                  </a:lnTo>
                  <a:lnTo>
                    <a:pt x="90" y="138"/>
                  </a:lnTo>
                  <a:lnTo>
                    <a:pt x="93" y="128"/>
                  </a:lnTo>
                  <a:lnTo>
                    <a:pt x="102" y="128"/>
                  </a:lnTo>
                  <a:lnTo>
                    <a:pt x="100" y="138"/>
                  </a:lnTo>
                  <a:lnTo>
                    <a:pt x="112" y="123"/>
                  </a:lnTo>
                  <a:lnTo>
                    <a:pt x="109" y="138"/>
                  </a:lnTo>
                  <a:close/>
                  <a:moveTo>
                    <a:pt x="22" y="154"/>
                  </a:moveTo>
                  <a:lnTo>
                    <a:pt x="22" y="154"/>
                  </a:lnTo>
                  <a:lnTo>
                    <a:pt x="0" y="171"/>
                  </a:lnTo>
                  <a:lnTo>
                    <a:pt x="7" y="157"/>
                  </a:lnTo>
                  <a:lnTo>
                    <a:pt x="19" y="147"/>
                  </a:lnTo>
                  <a:lnTo>
                    <a:pt x="29" y="138"/>
                  </a:lnTo>
                  <a:lnTo>
                    <a:pt x="36" y="121"/>
                  </a:lnTo>
                  <a:lnTo>
                    <a:pt x="41" y="133"/>
                  </a:lnTo>
                  <a:lnTo>
                    <a:pt x="29" y="142"/>
                  </a:lnTo>
                  <a:lnTo>
                    <a:pt x="22" y="154"/>
                  </a:lnTo>
                  <a:close/>
                  <a:moveTo>
                    <a:pt x="76" y="112"/>
                  </a:moveTo>
                  <a:lnTo>
                    <a:pt x="76" y="112"/>
                  </a:lnTo>
                  <a:lnTo>
                    <a:pt x="86" y="116"/>
                  </a:lnTo>
                  <a:lnTo>
                    <a:pt x="95" y="116"/>
                  </a:lnTo>
                  <a:lnTo>
                    <a:pt x="95" y="123"/>
                  </a:lnTo>
                  <a:lnTo>
                    <a:pt x="88" y="131"/>
                  </a:lnTo>
                  <a:lnTo>
                    <a:pt x="78" y="135"/>
                  </a:lnTo>
                  <a:lnTo>
                    <a:pt x="78" y="128"/>
                  </a:lnTo>
                  <a:lnTo>
                    <a:pt x="78" y="119"/>
                  </a:lnTo>
                  <a:lnTo>
                    <a:pt x="76" y="112"/>
                  </a:lnTo>
                  <a:close/>
                  <a:moveTo>
                    <a:pt x="133" y="107"/>
                  </a:moveTo>
                  <a:lnTo>
                    <a:pt x="133" y="107"/>
                  </a:lnTo>
                  <a:lnTo>
                    <a:pt x="138" y="126"/>
                  </a:lnTo>
                  <a:lnTo>
                    <a:pt x="126" y="121"/>
                  </a:lnTo>
                  <a:lnTo>
                    <a:pt x="126" y="128"/>
                  </a:lnTo>
                  <a:lnTo>
                    <a:pt x="130" y="138"/>
                  </a:lnTo>
                  <a:lnTo>
                    <a:pt x="123" y="140"/>
                  </a:lnTo>
                  <a:lnTo>
                    <a:pt x="121" y="128"/>
                  </a:lnTo>
                  <a:lnTo>
                    <a:pt x="116" y="128"/>
                  </a:lnTo>
                  <a:lnTo>
                    <a:pt x="114" y="119"/>
                  </a:lnTo>
                  <a:lnTo>
                    <a:pt x="123" y="119"/>
                  </a:lnTo>
                  <a:lnTo>
                    <a:pt x="123" y="114"/>
                  </a:lnTo>
                  <a:lnTo>
                    <a:pt x="114" y="100"/>
                  </a:lnTo>
                  <a:lnTo>
                    <a:pt x="128" y="102"/>
                  </a:lnTo>
                  <a:lnTo>
                    <a:pt x="133" y="107"/>
                  </a:lnTo>
                  <a:close/>
                  <a:moveTo>
                    <a:pt x="69" y="93"/>
                  </a:moveTo>
                  <a:lnTo>
                    <a:pt x="69" y="93"/>
                  </a:lnTo>
                  <a:lnTo>
                    <a:pt x="64" y="107"/>
                  </a:lnTo>
                  <a:lnTo>
                    <a:pt x="60" y="97"/>
                  </a:lnTo>
                  <a:lnTo>
                    <a:pt x="50" y="86"/>
                  </a:lnTo>
                  <a:lnTo>
                    <a:pt x="64" y="86"/>
                  </a:lnTo>
                  <a:lnTo>
                    <a:pt x="69" y="93"/>
                  </a:lnTo>
                  <a:close/>
                  <a:moveTo>
                    <a:pt x="67" y="0"/>
                  </a:moveTo>
                  <a:lnTo>
                    <a:pt x="67" y="0"/>
                  </a:lnTo>
                  <a:lnTo>
                    <a:pt x="76" y="5"/>
                  </a:lnTo>
                  <a:lnTo>
                    <a:pt x="81" y="0"/>
                  </a:lnTo>
                  <a:lnTo>
                    <a:pt x="83" y="5"/>
                  </a:lnTo>
                  <a:lnTo>
                    <a:pt x="81" y="12"/>
                  </a:lnTo>
                  <a:lnTo>
                    <a:pt x="86" y="24"/>
                  </a:lnTo>
                  <a:lnTo>
                    <a:pt x="81" y="38"/>
                  </a:lnTo>
                  <a:lnTo>
                    <a:pt x="71" y="45"/>
                  </a:lnTo>
                  <a:lnTo>
                    <a:pt x="69" y="60"/>
                  </a:lnTo>
                  <a:lnTo>
                    <a:pt x="74" y="71"/>
                  </a:lnTo>
                  <a:lnTo>
                    <a:pt x="81" y="74"/>
                  </a:lnTo>
                  <a:lnTo>
                    <a:pt x="88" y="71"/>
                  </a:lnTo>
                  <a:lnTo>
                    <a:pt x="109" y="81"/>
                  </a:lnTo>
                  <a:lnTo>
                    <a:pt x="107" y="90"/>
                  </a:lnTo>
                  <a:lnTo>
                    <a:pt x="112" y="93"/>
                  </a:lnTo>
                  <a:lnTo>
                    <a:pt x="112" y="102"/>
                  </a:lnTo>
                  <a:lnTo>
                    <a:pt x="97" y="93"/>
                  </a:lnTo>
                  <a:lnTo>
                    <a:pt x="93" y="86"/>
                  </a:lnTo>
                  <a:lnTo>
                    <a:pt x="88" y="90"/>
                  </a:lnTo>
                  <a:lnTo>
                    <a:pt x="78" y="81"/>
                  </a:lnTo>
                  <a:lnTo>
                    <a:pt x="62" y="83"/>
                  </a:lnTo>
                  <a:lnTo>
                    <a:pt x="55" y="78"/>
                  </a:lnTo>
                  <a:lnTo>
                    <a:pt x="57" y="71"/>
                  </a:lnTo>
                  <a:lnTo>
                    <a:pt x="62" y="67"/>
                  </a:lnTo>
                  <a:lnTo>
                    <a:pt x="57" y="64"/>
                  </a:lnTo>
                  <a:lnTo>
                    <a:pt x="55" y="69"/>
                  </a:lnTo>
                  <a:lnTo>
                    <a:pt x="48" y="62"/>
                  </a:lnTo>
                  <a:lnTo>
                    <a:pt x="43" y="52"/>
                  </a:lnTo>
                  <a:lnTo>
                    <a:pt x="43" y="38"/>
                  </a:lnTo>
                  <a:lnTo>
                    <a:pt x="50" y="43"/>
                  </a:lnTo>
                  <a:lnTo>
                    <a:pt x="52" y="17"/>
                  </a:lnTo>
                  <a:lnTo>
                    <a:pt x="57" y="0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65" name="Freeform 250">
              <a:extLst>
                <a:ext uri="{FF2B5EF4-FFF2-40B4-BE49-F238E27FC236}">
                  <a16:creationId xmlns:a16="http://schemas.microsoft.com/office/drawing/2014/main" id="{9799BBC2-ABA9-95FA-42A9-8436F49ABE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12755" y="3220063"/>
              <a:ext cx="262753" cy="146438"/>
            </a:xfrm>
            <a:custGeom>
              <a:avLst/>
              <a:gdLst>
                <a:gd name="T0" fmla="*/ 241 w 244"/>
                <a:gd name="T1" fmla="*/ 71 h 134"/>
                <a:gd name="T2" fmla="*/ 229 w 244"/>
                <a:gd name="T3" fmla="*/ 66 h 134"/>
                <a:gd name="T4" fmla="*/ 218 w 244"/>
                <a:gd name="T5" fmla="*/ 42 h 134"/>
                <a:gd name="T6" fmla="*/ 222 w 244"/>
                <a:gd name="T7" fmla="*/ 47 h 134"/>
                <a:gd name="T8" fmla="*/ 234 w 244"/>
                <a:gd name="T9" fmla="*/ 59 h 134"/>
                <a:gd name="T10" fmla="*/ 241 w 244"/>
                <a:gd name="T11" fmla="*/ 71 h 134"/>
                <a:gd name="T12" fmla="*/ 177 w 244"/>
                <a:gd name="T13" fmla="*/ 49 h 134"/>
                <a:gd name="T14" fmla="*/ 168 w 244"/>
                <a:gd name="T15" fmla="*/ 54 h 134"/>
                <a:gd name="T16" fmla="*/ 149 w 244"/>
                <a:gd name="T17" fmla="*/ 61 h 134"/>
                <a:gd name="T18" fmla="*/ 128 w 244"/>
                <a:gd name="T19" fmla="*/ 56 h 134"/>
                <a:gd name="T20" fmla="*/ 118 w 244"/>
                <a:gd name="T21" fmla="*/ 47 h 134"/>
                <a:gd name="T22" fmla="*/ 142 w 244"/>
                <a:gd name="T23" fmla="*/ 49 h 134"/>
                <a:gd name="T24" fmla="*/ 147 w 244"/>
                <a:gd name="T25" fmla="*/ 40 h 134"/>
                <a:gd name="T26" fmla="*/ 158 w 244"/>
                <a:gd name="T27" fmla="*/ 47 h 134"/>
                <a:gd name="T28" fmla="*/ 173 w 244"/>
                <a:gd name="T29" fmla="*/ 37 h 134"/>
                <a:gd name="T30" fmla="*/ 180 w 244"/>
                <a:gd name="T31" fmla="*/ 26 h 134"/>
                <a:gd name="T32" fmla="*/ 182 w 244"/>
                <a:gd name="T33" fmla="*/ 37 h 134"/>
                <a:gd name="T34" fmla="*/ 99 w 244"/>
                <a:gd name="T35" fmla="*/ 80 h 134"/>
                <a:gd name="T36" fmla="*/ 113 w 244"/>
                <a:gd name="T37" fmla="*/ 90 h 134"/>
                <a:gd name="T38" fmla="*/ 135 w 244"/>
                <a:gd name="T39" fmla="*/ 106 h 134"/>
                <a:gd name="T40" fmla="*/ 147 w 244"/>
                <a:gd name="T41" fmla="*/ 118 h 134"/>
                <a:gd name="T42" fmla="*/ 158 w 244"/>
                <a:gd name="T43" fmla="*/ 127 h 134"/>
                <a:gd name="T44" fmla="*/ 147 w 244"/>
                <a:gd name="T45" fmla="*/ 134 h 134"/>
                <a:gd name="T46" fmla="*/ 128 w 244"/>
                <a:gd name="T47" fmla="*/ 127 h 134"/>
                <a:gd name="T48" fmla="*/ 99 w 244"/>
                <a:gd name="T49" fmla="*/ 113 h 134"/>
                <a:gd name="T50" fmla="*/ 80 w 244"/>
                <a:gd name="T51" fmla="*/ 90 h 134"/>
                <a:gd name="T52" fmla="*/ 47 w 244"/>
                <a:gd name="T53" fmla="*/ 87 h 134"/>
                <a:gd name="T54" fmla="*/ 38 w 244"/>
                <a:gd name="T55" fmla="*/ 106 h 134"/>
                <a:gd name="T56" fmla="*/ 17 w 244"/>
                <a:gd name="T57" fmla="*/ 108 h 134"/>
                <a:gd name="T58" fmla="*/ 0 w 244"/>
                <a:gd name="T59" fmla="*/ 54 h 134"/>
                <a:gd name="T60" fmla="*/ 28 w 244"/>
                <a:gd name="T61" fmla="*/ 11 h 134"/>
                <a:gd name="T62" fmla="*/ 69 w 244"/>
                <a:gd name="T63" fmla="*/ 30 h 134"/>
                <a:gd name="T64" fmla="*/ 80 w 244"/>
                <a:gd name="T65" fmla="*/ 49 h 134"/>
                <a:gd name="T66" fmla="*/ 111 w 244"/>
                <a:gd name="T67" fmla="*/ 66 h 134"/>
                <a:gd name="T68" fmla="*/ 99 w 244"/>
                <a:gd name="T69" fmla="*/ 80 h 134"/>
                <a:gd name="T70" fmla="*/ 196 w 244"/>
                <a:gd name="T71" fmla="*/ 33 h 134"/>
                <a:gd name="T72" fmla="*/ 187 w 244"/>
                <a:gd name="T73" fmla="*/ 28 h 134"/>
                <a:gd name="T74" fmla="*/ 177 w 244"/>
                <a:gd name="T75" fmla="*/ 16 h 134"/>
                <a:gd name="T76" fmla="*/ 156 w 244"/>
                <a:gd name="T77" fmla="*/ 4 h 134"/>
                <a:gd name="T78" fmla="*/ 168 w 244"/>
                <a:gd name="T79" fmla="*/ 4 h 134"/>
                <a:gd name="T80" fmla="*/ 182 w 244"/>
                <a:gd name="T81" fmla="*/ 11 h 134"/>
                <a:gd name="T82" fmla="*/ 194 w 244"/>
                <a:gd name="T83" fmla="*/ 2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44" h="134">
                  <a:moveTo>
                    <a:pt x="241" y="71"/>
                  </a:moveTo>
                  <a:lnTo>
                    <a:pt x="241" y="71"/>
                  </a:lnTo>
                  <a:lnTo>
                    <a:pt x="236" y="73"/>
                  </a:lnTo>
                  <a:lnTo>
                    <a:pt x="229" y="66"/>
                  </a:lnTo>
                  <a:lnTo>
                    <a:pt x="222" y="54"/>
                  </a:lnTo>
                  <a:lnTo>
                    <a:pt x="218" y="42"/>
                  </a:lnTo>
                  <a:lnTo>
                    <a:pt x="220" y="40"/>
                  </a:lnTo>
                  <a:lnTo>
                    <a:pt x="222" y="47"/>
                  </a:lnTo>
                  <a:lnTo>
                    <a:pt x="227" y="49"/>
                  </a:lnTo>
                  <a:lnTo>
                    <a:pt x="234" y="59"/>
                  </a:lnTo>
                  <a:lnTo>
                    <a:pt x="244" y="66"/>
                  </a:lnTo>
                  <a:lnTo>
                    <a:pt x="241" y="71"/>
                  </a:lnTo>
                  <a:close/>
                  <a:moveTo>
                    <a:pt x="177" y="49"/>
                  </a:moveTo>
                  <a:lnTo>
                    <a:pt x="177" y="49"/>
                  </a:lnTo>
                  <a:lnTo>
                    <a:pt x="168" y="49"/>
                  </a:lnTo>
                  <a:lnTo>
                    <a:pt x="168" y="54"/>
                  </a:lnTo>
                  <a:lnTo>
                    <a:pt x="158" y="59"/>
                  </a:lnTo>
                  <a:lnTo>
                    <a:pt x="149" y="61"/>
                  </a:lnTo>
                  <a:lnTo>
                    <a:pt x="139" y="61"/>
                  </a:lnTo>
                  <a:lnTo>
                    <a:pt x="128" y="56"/>
                  </a:lnTo>
                  <a:lnTo>
                    <a:pt x="118" y="54"/>
                  </a:lnTo>
                  <a:lnTo>
                    <a:pt x="118" y="47"/>
                  </a:lnTo>
                  <a:lnTo>
                    <a:pt x="135" y="49"/>
                  </a:lnTo>
                  <a:lnTo>
                    <a:pt x="142" y="49"/>
                  </a:lnTo>
                  <a:lnTo>
                    <a:pt x="144" y="40"/>
                  </a:lnTo>
                  <a:lnTo>
                    <a:pt x="147" y="40"/>
                  </a:lnTo>
                  <a:lnTo>
                    <a:pt x="149" y="49"/>
                  </a:lnTo>
                  <a:lnTo>
                    <a:pt x="158" y="47"/>
                  </a:lnTo>
                  <a:lnTo>
                    <a:pt x="163" y="42"/>
                  </a:lnTo>
                  <a:lnTo>
                    <a:pt x="173" y="37"/>
                  </a:lnTo>
                  <a:lnTo>
                    <a:pt x="170" y="28"/>
                  </a:lnTo>
                  <a:lnTo>
                    <a:pt x="180" y="26"/>
                  </a:lnTo>
                  <a:lnTo>
                    <a:pt x="182" y="28"/>
                  </a:lnTo>
                  <a:lnTo>
                    <a:pt x="182" y="37"/>
                  </a:lnTo>
                  <a:lnTo>
                    <a:pt x="177" y="49"/>
                  </a:lnTo>
                  <a:close/>
                  <a:moveTo>
                    <a:pt x="99" y="80"/>
                  </a:moveTo>
                  <a:lnTo>
                    <a:pt x="99" y="80"/>
                  </a:lnTo>
                  <a:lnTo>
                    <a:pt x="113" y="90"/>
                  </a:lnTo>
                  <a:lnTo>
                    <a:pt x="125" y="106"/>
                  </a:lnTo>
                  <a:lnTo>
                    <a:pt x="135" y="106"/>
                  </a:lnTo>
                  <a:lnTo>
                    <a:pt x="135" y="113"/>
                  </a:lnTo>
                  <a:lnTo>
                    <a:pt x="147" y="118"/>
                  </a:lnTo>
                  <a:lnTo>
                    <a:pt x="139" y="120"/>
                  </a:lnTo>
                  <a:lnTo>
                    <a:pt x="158" y="127"/>
                  </a:lnTo>
                  <a:lnTo>
                    <a:pt x="156" y="132"/>
                  </a:lnTo>
                  <a:lnTo>
                    <a:pt x="147" y="134"/>
                  </a:lnTo>
                  <a:lnTo>
                    <a:pt x="142" y="130"/>
                  </a:lnTo>
                  <a:lnTo>
                    <a:pt x="128" y="127"/>
                  </a:lnTo>
                  <a:lnTo>
                    <a:pt x="111" y="125"/>
                  </a:lnTo>
                  <a:lnTo>
                    <a:pt x="99" y="113"/>
                  </a:lnTo>
                  <a:lnTo>
                    <a:pt x="90" y="106"/>
                  </a:lnTo>
                  <a:lnTo>
                    <a:pt x="80" y="90"/>
                  </a:lnTo>
                  <a:lnTo>
                    <a:pt x="59" y="82"/>
                  </a:lnTo>
                  <a:lnTo>
                    <a:pt x="47" y="87"/>
                  </a:lnTo>
                  <a:lnTo>
                    <a:pt x="35" y="94"/>
                  </a:lnTo>
                  <a:lnTo>
                    <a:pt x="38" y="106"/>
                  </a:lnTo>
                  <a:lnTo>
                    <a:pt x="26" y="111"/>
                  </a:lnTo>
                  <a:lnTo>
                    <a:pt x="17" y="108"/>
                  </a:lnTo>
                  <a:lnTo>
                    <a:pt x="0" y="106"/>
                  </a:lnTo>
                  <a:lnTo>
                    <a:pt x="0" y="54"/>
                  </a:lnTo>
                  <a:lnTo>
                    <a:pt x="0" y="2"/>
                  </a:lnTo>
                  <a:lnTo>
                    <a:pt x="28" y="11"/>
                  </a:lnTo>
                  <a:lnTo>
                    <a:pt x="57" y="23"/>
                  </a:lnTo>
                  <a:lnTo>
                    <a:pt x="69" y="30"/>
                  </a:lnTo>
                  <a:lnTo>
                    <a:pt x="78" y="37"/>
                  </a:lnTo>
                  <a:lnTo>
                    <a:pt x="80" y="49"/>
                  </a:lnTo>
                  <a:lnTo>
                    <a:pt x="106" y="59"/>
                  </a:lnTo>
                  <a:lnTo>
                    <a:pt x="111" y="66"/>
                  </a:lnTo>
                  <a:lnTo>
                    <a:pt x="97" y="68"/>
                  </a:lnTo>
                  <a:lnTo>
                    <a:pt x="99" y="80"/>
                  </a:lnTo>
                  <a:close/>
                  <a:moveTo>
                    <a:pt x="196" y="33"/>
                  </a:moveTo>
                  <a:lnTo>
                    <a:pt x="196" y="33"/>
                  </a:lnTo>
                  <a:lnTo>
                    <a:pt x="192" y="37"/>
                  </a:lnTo>
                  <a:lnTo>
                    <a:pt x="187" y="28"/>
                  </a:lnTo>
                  <a:lnTo>
                    <a:pt x="184" y="21"/>
                  </a:lnTo>
                  <a:lnTo>
                    <a:pt x="177" y="16"/>
                  </a:lnTo>
                  <a:lnTo>
                    <a:pt x="168" y="9"/>
                  </a:lnTo>
                  <a:lnTo>
                    <a:pt x="156" y="4"/>
                  </a:lnTo>
                  <a:lnTo>
                    <a:pt x="161" y="0"/>
                  </a:lnTo>
                  <a:lnTo>
                    <a:pt x="168" y="4"/>
                  </a:lnTo>
                  <a:lnTo>
                    <a:pt x="175" y="7"/>
                  </a:lnTo>
                  <a:lnTo>
                    <a:pt x="182" y="11"/>
                  </a:lnTo>
                  <a:lnTo>
                    <a:pt x="187" y="19"/>
                  </a:lnTo>
                  <a:lnTo>
                    <a:pt x="194" y="23"/>
                  </a:lnTo>
                  <a:lnTo>
                    <a:pt x="196" y="33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66" name="Freeform 254">
              <a:extLst>
                <a:ext uri="{FF2B5EF4-FFF2-40B4-BE49-F238E27FC236}">
                  <a16:creationId xmlns:a16="http://schemas.microsoft.com/office/drawing/2014/main" id="{66FDB3FD-40ED-29AB-1AB7-F2C7E22AD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0519" y="2844133"/>
              <a:ext cx="27999" cy="10928"/>
            </a:xfrm>
            <a:custGeom>
              <a:avLst/>
              <a:gdLst>
                <a:gd name="T0" fmla="*/ 26 w 26"/>
                <a:gd name="T1" fmla="*/ 5 h 10"/>
                <a:gd name="T2" fmla="*/ 26 w 26"/>
                <a:gd name="T3" fmla="*/ 5 h 10"/>
                <a:gd name="T4" fmla="*/ 24 w 26"/>
                <a:gd name="T5" fmla="*/ 10 h 10"/>
                <a:gd name="T6" fmla="*/ 9 w 26"/>
                <a:gd name="T7" fmla="*/ 10 h 10"/>
                <a:gd name="T8" fmla="*/ 0 w 26"/>
                <a:gd name="T9" fmla="*/ 10 h 10"/>
                <a:gd name="T10" fmla="*/ 0 w 26"/>
                <a:gd name="T11" fmla="*/ 3 h 10"/>
                <a:gd name="T12" fmla="*/ 2 w 26"/>
                <a:gd name="T13" fmla="*/ 0 h 10"/>
                <a:gd name="T14" fmla="*/ 17 w 26"/>
                <a:gd name="T15" fmla="*/ 0 h 10"/>
                <a:gd name="T16" fmla="*/ 24 w 26"/>
                <a:gd name="T17" fmla="*/ 3 h 10"/>
                <a:gd name="T18" fmla="*/ 26 w 26"/>
                <a:gd name="T19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0">
                  <a:moveTo>
                    <a:pt x="26" y="5"/>
                  </a:moveTo>
                  <a:lnTo>
                    <a:pt x="26" y="5"/>
                  </a:lnTo>
                  <a:lnTo>
                    <a:pt x="24" y="10"/>
                  </a:lnTo>
                  <a:lnTo>
                    <a:pt x="9" y="10"/>
                  </a:lnTo>
                  <a:lnTo>
                    <a:pt x="0" y="10"/>
                  </a:lnTo>
                  <a:lnTo>
                    <a:pt x="0" y="3"/>
                  </a:lnTo>
                  <a:lnTo>
                    <a:pt x="2" y="0"/>
                  </a:lnTo>
                  <a:lnTo>
                    <a:pt x="17" y="0"/>
                  </a:lnTo>
                  <a:lnTo>
                    <a:pt x="24" y="3"/>
                  </a:lnTo>
                  <a:lnTo>
                    <a:pt x="26" y="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67" name="Freeform 256">
              <a:extLst>
                <a:ext uri="{FF2B5EF4-FFF2-40B4-BE49-F238E27FC236}">
                  <a16:creationId xmlns:a16="http://schemas.microsoft.com/office/drawing/2014/main" id="{F1937374-6483-0DD5-8BE7-55BA5A337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9849" y="2336906"/>
              <a:ext cx="114147" cy="121303"/>
            </a:xfrm>
            <a:custGeom>
              <a:avLst/>
              <a:gdLst>
                <a:gd name="T0" fmla="*/ 104 w 106"/>
                <a:gd name="T1" fmla="*/ 12 h 111"/>
                <a:gd name="T2" fmla="*/ 104 w 106"/>
                <a:gd name="T3" fmla="*/ 12 h 111"/>
                <a:gd name="T4" fmla="*/ 106 w 106"/>
                <a:gd name="T5" fmla="*/ 16 h 111"/>
                <a:gd name="T6" fmla="*/ 99 w 106"/>
                <a:gd name="T7" fmla="*/ 14 h 111"/>
                <a:gd name="T8" fmla="*/ 92 w 106"/>
                <a:gd name="T9" fmla="*/ 21 h 111"/>
                <a:gd name="T10" fmla="*/ 87 w 106"/>
                <a:gd name="T11" fmla="*/ 28 h 111"/>
                <a:gd name="T12" fmla="*/ 87 w 106"/>
                <a:gd name="T13" fmla="*/ 45 h 111"/>
                <a:gd name="T14" fmla="*/ 80 w 106"/>
                <a:gd name="T15" fmla="*/ 50 h 111"/>
                <a:gd name="T16" fmla="*/ 76 w 106"/>
                <a:gd name="T17" fmla="*/ 52 h 111"/>
                <a:gd name="T18" fmla="*/ 71 w 106"/>
                <a:gd name="T19" fmla="*/ 59 h 111"/>
                <a:gd name="T20" fmla="*/ 59 w 106"/>
                <a:gd name="T21" fmla="*/ 61 h 111"/>
                <a:gd name="T22" fmla="*/ 52 w 106"/>
                <a:gd name="T23" fmla="*/ 66 h 111"/>
                <a:gd name="T24" fmla="*/ 52 w 106"/>
                <a:gd name="T25" fmla="*/ 78 h 111"/>
                <a:gd name="T26" fmla="*/ 50 w 106"/>
                <a:gd name="T27" fmla="*/ 78 h 111"/>
                <a:gd name="T28" fmla="*/ 57 w 106"/>
                <a:gd name="T29" fmla="*/ 83 h 111"/>
                <a:gd name="T30" fmla="*/ 66 w 106"/>
                <a:gd name="T31" fmla="*/ 92 h 111"/>
                <a:gd name="T32" fmla="*/ 64 w 106"/>
                <a:gd name="T33" fmla="*/ 97 h 111"/>
                <a:gd name="T34" fmla="*/ 57 w 106"/>
                <a:gd name="T35" fmla="*/ 97 h 111"/>
                <a:gd name="T36" fmla="*/ 47 w 106"/>
                <a:gd name="T37" fmla="*/ 97 h 111"/>
                <a:gd name="T38" fmla="*/ 40 w 106"/>
                <a:gd name="T39" fmla="*/ 109 h 111"/>
                <a:gd name="T40" fmla="*/ 31 w 106"/>
                <a:gd name="T41" fmla="*/ 106 h 111"/>
                <a:gd name="T42" fmla="*/ 31 w 106"/>
                <a:gd name="T43" fmla="*/ 109 h 111"/>
                <a:gd name="T44" fmla="*/ 24 w 106"/>
                <a:gd name="T45" fmla="*/ 104 h 111"/>
                <a:gd name="T46" fmla="*/ 21 w 106"/>
                <a:gd name="T47" fmla="*/ 109 h 111"/>
                <a:gd name="T48" fmla="*/ 16 w 106"/>
                <a:gd name="T49" fmla="*/ 111 h 111"/>
                <a:gd name="T50" fmla="*/ 16 w 106"/>
                <a:gd name="T51" fmla="*/ 106 h 111"/>
                <a:gd name="T52" fmla="*/ 12 w 106"/>
                <a:gd name="T53" fmla="*/ 104 h 111"/>
                <a:gd name="T54" fmla="*/ 7 w 106"/>
                <a:gd name="T55" fmla="*/ 102 h 111"/>
                <a:gd name="T56" fmla="*/ 12 w 106"/>
                <a:gd name="T57" fmla="*/ 92 h 111"/>
                <a:gd name="T58" fmla="*/ 16 w 106"/>
                <a:gd name="T59" fmla="*/ 90 h 111"/>
                <a:gd name="T60" fmla="*/ 14 w 106"/>
                <a:gd name="T61" fmla="*/ 85 h 111"/>
                <a:gd name="T62" fmla="*/ 19 w 106"/>
                <a:gd name="T63" fmla="*/ 76 h 111"/>
                <a:gd name="T64" fmla="*/ 16 w 106"/>
                <a:gd name="T65" fmla="*/ 71 h 111"/>
                <a:gd name="T66" fmla="*/ 7 w 106"/>
                <a:gd name="T67" fmla="*/ 68 h 111"/>
                <a:gd name="T68" fmla="*/ 0 w 106"/>
                <a:gd name="T69" fmla="*/ 64 h 111"/>
                <a:gd name="T70" fmla="*/ 14 w 106"/>
                <a:gd name="T71" fmla="*/ 52 h 111"/>
                <a:gd name="T72" fmla="*/ 31 w 106"/>
                <a:gd name="T73" fmla="*/ 40 h 111"/>
                <a:gd name="T74" fmla="*/ 43 w 106"/>
                <a:gd name="T75" fmla="*/ 23 h 111"/>
                <a:gd name="T76" fmla="*/ 50 w 106"/>
                <a:gd name="T77" fmla="*/ 31 h 111"/>
                <a:gd name="T78" fmla="*/ 64 w 106"/>
                <a:gd name="T79" fmla="*/ 31 h 111"/>
                <a:gd name="T80" fmla="*/ 61 w 106"/>
                <a:gd name="T81" fmla="*/ 21 h 111"/>
                <a:gd name="T82" fmla="*/ 87 w 106"/>
                <a:gd name="T83" fmla="*/ 12 h 111"/>
                <a:gd name="T84" fmla="*/ 92 w 106"/>
                <a:gd name="T85" fmla="*/ 0 h 111"/>
                <a:gd name="T86" fmla="*/ 104 w 106"/>
                <a:gd name="T87" fmla="*/ 12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6" h="111">
                  <a:moveTo>
                    <a:pt x="104" y="12"/>
                  </a:moveTo>
                  <a:lnTo>
                    <a:pt x="104" y="12"/>
                  </a:lnTo>
                  <a:lnTo>
                    <a:pt x="106" y="16"/>
                  </a:lnTo>
                  <a:lnTo>
                    <a:pt x="99" y="14"/>
                  </a:lnTo>
                  <a:lnTo>
                    <a:pt x="92" y="21"/>
                  </a:lnTo>
                  <a:lnTo>
                    <a:pt x="87" y="28"/>
                  </a:lnTo>
                  <a:lnTo>
                    <a:pt x="87" y="45"/>
                  </a:lnTo>
                  <a:lnTo>
                    <a:pt x="80" y="50"/>
                  </a:lnTo>
                  <a:lnTo>
                    <a:pt x="76" y="52"/>
                  </a:lnTo>
                  <a:lnTo>
                    <a:pt x="71" y="59"/>
                  </a:lnTo>
                  <a:lnTo>
                    <a:pt x="59" y="61"/>
                  </a:lnTo>
                  <a:lnTo>
                    <a:pt x="52" y="66"/>
                  </a:lnTo>
                  <a:lnTo>
                    <a:pt x="52" y="78"/>
                  </a:lnTo>
                  <a:lnTo>
                    <a:pt x="50" y="78"/>
                  </a:lnTo>
                  <a:lnTo>
                    <a:pt x="57" y="83"/>
                  </a:lnTo>
                  <a:lnTo>
                    <a:pt x="66" y="92"/>
                  </a:lnTo>
                  <a:lnTo>
                    <a:pt x="64" y="97"/>
                  </a:lnTo>
                  <a:lnTo>
                    <a:pt x="57" y="97"/>
                  </a:lnTo>
                  <a:lnTo>
                    <a:pt x="47" y="97"/>
                  </a:lnTo>
                  <a:lnTo>
                    <a:pt x="40" y="109"/>
                  </a:lnTo>
                  <a:lnTo>
                    <a:pt x="31" y="106"/>
                  </a:lnTo>
                  <a:lnTo>
                    <a:pt x="31" y="109"/>
                  </a:lnTo>
                  <a:lnTo>
                    <a:pt x="24" y="104"/>
                  </a:lnTo>
                  <a:lnTo>
                    <a:pt x="21" y="109"/>
                  </a:lnTo>
                  <a:lnTo>
                    <a:pt x="16" y="111"/>
                  </a:lnTo>
                  <a:lnTo>
                    <a:pt x="16" y="106"/>
                  </a:lnTo>
                  <a:lnTo>
                    <a:pt x="12" y="104"/>
                  </a:lnTo>
                  <a:lnTo>
                    <a:pt x="7" y="102"/>
                  </a:lnTo>
                  <a:lnTo>
                    <a:pt x="12" y="92"/>
                  </a:lnTo>
                  <a:lnTo>
                    <a:pt x="16" y="90"/>
                  </a:lnTo>
                  <a:lnTo>
                    <a:pt x="14" y="85"/>
                  </a:lnTo>
                  <a:lnTo>
                    <a:pt x="19" y="76"/>
                  </a:lnTo>
                  <a:lnTo>
                    <a:pt x="16" y="71"/>
                  </a:lnTo>
                  <a:lnTo>
                    <a:pt x="7" y="68"/>
                  </a:lnTo>
                  <a:lnTo>
                    <a:pt x="0" y="64"/>
                  </a:lnTo>
                  <a:lnTo>
                    <a:pt x="14" y="52"/>
                  </a:lnTo>
                  <a:lnTo>
                    <a:pt x="31" y="40"/>
                  </a:lnTo>
                  <a:lnTo>
                    <a:pt x="43" y="23"/>
                  </a:lnTo>
                  <a:lnTo>
                    <a:pt x="50" y="31"/>
                  </a:lnTo>
                  <a:lnTo>
                    <a:pt x="64" y="31"/>
                  </a:lnTo>
                  <a:lnTo>
                    <a:pt x="61" y="21"/>
                  </a:lnTo>
                  <a:lnTo>
                    <a:pt x="87" y="12"/>
                  </a:lnTo>
                  <a:lnTo>
                    <a:pt x="92" y="0"/>
                  </a:lnTo>
                  <a:lnTo>
                    <a:pt x="104" y="1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68" name="Freeform 258">
              <a:extLst>
                <a:ext uri="{FF2B5EF4-FFF2-40B4-BE49-F238E27FC236}">
                  <a16:creationId xmlns:a16="http://schemas.microsoft.com/office/drawing/2014/main" id="{42B45B7E-A8E4-245D-E941-6A7CF8FCBDB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6304" y="2355641"/>
              <a:ext cx="55997" cy="124582"/>
            </a:xfrm>
            <a:custGeom>
              <a:avLst/>
              <a:gdLst>
                <a:gd name="T0" fmla="*/ 22 w 52"/>
                <a:gd name="T1" fmla="*/ 0 h 114"/>
                <a:gd name="T2" fmla="*/ 22 w 52"/>
                <a:gd name="T3" fmla="*/ 0 h 114"/>
                <a:gd name="T4" fmla="*/ 26 w 52"/>
                <a:gd name="T5" fmla="*/ 9 h 114"/>
                <a:gd name="T6" fmla="*/ 36 w 52"/>
                <a:gd name="T7" fmla="*/ 9 h 114"/>
                <a:gd name="T8" fmla="*/ 38 w 52"/>
                <a:gd name="T9" fmla="*/ 7 h 114"/>
                <a:gd name="T10" fmla="*/ 48 w 52"/>
                <a:gd name="T11" fmla="*/ 7 h 114"/>
                <a:gd name="T12" fmla="*/ 52 w 52"/>
                <a:gd name="T13" fmla="*/ 19 h 114"/>
                <a:gd name="T14" fmla="*/ 43 w 52"/>
                <a:gd name="T15" fmla="*/ 24 h 114"/>
                <a:gd name="T16" fmla="*/ 43 w 52"/>
                <a:gd name="T17" fmla="*/ 43 h 114"/>
                <a:gd name="T18" fmla="*/ 41 w 52"/>
                <a:gd name="T19" fmla="*/ 45 h 114"/>
                <a:gd name="T20" fmla="*/ 41 w 52"/>
                <a:gd name="T21" fmla="*/ 54 h 114"/>
                <a:gd name="T22" fmla="*/ 33 w 52"/>
                <a:gd name="T23" fmla="*/ 57 h 114"/>
                <a:gd name="T24" fmla="*/ 41 w 52"/>
                <a:gd name="T25" fmla="*/ 69 h 114"/>
                <a:gd name="T26" fmla="*/ 36 w 52"/>
                <a:gd name="T27" fmla="*/ 83 h 114"/>
                <a:gd name="T28" fmla="*/ 41 w 52"/>
                <a:gd name="T29" fmla="*/ 88 h 114"/>
                <a:gd name="T30" fmla="*/ 38 w 52"/>
                <a:gd name="T31" fmla="*/ 95 h 114"/>
                <a:gd name="T32" fmla="*/ 33 w 52"/>
                <a:gd name="T33" fmla="*/ 102 h 114"/>
                <a:gd name="T34" fmla="*/ 33 w 52"/>
                <a:gd name="T35" fmla="*/ 109 h 114"/>
                <a:gd name="T36" fmla="*/ 29 w 52"/>
                <a:gd name="T37" fmla="*/ 114 h 114"/>
                <a:gd name="T38" fmla="*/ 19 w 52"/>
                <a:gd name="T39" fmla="*/ 111 h 114"/>
                <a:gd name="T40" fmla="*/ 10 w 52"/>
                <a:gd name="T41" fmla="*/ 111 h 114"/>
                <a:gd name="T42" fmla="*/ 15 w 52"/>
                <a:gd name="T43" fmla="*/ 97 h 114"/>
                <a:gd name="T44" fmla="*/ 12 w 52"/>
                <a:gd name="T45" fmla="*/ 85 h 114"/>
                <a:gd name="T46" fmla="*/ 5 w 52"/>
                <a:gd name="T47" fmla="*/ 83 h 114"/>
                <a:gd name="T48" fmla="*/ 0 w 52"/>
                <a:gd name="T49" fmla="*/ 76 h 114"/>
                <a:gd name="T50" fmla="*/ 3 w 52"/>
                <a:gd name="T51" fmla="*/ 62 h 114"/>
                <a:gd name="T52" fmla="*/ 10 w 52"/>
                <a:gd name="T53" fmla="*/ 54 h 114"/>
                <a:gd name="T54" fmla="*/ 10 w 52"/>
                <a:gd name="T55" fmla="*/ 45 h 114"/>
                <a:gd name="T56" fmla="*/ 12 w 52"/>
                <a:gd name="T57" fmla="*/ 33 h 114"/>
                <a:gd name="T58" fmla="*/ 12 w 52"/>
                <a:gd name="T59" fmla="*/ 24 h 114"/>
                <a:gd name="T60" fmla="*/ 10 w 52"/>
                <a:gd name="T61" fmla="*/ 17 h 114"/>
                <a:gd name="T62" fmla="*/ 10 w 52"/>
                <a:gd name="T63" fmla="*/ 7 h 114"/>
                <a:gd name="T64" fmla="*/ 15 w 52"/>
                <a:gd name="T65" fmla="*/ 2 h 114"/>
                <a:gd name="T66" fmla="*/ 22 w 52"/>
                <a:gd name="T6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2" h="114">
                  <a:moveTo>
                    <a:pt x="22" y="0"/>
                  </a:moveTo>
                  <a:lnTo>
                    <a:pt x="22" y="0"/>
                  </a:lnTo>
                  <a:lnTo>
                    <a:pt x="26" y="9"/>
                  </a:lnTo>
                  <a:lnTo>
                    <a:pt x="36" y="9"/>
                  </a:lnTo>
                  <a:lnTo>
                    <a:pt x="38" y="7"/>
                  </a:lnTo>
                  <a:lnTo>
                    <a:pt x="48" y="7"/>
                  </a:lnTo>
                  <a:lnTo>
                    <a:pt x="52" y="19"/>
                  </a:lnTo>
                  <a:lnTo>
                    <a:pt x="43" y="24"/>
                  </a:lnTo>
                  <a:lnTo>
                    <a:pt x="43" y="43"/>
                  </a:lnTo>
                  <a:lnTo>
                    <a:pt x="41" y="45"/>
                  </a:lnTo>
                  <a:lnTo>
                    <a:pt x="41" y="54"/>
                  </a:lnTo>
                  <a:lnTo>
                    <a:pt x="33" y="57"/>
                  </a:lnTo>
                  <a:lnTo>
                    <a:pt x="41" y="69"/>
                  </a:lnTo>
                  <a:lnTo>
                    <a:pt x="36" y="83"/>
                  </a:lnTo>
                  <a:lnTo>
                    <a:pt x="41" y="88"/>
                  </a:lnTo>
                  <a:lnTo>
                    <a:pt x="38" y="95"/>
                  </a:lnTo>
                  <a:lnTo>
                    <a:pt x="33" y="102"/>
                  </a:lnTo>
                  <a:lnTo>
                    <a:pt x="33" y="109"/>
                  </a:lnTo>
                  <a:lnTo>
                    <a:pt x="29" y="114"/>
                  </a:lnTo>
                  <a:lnTo>
                    <a:pt x="19" y="111"/>
                  </a:lnTo>
                  <a:lnTo>
                    <a:pt x="10" y="111"/>
                  </a:lnTo>
                  <a:lnTo>
                    <a:pt x="15" y="97"/>
                  </a:lnTo>
                  <a:lnTo>
                    <a:pt x="12" y="85"/>
                  </a:lnTo>
                  <a:lnTo>
                    <a:pt x="5" y="83"/>
                  </a:lnTo>
                  <a:lnTo>
                    <a:pt x="0" y="76"/>
                  </a:lnTo>
                  <a:lnTo>
                    <a:pt x="3" y="62"/>
                  </a:lnTo>
                  <a:lnTo>
                    <a:pt x="10" y="54"/>
                  </a:lnTo>
                  <a:lnTo>
                    <a:pt x="10" y="45"/>
                  </a:lnTo>
                  <a:lnTo>
                    <a:pt x="12" y="33"/>
                  </a:lnTo>
                  <a:lnTo>
                    <a:pt x="12" y="24"/>
                  </a:lnTo>
                  <a:lnTo>
                    <a:pt x="10" y="17"/>
                  </a:lnTo>
                  <a:lnTo>
                    <a:pt x="10" y="7"/>
                  </a:lnTo>
                  <a:lnTo>
                    <a:pt x="15" y="2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69" name="Freeform 264">
              <a:extLst>
                <a:ext uri="{FF2B5EF4-FFF2-40B4-BE49-F238E27FC236}">
                  <a16:creationId xmlns:a16="http://schemas.microsoft.com/office/drawing/2014/main" id="{E25E8867-4C2B-B128-2B7A-C56612ACD99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8390" y="2702065"/>
              <a:ext cx="15075" cy="28413"/>
            </a:xfrm>
            <a:custGeom>
              <a:avLst/>
              <a:gdLst>
                <a:gd name="T0" fmla="*/ 10 w 14"/>
                <a:gd name="T1" fmla="*/ 24 h 26"/>
                <a:gd name="T2" fmla="*/ 10 w 14"/>
                <a:gd name="T3" fmla="*/ 24 h 26"/>
                <a:gd name="T4" fmla="*/ 5 w 14"/>
                <a:gd name="T5" fmla="*/ 26 h 26"/>
                <a:gd name="T6" fmla="*/ 0 w 14"/>
                <a:gd name="T7" fmla="*/ 21 h 26"/>
                <a:gd name="T8" fmla="*/ 0 w 14"/>
                <a:gd name="T9" fmla="*/ 10 h 26"/>
                <a:gd name="T10" fmla="*/ 3 w 14"/>
                <a:gd name="T11" fmla="*/ 0 h 26"/>
                <a:gd name="T12" fmla="*/ 7 w 14"/>
                <a:gd name="T13" fmla="*/ 0 h 26"/>
                <a:gd name="T14" fmla="*/ 14 w 14"/>
                <a:gd name="T15" fmla="*/ 5 h 26"/>
                <a:gd name="T16" fmla="*/ 14 w 14"/>
                <a:gd name="T17" fmla="*/ 14 h 26"/>
                <a:gd name="T18" fmla="*/ 10 w 14"/>
                <a:gd name="T19" fmla="*/ 2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26">
                  <a:moveTo>
                    <a:pt x="10" y="24"/>
                  </a:moveTo>
                  <a:lnTo>
                    <a:pt x="10" y="24"/>
                  </a:lnTo>
                  <a:lnTo>
                    <a:pt x="5" y="26"/>
                  </a:lnTo>
                  <a:lnTo>
                    <a:pt x="0" y="21"/>
                  </a:lnTo>
                  <a:lnTo>
                    <a:pt x="0" y="10"/>
                  </a:lnTo>
                  <a:lnTo>
                    <a:pt x="3" y="0"/>
                  </a:lnTo>
                  <a:lnTo>
                    <a:pt x="7" y="0"/>
                  </a:lnTo>
                  <a:lnTo>
                    <a:pt x="14" y="5"/>
                  </a:lnTo>
                  <a:lnTo>
                    <a:pt x="14" y="14"/>
                  </a:lnTo>
                  <a:lnTo>
                    <a:pt x="10" y="2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70" name="Freeform 270">
              <a:extLst>
                <a:ext uri="{FF2B5EF4-FFF2-40B4-BE49-F238E27FC236}">
                  <a16:creationId xmlns:a16="http://schemas.microsoft.com/office/drawing/2014/main" id="{3C77D23B-39BF-C3A0-E64B-368AC9E7025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3850" y="2671467"/>
              <a:ext cx="150760" cy="128954"/>
            </a:xfrm>
            <a:custGeom>
              <a:avLst/>
              <a:gdLst>
                <a:gd name="T0" fmla="*/ 138 w 140"/>
                <a:gd name="T1" fmla="*/ 5 h 118"/>
                <a:gd name="T2" fmla="*/ 138 w 140"/>
                <a:gd name="T3" fmla="*/ 5 h 118"/>
                <a:gd name="T4" fmla="*/ 138 w 140"/>
                <a:gd name="T5" fmla="*/ 31 h 118"/>
                <a:gd name="T6" fmla="*/ 83 w 140"/>
                <a:gd name="T7" fmla="*/ 31 h 118"/>
                <a:gd name="T8" fmla="*/ 85 w 140"/>
                <a:gd name="T9" fmla="*/ 76 h 118"/>
                <a:gd name="T10" fmla="*/ 71 w 140"/>
                <a:gd name="T11" fmla="*/ 78 h 118"/>
                <a:gd name="T12" fmla="*/ 67 w 140"/>
                <a:gd name="T13" fmla="*/ 85 h 118"/>
                <a:gd name="T14" fmla="*/ 69 w 140"/>
                <a:gd name="T15" fmla="*/ 111 h 118"/>
                <a:gd name="T16" fmla="*/ 5 w 140"/>
                <a:gd name="T17" fmla="*/ 111 h 118"/>
                <a:gd name="T18" fmla="*/ 0 w 140"/>
                <a:gd name="T19" fmla="*/ 118 h 118"/>
                <a:gd name="T20" fmla="*/ 3 w 140"/>
                <a:gd name="T21" fmla="*/ 109 h 118"/>
                <a:gd name="T22" fmla="*/ 3 w 140"/>
                <a:gd name="T23" fmla="*/ 109 h 118"/>
                <a:gd name="T24" fmla="*/ 38 w 140"/>
                <a:gd name="T25" fmla="*/ 109 h 118"/>
                <a:gd name="T26" fmla="*/ 41 w 140"/>
                <a:gd name="T27" fmla="*/ 104 h 118"/>
                <a:gd name="T28" fmla="*/ 48 w 140"/>
                <a:gd name="T29" fmla="*/ 94 h 118"/>
                <a:gd name="T30" fmla="*/ 52 w 140"/>
                <a:gd name="T31" fmla="*/ 71 h 118"/>
                <a:gd name="T32" fmla="*/ 76 w 140"/>
                <a:gd name="T33" fmla="*/ 52 h 118"/>
                <a:gd name="T34" fmla="*/ 83 w 140"/>
                <a:gd name="T35" fmla="*/ 28 h 118"/>
                <a:gd name="T36" fmla="*/ 88 w 140"/>
                <a:gd name="T37" fmla="*/ 28 h 118"/>
                <a:gd name="T38" fmla="*/ 95 w 140"/>
                <a:gd name="T39" fmla="*/ 14 h 118"/>
                <a:gd name="T40" fmla="*/ 107 w 140"/>
                <a:gd name="T41" fmla="*/ 12 h 118"/>
                <a:gd name="T42" fmla="*/ 114 w 140"/>
                <a:gd name="T43" fmla="*/ 14 h 118"/>
                <a:gd name="T44" fmla="*/ 121 w 140"/>
                <a:gd name="T45" fmla="*/ 14 h 118"/>
                <a:gd name="T46" fmla="*/ 126 w 140"/>
                <a:gd name="T47" fmla="*/ 9 h 118"/>
                <a:gd name="T48" fmla="*/ 138 w 140"/>
                <a:gd name="T49" fmla="*/ 9 h 118"/>
                <a:gd name="T50" fmla="*/ 135 w 140"/>
                <a:gd name="T51" fmla="*/ 0 h 118"/>
                <a:gd name="T52" fmla="*/ 140 w 140"/>
                <a:gd name="T53" fmla="*/ 0 h 118"/>
                <a:gd name="T54" fmla="*/ 140 w 140"/>
                <a:gd name="T55" fmla="*/ 0 h 118"/>
                <a:gd name="T56" fmla="*/ 138 w 140"/>
                <a:gd name="T57" fmla="*/ 5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0" h="118">
                  <a:moveTo>
                    <a:pt x="138" y="5"/>
                  </a:moveTo>
                  <a:lnTo>
                    <a:pt x="138" y="5"/>
                  </a:lnTo>
                  <a:lnTo>
                    <a:pt x="138" y="31"/>
                  </a:lnTo>
                  <a:lnTo>
                    <a:pt x="83" y="31"/>
                  </a:lnTo>
                  <a:lnTo>
                    <a:pt x="85" y="76"/>
                  </a:lnTo>
                  <a:lnTo>
                    <a:pt x="71" y="78"/>
                  </a:lnTo>
                  <a:lnTo>
                    <a:pt x="67" y="85"/>
                  </a:lnTo>
                  <a:lnTo>
                    <a:pt x="69" y="111"/>
                  </a:lnTo>
                  <a:lnTo>
                    <a:pt x="5" y="111"/>
                  </a:lnTo>
                  <a:lnTo>
                    <a:pt x="0" y="118"/>
                  </a:lnTo>
                  <a:lnTo>
                    <a:pt x="3" y="109"/>
                  </a:lnTo>
                  <a:lnTo>
                    <a:pt x="3" y="109"/>
                  </a:lnTo>
                  <a:lnTo>
                    <a:pt x="38" y="109"/>
                  </a:lnTo>
                  <a:lnTo>
                    <a:pt x="41" y="104"/>
                  </a:lnTo>
                  <a:lnTo>
                    <a:pt x="48" y="94"/>
                  </a:lnTo>
                  <a:lnTo>
                    <a:pt x="52" y="71"/>
                  </a:lnTo>
                  <a:lnTo>
                    <a:pt x="76" y="52"/>
                  </a:lnTo>
                  <a:lnTo>
                    <a:pt x="83" y="28"/>
                  </a:lnTo>
                  <a:lnTo>
                    <a:pt x="88" y="28"/>
                  </a:lnTo>
                  <a:lnTo>
                    <a:pt x="95" y="14"/>
                  </a:lnTo>
                  <a:lnTo>
                    <a:pt x="107" y="12"/>
                  </a:lnTo>
                  <a:lnTo>
                    <a:pt x="114" y="14"/>
                  </a:lnTo>
                  <a:lnTo>
                    <a:pt x="121" y="14"/>
                  </a:lnTo>
                  <a:lnTo>
                    <a:pt x="126" y="9"/>
                  </a:lnTo>
                  <a:lnTo>
                    <a:pt x="138" y="9"/>
                  </a:lnTo>
                  <a:lnTo>
                    <a:pt x="135" y="0"/>
                  </a:lnTo>
                  <a:lnTo>
                    <a:pt x="140" y="0"/>
                  </a:lnTo>
                  <a:lnTo>
                    <a:pt x="140" y="0"/>
                  </a:lnTo>
                  <a:lnTo>
                    <a:pt x="138" y="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71" name="Freeform 271">
              <a:extLst>
                <a:ext uri="{FF2B5EF4-FFF2-40B4-BE49-F238E27FC236}">
                  <a16:creationId xmlns:a16="http://schemas.microsoft.com/office/drawing/2014/main" id="{B8FA6B5A-A11E-14B9-A832-D8ADEB6413E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3850" y="2671467"/>
              <a:ext cx="150760" cy="128954"/>
            </a:xfrm>
            <a:custGeom>
              <a:avLst/>
              <a:gdLst>
                <a:gd name="T0" fmla="*/ 138 w 140"/>
                <a:gd name="T1" fmla="*/ 5 h 118"/>
                <a:gd name="T2" fmla="*/ 138 w 140"/>
                <a:gd name="T3" fmla="*/ 5 h 118"/>
                <a:gd name="T4" fmla="*/ 138 w 140"/>
                <a:gd name="T5" fmla="*/ 31 h 118"/>
                <a:gd name="T6" fmla="*/ 83 w 140"/>
                <a:gd name="T7" fmla="*/ 31 h 118"/>
                <a:gd name="T8" fmla="*/ 85 w 140"/>
                <a:gd name="T9" fmla="*/ 76 h 118"/>
                <a:gd name="T10" fmla="*/ 71 w 140"/>
                <a:gd name="T11" fmla="*/ 78 h 118"/>
                <a:gd name="T12" fmla="*/ 67 w 140"/>
                <a:gd name="T13" fmla="*/ 85 h 118"/>
                <a:gd name="T14" fmla="*/ 69 w 140"/>
                <a:gd name="T15" fmla="*/ 111 h 118"/>
                <a:gd name="T16" fmla="*/ 5 w 140"/>
                <a:gd name="T17" fmla="*/ 111 h 118"/>
                <a:gd name="T18" fmla="*/ 0 w 140"/>
                <a:gd name="T19" fmla="*/ 118 h 118"/>
                <a:gd name="T20" fmla="*/ 3 w 140"/>
                <a:gd name="T21" fmla="*/ 109 h 118"/>
                <a:gd name="T22" fmla="*/ 3 w 140"/>
                <a:gd name="T23" fmla="*/ 109 h 118"/>
                <a:gd name="T24" fmla="*/ 38 w 140"/>
                <a:gd name="T25" fmla="*/ 109 h 118"/>
                <a:gd name="T26" fmla="*/ 41 w 140"/>
                <a:gd name="T27" fmla="*/ 104 h 118"/>
                <a:gd name="T28" fmla="*/ 48 w 140"/>
                <a:gd name="T29" fmla="*/ 94 h 118"/>
                <a:gd name="T30" fmla="*/ 52 w 140"/>
                <a:gd name="T31" fmla="*/ 71 h 118"/>
                <a:gd name="T32" fmla="*/ 76 w 140"/>
                <a:gd name="T33" fmla="*/ 52 h 118"/>
                <a:gd name="T34" fmla="*/ 83 w 140"/>
                <a:gd name="T35" fmla="*/ 28 h 118"/>
                <a:gd name="T36" fmla="*/ 88 w 140"/>
                <a:gd name="T37" fmla="*/ 28 h 118"/>
                <a:gd name="T38" fmla="*/ 95 w 140"/>
                <a:gd name="T39" fmla="*/ 14 h 118"/>
                <a:gd name="T40" fmla="*/ 107 w 140"/>
                <a:gd name="T41" fmla="*/ 12 h 118"/>
                <a:gd name="T42" fmla="*/ 114 w 140"/>
                <a:gd name="T43" fmla="*/ 14 h 118"/>
                <a:gd name="T44" fmla="*/ 121 w 140"/>
                <a:gd name="T45" fmla="*/ 14 h 118"/>
                <a:gd name="T46" fmla="*/ 126 w 140"/>
                <a:gd name="T47" fmla="*/ 9 h 118"/>
                <a:gd name="T48" fmla="*/ 138 w 140"/>
                <a:gd name="T49" fmla="*/ 9 h 118"/>
                <a:gd name="T50" fmla="*/ 135 w 140"/>
                <a:gd name="T51" fmla="*/ 0 h 118"/>
                <a:gd name="T52" fmla="*/ 140 w 140"/>
                <a:gd name="T53" fmla="*/ 0 h 118"/>
                <a:gd name="T54" fmla="*/ 140 w 140"/>
                <a:gd name="T55" fmla="*/ 0 h 118"/>
                <a:gd name="T56" fmla="*/ 138 w 140"/>
                <a:gd name="T57" fmla="*/ 5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0" h="118">
                  <a:moveTo>
                    <a:pt x="138" y="5"/>
                  </a:moveTo>
                  <a:lnTo>
                    <a:pt x="138" y="5"/>
                  </a:lnTo>
                  <a:lnTo>
                    <a:pt x="138" y="31"/>
                  </a:lnTo>
                  <a:lnTo>
                    <a:pt x="83" y="31"/>
                  </a:lnTo>
                  <a:lnTo>
                    <a:pt x="85" y="76"/>
                  </a:lnTo>
                  <a:lnTo>
                    <a:pt x="71" y="78"/>
                  </a:lnTo>
                  <a:lnTo>
                    <a:pt x="67" y="85"/>
                  </a:lnTo>
                  <a:lnTo>
                    <a:pt x="69" y="111"/>
                  </a:lnTo>
                  <a:lnTo>
                    <a:pt x="5" y="111"/>
                  </a:lnTo>
                  <a:lnTo>
                    <a:pt x="0" y="118"/>
                  </a:lnTo>
                  <a:lnTo>
                    <a:pt x="3" y="109"/>
                  </a:lnTo>
                  <a:lnTo>
                    <a:pt x="3" y="109"/>
                  </a:lnTo>
                  <a:lnTo>
                    <a:pt x="38" y="109"/>
                  </a:lnTo>
                  <a:lnTo>
                    <a:pt x="41" y="104"/>
                  </a:lnTo>
                  <a:lnTo>
                    <a:pt x="48" y="94"/>
                  </a:lnTo>
                  <a:lnTo>
                    <a:pt x="52" y="71"/>
                  </a:lnTo>
                  <a:lnTo>
                    <a:pt x="76" y="52"/>
                  </a:lnTo>
                  <a:lnTo>
                    <a:pt x="83" y="28"/>
                  </a:lnTo>
                  <a:lnTo>
                    <a:pt x="88" y="28"/>
                  </a:lnTo>
                  <a:lnTo>
                    <a:pt x="95" y="14"/>
                  </a:lnTo>
                  <a:lnTo>
                    <a:pt x="107" y="12"/>
                  </a:lnTo>
                  <a:lnTo>
                    <a:pt x="114" y="14"/>
                  </a:lnTo>
                  <a:lnTo>
                    <a:pt x="121" y="14"/>
                  </a:lnTo>
                  <a:lnTo>
                    <a:pt x="126" y="9"/>
                  </a:lnTo>
                  <a:lnTo>
                    <a:pt x="138" y="9"/>
                  </a:lnTo>
                  <a:lnTo>
                    <a:pt x="135" y="0"/>
                  </a:lnTo>
                  <a:lnTo>
                    <a:pt x="140" y="0"/>
                  </a:lnTo>
                  <a:lnTo>
                    <a:pt x="140" y="0"/>
                  </a:lnTo>
                  <a:lnTo>
                    <a:pt x="138" y="5"/>
                  </a:lnTo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72" name="Freeform 276">
              <a:extLst>
                <a:ext uri="{FF2B5EF4-FFF2-40B4-BE49-F238E27FC236}">
                  <a16:creationId xmlns:a16="http://schemas.microsoft.com/office/drawing/2014/main" id="{D9FED5AD-9626-6A48-4F92-3CA48894722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46312" y="2881287"/>
              <a:ext cx="107685" cy="77590"/>
            </a:xfrm>
            <a:custGeom>
              <a:avLst/>
              <a:gdLst>
                <a:gd name="T0" fmla="*/ 50 w 100"/>
                <a:gd name="T1" fmla="*/ 0 h 71"/>
                <a:gd name="T2" fmla="*/ 50 w 100"/>
                <a:gd name="T3" fmla="*/ 0 h 71"/>
                <a:gd name="T4" fmla="*/ 57 w 100"/>
                <a:gd name="T5" fmla="*/ 4 h 71"/>
                <a:gd name="T6" fmla="*/ 69 w 100"/>
                <a:gd name="T7" fmla="*/ 9 h 71"/>
                <a:gd name="T8" fmla="*/ 76 w 100"/>
                <a:gd name="T9" fmla="*/ 21 h 71"/>
                <a:gd name="T10" fmla="*/ 88 w 100"/>
                <a:gd name="T11" fmla="*/ 33 h 71"/>
                <a:gd name="T12" fmla="*/ 90 w 100"/>
                <a:gd name="T13" fmla="*/ 42 h 71"/>
                <a:gd name="T14" fmla="*/ 92 w 100"/>
                <a:gd name="T15" fmla="*/ 52 h 71"/>
                <a:gd name="T16" fmla="*/ 97 w 100"/>
                <a:gd name="T17" fmla="*/ 59 h 71"/>
                <a:gd name="T18" fmla="*/ 100 w 100"/>
                <a:gd name="T19" fmla="*/ 63 h 71"/>
                <a:gd name="T20" fmla="*/ 100 w 100"/>
                <a:gd name="T21" fmla="*/ 68 h 71"/>
                <a:gd name="T22" fmla="*/ 97 w 100"/>
                <a:gd name="T23" fmla="*/ 71 h 71"/>
                <a:gd name="T24" fmla="*/ 88 w 100"/>
                <a:gd name="T25" fmla="*/ 68 h 71"/>
                <a:gd name="T26" fmla="*/ 85 w 100"/>
                <a:gd name="T27" fmla="*/ 71 h 71"/>
                <a:gd name="T28" fmla="*/ 83 w 100"/>
                <a:gd name="T29" fmla="*/ 71 h 71"/>
                <a:gd name="T30" fmla="*/ 71 w 100"/>
                <a:gd name="T31" fmla="*/ 66 h 71"/>
                <a:gd name="T32" fmla="*/ 64 w 100"/>
                <a:gd name="T33" fmla="*/ 66 h 71"/>
                <a:gd name="T34" fmla="*/ 33 w 100"/>
                <a:gd name="T35" fmla="*/ 66 h 71"/>
                <a:gd name="T36" fmla="*/ 29 w 100"/>
                <a:gd name="T37" fmla="*/ 68 h 71"/>
                <a:gd name="T38" fmla="*/ 24 w 100"/>
                <a:gd name="T39" fmla="*/ 66 h 71"/>
                <a:gd name="T40" fmla="*/ 14 w 100"/>
                <a:gd name="T41" fmla="*/ 71 h 71"/>
                <a:gd name="T42" fmla="*/ 12 w 100"/>
                <a:gd name="T43" fmla="*/ 56 h 71"/>
                <a:gd name="T44" fmla="*/ 26 w 100"/>
                <a:gd name="T45" fmla="*/ 59 h 71"/>
                <a:gd name="T46" fmla="*/ 31 w 100"/>
                <a:gd name="T47" fmla="*/ 56 h 71"/>
                <a:gd name="T48" fmla="*/ 33 w 100"/>
                <a:gd name="T49" fmla="*/ 56 h 71"/>
                <a:gd name="T50" fmla="*/ 40 w 100"/>
                <a:gd name="T51" fmla="*/ 52 h 71"/>
                <a:gd name="T52" fmla="*/ 48 w 100"/>
                <a:gd name="T53" fmla="*/ 54 h 71"/>
                <a:gd name="T54" fmla="*/ 55 w 100"/>
                <a:gd name="T55" fmla="*/ 56 h 71"/>
                <a:gd name="T56" fmla="*/ 62 w 100"/>
                <a:gd name="T57" fmla="*/ 52 h 71"/>
                <a:gd name="T58" fmla="*/ 57 w 100"/>
                <a:gd name="T59" fmla="*/ 47 h 71"/>
                <a:gd name="T60" fmla="*/ 52 w 100"/>
                <a:gd name="T61" fmla="*/ 49 h 71"/>
                <a:gd name="T62" fmla="*/ 48 w 100"/>
                <a:gd name="T63" fmla="*/ 49 h 71"/>
                <a:gd name="T64" fmla="*/ 40 w 100"/>
                <a:gd name="T65" fmla="*/ 44 h 71"/>
                <a:gd name="T66" fmla="*/ 36 w 100"/>
                <a:gd name="T67" fmla="*/ 44 h 71"/>
                <a:gd name="T68" fmla="*/ 31 w 100"/>
                <a:gd name="T69" fmla="*/ 49 h 71"/>
                <a:gd name="T70" fmla="*/ 14 w 100"/>
                <a:gd name="T71" fmla="*/ 49 h 71"/>
                <a:gd name="T72" fmla="*/ 7 w 100"/>
                <a:gd name="T73" fmla="*/ 37 h 71"/>
                <a:gd name="T74" fmla="*/ 0 w 100"/>
                <a:gd name="T75" fmla="*/ 30 h 71"/>
                <a:gd name="T76" fmla="*/ 7 w 100"/>
                <a:gd name="T77" fmla="*/ 28 h 71"/>
                <a:gd name="T78" fmla="*/ 14 w 100"/>
                <a:gd name="T79" fmla="*/ 16 h 71"/>
                <a:gd name="T80" fmla="*/ 19 w 100"/>
                <a:gd name="T81" fmla="*/ 7 h 71"/>
                <a:gd name="T82" fmla="*/ 24 w 100"/>
                <a:gd name="T83" fmla="*/ 2 h 71"/>
                <a:gd name="T84" fmla="*/ 31 w 100"/>
                <a:gd name="T85" fmla="*/ 2 h 71"/>
                <a:gd name="T86" fmla="*/ 40 w 100"/>
                <a:gd name="T87" fmla="*/ 0 h 71"/>
                <a:gd name="T88" fmla="*/ 50 w 100"/>
                <a:gd name="T89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0" h="71">
                  <a:moveTo>
                    <a:pt x="50" y="0"/>
                  </a:moveTo>
                  <a:lnTo>
                    <a:pt x="50" y="0"/>
                  </a:lnTo>
                  <a:lnTo>
                    <a:pt x="57" y="4"/>
                  </a:lnTo>
                  <a:lnTo>
                    <a:pt x="69" y="9"/>
                  </a:lnTo>
                  <a:lnTo>
                    <a:pt x="76" y="21"/>
                  </a:lnTo>
                  <a:lnTo>
                    <a:pt x="88" y="33"/>
                  </a:lnTo>
                  <a:lnTo>
                    <a:pt x="90" y="42"/>
                  </a:lnTo>
                  <a:lnTo>
                    <a:pt x="92" y="52"/>
                  </a:lnTo>
                  <a:lnTo>
                    <a:pt x="97" y="59"/>
                  </a:lnTo>
                  <a:lnTo>
                    <a:pt x="100" y="63"/>
                  </a:lnTo>
                  <a:lnTo>
                    <a:pt x="100" y="68"/>
                  </a:lnTo>
                  <a:lnTo>
                    <a:pt x="97" y="71"/>
                  </a:lnTo>
                  <a:lnTo>
                    <a:pt x="88" y="68"/>
                  </a:lnTo>
                  <a:lnTo>
                    <a:pt x="85" y="71"/>
                  </a:lnTo>
                  <a:lnTo>
                    <a:pt x="83" y="71"/>
                  </a:lnTo>
                  <a:lnTo>
                    <a:pt x="71" y="66"/>
                  </a:lnTo>
                  <a:lnTo>
                    <a:pt x="64" y="66"/>
                  </a:lnTo>
                  <a:lnTo>
                    <a:pt x="33" y="66"/>
                  </a:lnTo>
                  <a:lnTo>
                    <a:pt x="29" y="68"/>
                  </a:lnTo>
                  <a:lnTo>
                    <a:pt x="24" y="66"/>
                  </a:lnTo>
                  <a:lnTo>
                    <a:pt x="14" y="71"/>
                  </a:lnTo>
                  <a:lnTo>
                    <a:pt x="12" y="56"/>
                  </a:lnTo>
                  <a:lnTo>
                    <a:pt x="26" y="59"/>
                  </a:lnTo>
                  <a:lnTo>
                    <a:pt x="31" y="56"/>
                  </a:lnTo>
                  <a:lnTo>
                    <a:pt x="33" y="56"/>
                  </a:lnTo>
                  <a:lnTo>
                    <a:pt x="40" y="52"/>
                  </a:lnTo>
                  <a:lnTo>
                    <a:pt x="48" y="54"/>
                  </a:lnTo>
                  <a:lnTo>
                    <a:pt x="55" y="56"/>
                  </a:lnTo>
                  <a:lnTo>
                    <a:pt x="62" y="52"/>
                  </a:lnTo>
                  <a:lnTo>
                    <a:pt x="57" y="47"/>
                  </a:lnTo>
                  <a:lnTo>
                    <a:pt x="52" y="49"/>
                  </a:lnTo>
                  <a:lnTo>
                    <a:pt x="48" y="49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1" y="49"/>
                  </a:lnTo>
                  <a:lnTo>
                    <a:pt x="14" y="49"/>
                  </a:lnTo>
                  <a:lnTo>
                    <a:pt x="7" y="37"/>
                  </a:lnTo>
                  <a:lnTo>
                    <a:pt x="0" y="30"/>
                  </a:lnTo>
                  <a:lnTo>
                    <a:pt x="7" y="28"/>
                  </a:lnTo>
                  <a:lnTo>
                    <a:pt x="14" y="16"/>
                  </a:lnTo>
                  <a:lnTo>
                    <a:pt x="19" y="7"/>
                  </a:lnTo>
                  <a:lnTo>
                    <a:pt x="24" y="2"/>
                  </a:lnTo>
                  <a:lnTo>
                    <a:pt x="31" y="2"/>
                  </a:lnTo>
                  <a:lnTo>
                    <a:pt x="40" y="0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grpSp>
          <p:nvGrpSpPr>
            <p:cNvPr id="173" name="Group 172">
              <a:extLst>
                <a:ext uri="{FF2B5EF4-FFF2-40B4-BE49-F238E27FC236}">
                  <a16:creationId xmlns:a16="http://schemas.microsoft.com/office/drawing/2014/main" id="{F6B4DE96-F2F8-390F-073F-11C056750EB2}"/>
                </a:ext>
              </a:extLst>
            </p:cNvPr>
            <p:cNvGrpSpPr/>
            <p:nvPr/>
          </p:nvGrpSpPr>
          <p:grpSpPr>
            <a:xfrm>
              <a:off x="8835205" y="588548"/>
              <a:ext cx="3133648" cy="1793321"/>
              <a:chOff x="6245882" y="-155406"/>
              <a:chExt cx="6612868" cy="3729114"/>
            </a:xfrm>
            <a:solidFill>
              <a:sysClr val="window" lastClr="FFFFFF">
                <a:lumMod val="85000"/>
              </a:sysClr>
            </a:solidFill>
            <a:scene3d>
              <a:camera prst="perspectiveRelaxedModerately" fov="0">
                <a:rot lat="0" lon="0" rev="0"/>
              </a:camera>
              <a:lightRig rig="threePt" dir="t"/>
            </a:scene3d>
          </p:grpSpPr>
          <p:sp>
            <p:nvSpPr>
              <p:cNvPr id="194" name="Freeform 181">
                <a:extLst>
                  <a:ext uri="{FF2B5EF4-FFF2-40B4-BE49-F238E27FC236}">
                    <a16:creationId xmlns:a16="http://schemas.microsoft.com/office/drawing/2014/main" id="{1C42C7D2-CCE9-844A-DDBF-5BFDAFBAC1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52085" y="567238"/>
                <a:ext cx="6006665" cy="3006470"/>
              </a:xfrm>
              <a:custGeom>
                <a:avLst/>
                <a:gdLst>
                  <a:gd name="connsiteX0" fmla="*/ 1791129 w 6006665"/>
                  <a:gd name="connsiteY0" fmla="*/ 817622 h 3006470"/>
                  <a:gd name="connsiteX1" fmla="*/ 1782156 w 6006665"/>
                  <a:gd name="connsiteY1" fmla="*/ 881716 h 3006470"/>
                  <a:gd name="connsiteX2" fmla="*/ 1809554 w 6006665"/>
                  <a:gd name="connsiteY2" fmla="*/ 895415 h 3006470"/>
                  <a:gd name="connsiteX3" fmla="*/ 2838307 w 6006665"/>
                  <a:gd name="connsiteY3" fmla="*/ 0 h 3006470"/>
                  <a:gd name="connsiteX4" fmla="*/ 2844246 w 6006665"/>
                  <a:gd name="connsiteY4" fmla="*/ 4711 h 3006470"/>
                  <a:gd name="connsiteX5" fmla="*/ 2850213 w 6006665"/>
                  <a:gd name="connsiteY5" fmla="*/ 0 h 3006470"/>
                  <a:gd name="connsiteX6" fmla="*/ 2916115 w 6006665"/>
                  <a:gd name="connsiteY6" fmla="*/ 52267 h 3006470"/>
                  <a:gd name="connsiteX7" fmla="*/ 2861576 w 6006665"/>
                  <a:gd name="connsiteY7" fmla="*/ 90899 h 3006470"/>
                  <a:gd name="connsiteX8" fmla="*/ 2947929 w 6006665"/>
                  <a:gd name="connsiteY8" fmla="*/ 118168 h 3006470"/>
                  <a:gd name="connsiteX9" fmla="*/ 2957621 w 6006665"/>
                  <a:gd name="connsiteY9" fmla="*/ 186006 h 3006470"/>
                  <a:gd name="connsiteX10" fmla="*/ 2979199 w 6006665"/>
                  <a:gd name="connsiteY10" fmla="*/ 161345 h 3006470"/>
                  <a:gd name="connsiteX11" fmla="*/ 2991106 w 6006665"/>
                  <a:gd name="connsiteY11" fmla="*/ 161345 h 3006470"/>
                  <a:gd name="connsiteX12" fmla="*/ 3086005 w 6006665"/>
                  <a:gd name="connsiteY12" fmla="*/ 161345 h 3006470"/>
                  <a:gd name="connsiteX13" fmla="*/ 3097912 w 6006665"/>
                  <a:gd name="connsiteY13" fmla="*/ 161345 h 3006470"/>
                  <a:gd name="connsiteX14" fmla="*/ 3179721 w 6006665"/>
                  <a:gd name="connsiteY14" fmla="*/ 236336 h 3006470"/>
                  <a:gd name="connsiteX15" fmla="*/ 3211535 w 6006665"/>
                  <a:gd name="connsiteY15" fmla="*/ 295420 h 3006470"/>
                  <a:gd name="connsiteX16" fmla="*/ 3200173 w 6006665"/>
                  <a:gd name="connsiteY16" fmla="*/ 370412 h 3006470"/>
                  <a:gd name="connsiteX17" fmla="*/ 3161541 w 6006665"/>
                  <a:gd name="connsiteY17" fmla="*/ 413589 h 3006470"/>
                  <a:gd name="connsiteX18" fmla="*/ 3066097 w 6006665"/>
                  <a:gd name="connsiteY18" fmla="*/ 488580 h 3006470"/>
                  <a:gd name="connsiteX19" fmla="*/ 3034283 w 6006665"/>
                  <a:gd name="connsiteY19" fmla="*/ 531757 h 3006470"/>
                  <a:gd name="connsiteX20" fmla="*/ 3082005 w 6006665"/>
                  <a:gd name="connsiteY20" fmla="*/ 547664 h 3006470"/>
                  <a:gd name="connsiteX21" fmla="*/ 3129459 w 6006665"/>
                  <a:gd name="connsiteY21" fmla="*/ 575345 h 3006470"/>
                  <a:gd name="connsiteX22" fmla="*/ 3156451 w 6006665"/>
                  <a:gd name="connsiteY22" fmla="*/ 552209 h 3006470"/>
                  <a:gd name="connsiteX23" fmla="*/ 3158460 w 6006665"/>
                  <a:gd name="connsiteY23" fmla="*/ 560693 h 3006470"/>
                  <a:gd name="connsiteX24" fmla="*/ 3168359 w 6006665"/>
                  <a:gd name="connsiteY24" fmla="*/ 552209 h 3006470"/>
                  <a:gd name="connsiteX25" fmla="*/ 3184984 w 6006665"/>
                  <a:gd name="connsiteY25" fmla="*/ 622402 h 3006470"/>
                  <a:gd name="connsiteX26" fmla="*/ 3192811 w 6006665"/>
                  <a:gd name="connsiteY26" fmla="*/ 606748 h 3006470"/>
                  <a:gd name="connsiteX27" fmla="*/ 3251895 w 6006665"/>
                  <a:gd name="connsiteY27" fmla="*/ 586296 h 3006470"/>
                  <a:gd name="connsiteX28" fmla="*/ 3259833 w 6006665"/>
                  <a:gd name="connsiteY28" fmla="*/ 587670 h 3006470"/>
                  <a:gd name="connsiteX29" fmla="*/ 3263802 w 6006665"/>
                  <a:gd name="connsiteY29" fmla="*/ 586296 h 3006470"/>
                  <a:gd name="connsiteX30" fmla="*/ 3381970 w 6006665"/>
                  <a:gd name="connsiteY30" fmla="*/ 606748 h 3006470"/>
                  <a:gd name="connsiteX31" fmla="*/ 3388787 w 6006665"/>
                  <a:gd name="connsiteY31" fmla="*/ 665832 h 3006470"/>
                  <a:gd name="connsiteX32" fmla="*/ 3531529 w 6006665"/>
                  <a:gd name="connsiteY32" fmla="*/ 686823 h 3006470"/>
                  <a:gd name="connsiteX33" fmla="*/ 3538225 w 6006665"/>
                  <a:gd name="connsiteY33" fmla="*/ 590841 h 3006470"/>
                  <a:gd name="connsiteX34" fmla="*/ 3549910 w 6006665"/>
                  <a:gd name="connsiteY34" fmla="*/ 594028 h 3006470"/>
                  <a:gd name="connsiteX35" fmla="*/ 3550132 w 6006665"/>
                  <a:gd name="connsiteY35" fmla="*/ 590841 h 3006470"/>
                  <a:gd name="connsiteX36" fmla="*/ 3625123 w 6006665"/>
                  <a:gd name="connsiteY36" fmla="*/ 611293 h 3006470"/>
                  <a:gd name="connsiteX37" fmla="*/ 3672301 w 6006665"/>
                  <a:gd name="connsiteY37" fmla="*/ 611293 h 3006470"/>
                  <a:gd name="connsiteX38" fmla="*/ 3684207 w 6006665"/>
                  <a:gd name="connsiteY38" fmla="*/ 611293 h 3006470"/>
                  <a:gd name="connsiteX39" fmla="*/ 3743291 w 6006665"/>
                  <a:gd name="connsiteY39" fmla="*/ 677194 h 3006470"/>
                  <a:gd name="connsiteX40" fmla="*/ 3759199 w 6006665"/>
                  <a:gd name="connsiteY40" fmla="*/ 756731 h 3006470"/>
                  <a:gd name="connsiteX41" fmla="*/ 3738747 w 6006665"/>
                  <a:gd name="connsiteY41" fmla="*/ 806725 h 3006470"/>
                  <a:gd name="connsiteX42" fmla="*/ 3786469 w 6006665"/>
                  <a:gd name="connsiteY42" fmla="*/ 897623 h 3006470"/>
                  <a:gd name="connsiteX43" fmla="*/ 3835603 w 6006665"/>
                  <a:gd name="connsiteY43" fmla="*/ 933529 h 3006470"/>
                  <a:gd name="connsiteX44" fmla="*/ 3865460 w 6006665"/>
                  <a:gd name="connsiteY44" fmla="*/ 822632 h 3006470"/>
                  <a:gd name="connsiteX45" fmla="*/ 3875077 w 6006665"/>
                  <a:gd name="connsiteY45" fmla="*/ 831139 h 3006470"/>
                  <a:gd name="connsiteX46" fmla="*/ 3877367 w 6006665"/>
                  <a:gd name="connsiteY46" fmla="*/ 822632 h 3006470"/>
                  <a:gd name="connsiteX47" fmla="*/ 3932151 w 6006665"/>
                  <a:gd name="connsiteY47" fmla="*/ 871095 h 3006470"/>
                  <a:gd name="connsiteX48" fmla="*/ 3988173 w 6006665"/>
                  <a:gd name="connsiteY48" fmla="*/ 843084 h 3006470"/>
                  <a:gd name="connsiteX49" fmla="*/ 3993852 w 6006665"/>
                  <a:gd name="connsiteY49" fmla="*/ 846199 h 3006470"/>
                  <a:gd name="connsiteX50" fmla="*/ 4000080 w 6006665"/>
                  <a:gd name="connsiteY50" fmla="*/ 843084 h 3006470"/>
                  <a:gd name="connsiteX51" fmla="*/ 4062426 w 6006665"/>
                  <a:gd name="connsiteY51" fmla="*/ 877274 h 3006470"/>
                  <a:gd name="connsiteX52" fmla="*/ 4085889 w 6006665"/>
                  <a:gd name="connsiteY52" fmla="*/ 849902 h 3006470"/>
                  <a:gd name="connsiteX53" fmla="*/ 4095563 w 6006665"/>
                  <a:gd name="connsiteY53" fmla="*/ 852506 h 3006470"/>
                  <a:gd name="connsiteX54" fmla="*/ 4097796 w 6006665"/>
                  <a:gd name="connsiteY54" fmla="*/ 849902 h 3006470"/>
                  <a:gd name="connsiteX55" fmla="*/ 4144150 w 6006665"/>
                  <a:gd name="connsiteY55" fmla="*/ 862382 h 3006470"/>
                  <a:gd name="connsiteX56" fmla="*/ 4117703 w 6006665"/>
                  <a:gd name="connsiteY56" fmla="*/ 752186 h 3006470"/>
                  <a:gd name="connsiteX57" fmla="*/ 4165425 w 6006665"/>
                  <a:gd name="connsiteY57" fmla="*/ 697647 h 3006470"/>
                  <a:gd name="connsiteX58" fmla="*/ 4175231 w 6006665"/>
                  <a:gd name="connsiteY58" fmla="*/ 700048 h 3006470"/>
                  <a:gd name="connsiteX59" fmla="*/ 4177332 w 6006665"/>
                  <a:gd name="connsiteY59" fmla="*/ 697647 h 3006470"/>
                  <a:gd name="connsiteX60" fmla="*/ 4511384 w 6006665"/>
                  <a:gd name="connsiteY60" fmla="*/ 779455 h 3006470"/>
                  <a:gd name="connsiteX61" fmla="*/ 4543199 w 6006665"/>
                  <a:gd name="connsiteY61" fmla="*/ 849902 h 3006470"/>
                  <a:gd name="connsiteX62" fmla="*/ 4639242 w 6006665"/>
                  <a:gd name="connsiteY62" fmla="*/ 932544 h 3006470"/>
                  <a:gd name="connsiteX63" fmla="*/ 4774445 w 6006665"/>
                  <a:gd name="connsiteY63" fmla="*/ 913531 h 3006470"/>
                  <a:gd name="connsiteX64" fmla="*/ 4778496 w 6006665"/>
                  <a:gd name="connsiteY64" fmla="*/ 914635 h 3006470"/>
                  <a:gd name="connsiteX65" fmla="*/ 4786352 w 6006665"/>
                  <a:gd name="connsiteY65" fmla="*/ 913531 h 3006470"/>
                  <a:gd name="connsiteX66" fmla="*/ 4861343 w 6006665"/>
                  <a:gd name="connsiteY66" fmla="*/ 933983 h 3006470"/>
                  <a:gd name="connsiteX67" fmla="*/ 4893158 w 6006665"/>
                  <a:gd name="connsiteY67" fmla="*/ 977160 h 3006470"/>
                  <a:gd name="connsiteX68" fmla="*/ 4888613 w 6006665"/>
                  <a:gd name="connsiteY68" fmla="*/ 1058968 h 3006470"/>
                  <a:gd name="connsiteX69" fmla="*/ 4927677 w 6006665"/>
                  <a:gd name="connsiteY69" fmla="*/ 1083640 h 3006470"/>
                  <a:gd name="connsiteX70" fmla="*/ 4967605 w 6006665"/>
                  <a:gd name="connsiteY70" fmla="*/ 1070331 h 3006470"/>
                  <a:gd name="connsiteX71" fmla="*/ 5038051 w 6006665"/>
                  <a:gd name="connsiteY71" fmla="*/ 1063513 h 3006470"/>
                  <a:gd name="connsiteX72" fmla="*/ 5040730 w 6006665"/>
                  <a:gd name="connsiteY72" fmla="*/ 1064406 h 3006470"/>
                  <a:gd name="connsiteX73" fmla="*/ 5049958 w 6006665"/>
                  <a:gd name="connsiteY73" fmla="*/ 1063513 h 3006470"/>
                  <a:gd name="connsiteX74" fmla="*/ 5114249 w 6006665"/>
                  <a:gd name="connsiteY74" fmla="*/ 1084944 h 3006470"/>
                  <a:gd name="connsiteX75" fmla="*/ 5176671 w 6006665"/>
                  <a:gd name="connsiteY75" fmla="*/ 1074876 h 3006470"/>
                  <a:gd name="connsiteX76" fmla="*/ 5177801 w 6006665"/>
                  <a:gd name="connsiteY76" fmla="*/ 1076614 h 3006470"/>
                  <a:gd name="connsiteX77" fmla="*/ 5188578 w 6006665"/>
                  <a:gd name="connsiteY77" fmla="*/ 1074876 h 3006470"/>
                  <a:gd name="connsiteX78" fmla="*/ 5243719 w 6006665"/>
                  <a:gd name="connsiteY78" fmla="*/ 1159707 h 3006470"/>
                  <a:gd name="connsiteX79" fmla="*/ 5283477 w 6006665"/>
                  <a:gd name="connsiteY79" fmla="*/ 1129415 h 3006470"/>
                  <a:gd name="connsiteX80" fmla="*/ 5258480 w 6006665"/>
                  <a:gd name="connsiteY80" fmla="*/ 1063513 h 3006470"/>
                  <a:gd name="connsiteX81" fmla="*/ 5267570 w 6006665"/>
                  <a:gd name="connsiteY81" fmla="*/ 1015792 h 3006470"/>
                  <a:gd name="connsiteX82" fmla="*/ 5278896 w 6006665"/>
                  <a:gd name="connsiteY82" fmla="*/ 1018841 h 3006470"/>
                  <a:gd name="connsiteX83" fmla="*/ 5279477 w 6006665"/>
                  <a:gd name="connsiteY83" fmla="*/ 1015792 h 3006470"/>
                  <a:gd name="connsiteX84" fmla="*/ 5395510 w 6006665"/>
                  <a:gd name="connsiteY84" fmla="*/ 1047031 h 3006470"/>
                  <a:gd name="connsiteX85" fmla="*/ 5463001 w 6006665"/>
                  <a:gd name="connsiteY85" fmla="*/ 1043061 h 3006470"/>
                  <a:gd name="connsiteX86" fmla="*/ 5464386 w 6006665"/>
                  <a:gd name="connsiteY86" fmla="*/ 1043680 h 3006470"/>
                  <a:gd name="connsiteX87" fmla="*/ 5474909 w 6006665"/>
                  <a:gd name="connsiteY87" fmla="*/ 1043061 h 3006470"/>
                  <a:gd name="connsiteX88" fmla="*/ 5581715 w 6006665"/>
                  <a:gd name="connsiteY88" fmla="*/ 1090783 h 3006470"/>
                  <a:gd name="connsiteX89" fmla="*/ 5633981 w 6006665"/>
                  <a:gd name="connsiteY89" fmla="*/ 1133960 h 3006470"/>
                  <a:gd name="connsiteX90" fmla="*/ 5720335 w 6006665"/>
                  <a:gd name="connsiteY90" fmla="*/ 1213496 h 3006470"/>
                  <a:gd name="connsiteX91" fmla="*/ 5822595 w 6006665"/>
                  <a:gd name="connsiteY91" fmla="*/ 1311212 h 3006470"/>
                  <a:gd name="connsiteX92" fmla="*/ 5818051 w 6006665"/>
                  <a:gd name="connsiteY92" fmla="*/ 1365751 h 3006470"/>
                  <a:gd name="connsiteX93" fmla="*/ 5825679 w 6006665"/>
                  <a:gd name="connsiteY93" fmla="*/ 1373379 h 3006470"/>
                  <a:gd name="connsiteX94" fmla="*/ 5822051 w 6006665"/>
                  <a:gd name="connsiteY94" fmla="*/ 1322574 h 3006470"/>
                  <a:gd name="connsiteX95" fmla="*/ 5834092 w 6006665"/>
                  <a:gd name="connsiteY95" fmla="*/ 1324447 h 3006470"/>
                  <a:gd name="connsiteX96" fmla="*/ 5833958 w 6006665"/>
                  <a:gd name="connsiteY96" fmla="*/ 1322574 h 3006470"/>
                  <a:gd name="connsiteX97" fmla="*/ 5936219 w 6006665"/>
                  <a:gd name="connsiteY97" fmla="*/ 1338481 h 3006470"/>
                  <a:gd name="connsiteX98" fmla="*/ 6006665 w 6006665"/>
                  <a:gd name="connsiteY98" fmla="*/ 1418018 h 3006470"/>
                  <a:gd name="connsiteX99" fmla="*/ 5968033 w 6006665"/>
                  <a:gd name="connsiteY99" fmla="*/ 1456650 h 3006470"/>
                  <a:gd name="connsiteX100" fmla="*/ 5908949 w 6006665"/>
                  <a:gd name="connsiteY100" fmla="*/ 1468012 h 3006470"/>
                  <a:gd name="connsiteX101" fmla="*/ 5908949 w 6006665"/>
                  <a:gd name="connsiteY101" fmla="*/ 1554366 h 3006470"/>
                  <a:gd name="connsiteX102" fmla="*/ 5893042 w 6006665"/>
                  <a:gd name="connsiteY102" fmla="*/ 1570273 h 3006470"/>
                  <a:gd name="connsiteX103" fmla="*/ 5881135 w 6006665"/>
                  <a:gd name="connsiteY103" fmla="*/ 1570273 h 3006470"/>
                  <a:gd name="connsiteX104" fmla="*/ 5861227 w 6006665"/>
                  <a:gd name="connsiteY104" fmla="*/ 1570273 h 3006470"/>
                  <a:gd name="connsiteX105" fmla="*/ 5849321 w 6006665"/>
                  <a:gd name="connsiteY105" fmla="*/ 1570273 h 3006470"/>
                  <a:gd name="connsiteX106" fmla="*/ 5817506 w 6006665"/>
                  <a:gd name="connsiteY106" fmla="*/ 1536186 h 3006470"/>
                  <a:gd name="connsiteX107" fmla="*/ 5767511 w 6006665"/>
                  <a:gd name="connsiteY107" fmla="*/ 1511189 h 3006470"/>
                  <a:gd name="connsiteX108" fmla="*/ 5762967 w 6006665"/>
                  <a:gd name="connsiteY108" fmla="*/ 1477102 h 3006470"/>
                  <a:gd name="connsiteX109" fmla="*/ 5729132 w 6006665"/>
                  <a:gd name="connsiteY109" fmla="*/ 1463170 h 3006470"/>
                  <a:gd name="connsiteX110" fmla="*/ 5695337 w 6006665"/>
                  <a:gd name="connsiteY110" fmla="*/ 1472557 h 3006470"/>
                  <a:gd name="connsiteX111" fmla="*/ 5693366 w 6006665"/>
                  <a:gd name="connsiteY111" fmla="*/ 1469797 h 3006470"/>
                  <a:gd name="connsiteX112" fmla="*/ 5683431 w 6006665"/>
                  <a:gd name="connsiteY112" fmla="*/ 1472557 h 3006470"/>
                  <a:gd name="connsiteX113" fmla="*/ 5660706 w 6006665"/>
                  <a:gd name="connsiteY113" fmla="*/ 1440742 h 3006470"/>
                  <a:gd name="connsiteX114" fmla="*/ 5669644 w 6006665"/>
                  <a:gd name="connsiteY114" fmla="*/ 1415717 h 3006470"/>
                  <a:gd name="connsiteX115" fmla="*/ 5640799 w 6006665"/>
                  <a:gd name="connsiteY115" fmla="*/ 1429380 h 3006470"/>
                  <a:gd name="connsiteX116" fmla="*/ 5656705 w 6006665"/>
                  <a:gd name="connsiteY116" fmla="*/ 1472557 h 3006470"/>
                  <a:gd name="connsiteX117" fmla="*/ 5633981 w 6006665"/>
                  <a:gd name="connsiteY117" fmla="*/ 1511189 h 3006470"/>
                  <a:gd name="connsiteX118" fmla="*/ 5586259 w 6006665"/>
                  <a:gd name="connsiteY118" fmla="*/ 1547548 h 3006470"/>
                  <a:gd name="connsiteX119" fmla="*/ 5575676 w 6006665"/>
                  <a:gd name="connsiteY119" fmla="*/ 1546540 h 3006470"/>
                  <a:gd name="connsiteX120" fmla="*/ 5574353 w 6006665"/>
                  <a:gd name="connsiteY120" fmla="*/ 1547548 h 3006470"/>
                  <a:gd name="connsiteX121" fmla="*/ 5539436 w 6006665"/>
                  <a:gd name="connsiteY121" fmla="*/ 1544223 h 3006470"/>
                  <a:gd name="connsiteX122" fmla="*/ 5570352 w 6006665"/>
                  <a:gd name="connsiteY122" fmla="*/ 1586180 h 3006470"/>
                  <a:gd name="connsiteX123" fmla="*/ 5593077 w 6006665"/>
                  <a:gd name="connsiteY123" fmla="*/ 1649809 h 3006470"/>
                  <a:gd name="connsiteX124" fmla="*/ 5608984 w 6006665"/>
                  <a:gd name="connsiteY124" fmla="*/ 1677079 h 3006470"/>
                  <a:gd name="connsiteX125" fmla="*/ 5613529 w 6006665"/>
                  <a:gd name="connsiteY125" fmla="*/ 1708893 h 3006470"/>
                  <a:gd name="connsiteX126" fmla="*/ 5608984 w 6006665"/>
                  <a:gd name="connsiteY126" fmla="*/ 1731618 h 3006470"/>
                  <a:gd name="connsiteX127" fmla="*/ 5597799 w 6006665"/>
                  <a:gd name="connsiteY127" fmla="*/ 1728009 h 3006470"/>
                  <a:gd name="connsiteX128" fmla="*/ 5597077 w 6006665"/>
                  <a:gd name="connsiteY128" fmla="*/ 1731618 h 3006470"/>
                  <a:gd name="connsiteX129" fmla="*/ 5534271 w 6006665"/>
                  <a:gd name="connsiteY129" fmla="*/ 1711358 h 3006470"/>
                  <a:gd name="connsiteX130" fmla="*/ 5436277 w 6006665"/>
                  <a:gd name="connsiteY130" fmla="*/ 1767977 h 3006470"/>
                  <a:gd name="connsiteX131" fmla="*/ 5397645 w 6006665"/>
                  <a:gd name="connsiteY131" fmla="*/ 1779340 h 3006470"/>
                  <a:gd name="connsiteX132" fmla="*/ 5345378 w 6006665"/>
                  <a:gd name="connsiteY132" fmla="*/ 1833879 h 3006470"/>
                  <a:gd name="connsiteX133" fmla="*/ 5290839 w 6006665"/>
                  <a:gd name="connsiteY133" fmla="*/ 1881600 h 3006470"/>
                  <a:gd name="connsiteX134" fmla="*/ 5274932 w 6006665"/>
                  <a:gd name="connsiteY134" fmla="*/ 1913415 h 3006470"/>
                  <a:gd name="connsiteX135" fmla="*/ 5267238 w 6006665"/>
                  <a:gd name="connsiteY135" fmla="*/ 1904988 h 3006470"/>
                  <a:gd name="connsiteX136" fmla="*/ 5263025 w 6006665"/>
                  <a:gd name="connsiteY136" fmla="*/ 1913415 h 3006470"/>
                  <a:gd name="connsiteX137" fmla="*/ 5219538 w 6006665"/>
                  <a:gd name="connsiteY137" fmla="*/ 1865787 h 3006470"/>
                  <a:gd name="connsiteX138" fmla="*/ 5129494 w 6006665"/>
                  <a:gd name="connsiteY138" fmla="*/ 1920232 h 3006470"/>
                  <a:gd name="connsiteX139" fmla="*/ 5126389 w 6006665"/>
                  <a:gd name="connsiteY139" fmla="*/ 1914910 h 3006470"/>
                  <a:gd name="connsiteX140" fmla="*/ 5117587 w 6006665"/>
                  <a:gd name="connsiteY140" fmla="*/ 1920232 h 3006470"/>
                  <a:gd name="connsiteX141" fmla="*/ 5105544 w 6006665"/>
                  <a:gd name="connsiteY141" fmla="*/ 1899586 h 3006470"/>
                  <a:gd name="connsiteX142" fmla="*/ 5074955 w 6006665"/>
                  <a:gd name="connsiteY142" fmla="*/ 1924777 h 3006470"/>
                  <a:gd name="connsiteX143" fmla="*/ 5065718 w 6006665"/>
                  <a:gd name="connsiteY143" fmla="*/ 1922578 h 3006470"/>
                  <a:gd name="connsiteX144" fmla="*/ 5063048 w 6006665"/>
                  <a:gd name="connsiteY144" fmla="*/ 1924777 h 3006470"/>
                  <a:gd name="connsiteX145" fmla="*/ 5026594 w 6006665"/>
                  <a:gd name="connsiteY145" fmla="*/ 1916098 h 3006470"/>
                  <a:gd name="connsiteX146" fmla="*/ 5015871 w 6006665"/>
                  <a:gd name="connsiteY146" fmla="*/ 1961137 h 3006470"/>
                  <a:gd name="connsiteX147" fmla="*/ 4974967 w 6006665"/>
                  <a:gd name="connsiteY147" fmla="*/ 2027038 h 3006470"/>
                  <a:gd name="connsiteX148" fmla="*/ 4974967 w 6006665"/>
                  <a:gd name="connsiteY148" fmla="*/ 2058853 h 3006470"/>
                  <a:gd name="connsiteX149" fmla="*/ 5015871 w 6006665"/>
                  <a:gd name="connsiteY149" fmla="*/ 2074760 h 3006470"/>
                  <a:gd name="connsiteX150" fmla="*/ 5011326 w 6006665"/>
                  <a:gd name="connsiteY150" fmla="*/ 2172476 h 3006470"/>
                  <a:gd name="connsiteX151" fmla="*/ 4999419 w 6006665"/>
                  <a:gd name="connsiteY151" fmla="*/ 2172476 h 3006470"/>
                  <a:gd name="connsiteX152" fmla="*/ 4974967 w 6006665"/>
                  <a:gd name="connsiteY152" fmla="*/ 2172476 h 3006470"/>
                  <a:gd name="connsiteX153" fmla="*/ 4963605 w 6006665"/>
                  <a:gd name="connsiteY153" fmla="*/ 2224742 h 3006470"/>
                  <a:gd name="connsiteX154" fmla="*/ 4974967 w 6006665"/>
                  <a:gd name="connsiteY154" fmla="*/ 2252012 h 3006470"/>
                  <a:gd name="connsiteX155" fmla="*/ 4909065 w 6006665"/>
                  <a:gd name="connsiteY155" fmla="*/ 2286099 h 3006470"/>
                  <a:gd name="connsiteX156" fmla="*/ 4897703 w 6006665"/>
                  <a:gd name="connsiteY156" fmla="*/ 2354273 h 3006470"/>
                  <a:gd name="connsiteX157" fmla="*/ 4845437 w 6006665"/>
                  <a:gd name="connsiteY157" fmla="*/ 2370180 h 3006470"/>
                  <a:gd name="connsiteX158" fmla="*/ 4834074 w 6006665"/>
                  <a:gd name="connsiteY158" fmla="*/ 2429264 h 3006470"/>
                  <a:gd name="connsiteX159" fmla="*/ 4779535 w 6006665"/>
                  <a:gd name="connsiteY159" fmla="*/ 2488348 h 3006470"/>
                  <a:gd name="connsiteX160" fmla="*/ 4777225 w 6006665"/>
                  <a:gd name="connsiteY160" fmla="*/ 2477952 h 3006470"/>
                  <a:gd name="connsiteX161" fmla="*/ 4767628 w 6006665"/>
                  <a:gd name="connsiteY161" fmla="*/ 2488348 h 3006470"/>
                  <a:gd name="connsiteX162" fmla="*/ 4758538 w 6006665"/>
                  <a:gd name="connsiteY162" fmla="*/ 2447444 h 3006470"/>
                  <a:gd name="connsiteX163" fmla="*/ 4742631 w 6006665"/>
                  <a:gd name="connsiteY163" fmla="*/ 2361090 h 3006470"/>
                  <a:gd name="connsiteX164" fmla="*/ 4715361 w 6006665"/>
                  <a:gd name="connsiteY164" fmla="*/ 2220198 h 3006470"/>
                  <a:gd name="connsiteX165" fmla="*/ 4735813 w 6006665"/>
                  <a:gd name="connsiteY165" fmla="*/ 2129299 h 3006470"/>
                  <a:gd name="connsiteX166" fmla="*/ 4767628 w 6006665"/>
                  <a:gd name="connsiteY166" fmla="*/ 2086122 h 3006470"/>
                  <a:gd name="connsiteX167" fmla="*/ 4767628 w 6006665"/>
                  <a:gd name="connsiteY167" fmla="*/ 2058853 h 3006470"/>
                  <a:gd name="connsiteX168" fmla="*/ 4826712 w 6006665"/>
                  <a:gd name="connsiteY168" fmla="*/ 2042945 h 3006470"/>
                  <a:gd name="connsiteX169" fmla="*/ 4892613 w 6006665"/>
                  <a:gd name="connsiteY169" fmla="*/ 1952047 h 3006470"/>
                  <a:gd name="connsiteX170" fmla="*/ 4956243 w 6006665"/>
                  <a:gd name="connsiteY170" fmla="*/ 1877056 h 3006470"/>
                  <a:gd name="connsiteX171" fmla="*/ 5022143 w 6006665"/>
                  <a:gd name="connsiteY171" fmla="*/ 1817971 h 3006470"/>
                  <a:gd name="connsiteX172" fmla="*/ 5046694 w 6006665"/>
                  <a:gd name="connsiteY172" fmla="*/ 1710844 h 3006470"/>
                  <a:gd name="connsiteX173" fmla="*/ 5015871 w 6006665"/>
                  <a:gd name="connsiteY173" fmla="*/ 1715711 h 3006470"/>
                  <a:gd name="connsiteX174" fmla="*/ 4995419 w 6006665"/>
                  <a:gd name="connsiteY174" fmla="*/ 1779340 h 3006470"/>
                  <a:gd name="connsiteX175" fmla="*/ 4904521 w 6006665"/>
                  <a:gd name="connsiteY175" fmla="*/ 1865693 h 3006470"/>
                  <a:gd name="connsiteX176" fmla="*/ 4901708 w 6006665"/>
                  <a:gd name="connsiteY176" fmla="*/ 1857053 h 3006470"/>
                  <a:gd name="connsiteX177" fmla="*/ 4892613 w 6006665"/>
                  <a:gd name="connsiteY177" fmla="*/ 1865693 h 3006470"/>
                  <a:gd name="connsiteX178" fmla="*/ 4861835 w 6006665"/>
                  <a:gd name="connsiteY178" fmla="*/ 1771159 h 3006470"/>
                  <a:gd name="connsiteX179" fmla="*/ 4779535 w 6006665"/>
                  <a:gd name="connsiteY179" fmla="*/ 1795247 h 3006470"/>
                  <a:gd name="connsiteX180" fmla="*/ 4684091 w 6006665"/>
                  <a:gd name="connsiteY180" fmla="*/ 1920232 h 3006470"/>
                  <a:gd name="connsiteX181" fmla="*/ 4715906 w 6006665"/>
                  <a:gd name="connsiteY181" fmla="*/ 1967954 h 3006470"/>
                  <a:gd name="connsiteX182" fmla="*/ 4636369 w 6006665"/>
                  <a:gd name="connsiteY182" fmla="*/ 1983861 h 3006470"/>
                  <a:gd name="connsiteX183" fmla="*/ 4577285 w 6006665"/>
                  <a:gd name="connsiteY183" fmla="*/ 1988406 h 3006470"/>
                  <a:gd name="connsiteX184" fmla="*/ 4577373 w 6006665"/>
                  <a:gd name="connsiteY184" fmla="*/ 1987484 h 3006470"/>
                  <a:gd name="connsiteX185" fmla="*/ 4565379 w 6006665"/>
                  <a:gd name="connsiteY185" fmla="*/ 1988406 h 3006470"/>
                  <a:gd name="connsiteX186" fmla="*/ 4569923 w 6006665"/>
                  <a:gd name="connsiteY186" fmla="*/ 1940685 h 3006470"/>
                  <a:gd name="connsiteX187" fmla="*/ 4520081 w 6006665"/>
                  <a:gd name="connsiteY187" fmla="*/ 1931099 h 3006470"/>
                  <a:gd name="connsiteX188" fmla="*/ 4475025 w 6006665"/>
                  <a:gd name="connsiteY188" fmla="*/ 1961137 h 3006470"/>
                  <a:gd name="connsiteX189" fmla="*/ 4464394 w 6006665"/>
                  <a:gd name="connsiteY189" fmla="*/ 1960286 h 3006470"/>
                  <a:gd name="connsiteX190" fmla="*/ 4463118 w 6006665"/>
                  <a:gd name="connsiteY190" fmla="*/ 1961137 h 3006470"/>
                  <a:gd name="connsiteX191" fmla="*/ 4357637 w 6006665"/>
                  <a:gd name="connsiteY191" fmla="*/ 1952698 h 3006470"/>
                  <a:gd name="connsiteX192" fmla="*/ 4243233 w 6006665"/>
                  <a:gd name="connsiteY192" fmla="*/ 1972499 h 3006470"/>
                  <a:gd name="connsiteX193" fmla="*/ 4125065 w 6006665"/>
                  <a:gd name="connsiteY193" fmla="*/ 2106574 h 3006470"/>
                  <a:gd name="connsiteX194" fmla="*/ 3984173 w 6006665"/>
                  <a:gd name="connsiteY194" fmla="*/ 2263374 h 3006470"/>
                  <a:gd name="connsiteX195" fmla="*/ 4038712 w 6006665"/>
                  <a:gd name="connsiteY195" fmla="*/ 2267919 h 3006470"/>
                  <a:gd name="connsiteX196" fmla="*/ 4059164 w 6006665"/>
                  <a:gd name="connsiteY196" fmla="*/ 2311096 h 3006470"/>
                  <a:gd name="connsiteX197" fmla="*/ 4087782 w 6006665"/>
                  <a:gd name="connsiteY197" fmla="*/ 2319513 h 3006470"/>
                  <a:gd name="connsiteX198" fmla="*/ 4106341 w 6006665"/>
                  <a:gd name="connsiteY198" fmla="*/ 2290644 h 3006470"/>
                  <a:gd name="connsiteX199" fmla="*/ 4117411 w 6006665"/>
                  <a:gd name="connsiteY199" fmla="*/ 2291946 h 3006470"/>
                  <a:gd name="connsiteX200" fmla="*/ 4118248 w 6006665"/>
                  <a:gd name="connsiteY200" fmla="*/ 2290644 h 3006470"/>
                  <a:gd name="connsiteX201" fmla="*/ 4156880 w 6006665"/>
                  <a:gd name="connsiteY201" fmla="*/ 2295189 h 3006470"/>
                  <a:gd name="connsiteX202" fmla="*/ 4211419 w 6006665"/>
                  <a:gd name="connsiteY202" fmla="*/ 2365635 h 3006470"/>
                  <a:gd name="connsiteX203" fmla="*/ 4215964 w 6006665"/>
                  <a:gd name="connsiteY203" fmla="*/ 2413357 h 3006470"/>
                  <a:gd name="connsiteX204" fmla="*/ 4184149 w 6006665"/>
                  <a:gd name="connsiteY204" fmla="*/ 2472441 h 3006470"/>
                  <a:gd name="connsiteX205" fmla="*/ 4177332 w 6006665"/>
                  <a:gd name="connsiteY205" fmla="*/ 2542887 h 3006470"/>
                  <a:gd name="connsiteX206" fmla="*/ 4161425 w 6006665"/>
                  <a:gd name="connsiteY206" fmla="*/ 2629241 h 3006470"/>
                  <a:gd name="connsiteX207" fmla="*/ 4109158 w 6006665"/>
                  <a:gd name="connsiteY207" fmla="*/ 2708777 h 3006470"/>
                  <a:gd name="connsiteX208" fmla="*/ 4097796 w 6006665"/>
                  <a:gd name="connsiteY208" fmla="*/ 2747409 h 3006470"/>
                  <a:gd name="connsiteX209" fmla="*/ 4043257 w 6006665"/>
                  <a:gd name="connsiteY209" fmla="*/ 2806493 h 3006470"/>
                  <a:gd name="connsiteX210" fmla="*/ 3995535 w 6006665"/>
                  <a:gd name="connsiteY210" fmla="*/ 2865577 h 3006470"/>
                  <a:gd name="connsiteX211" fmla="*/ 3975083 w 6006665"/>
                  <a:gd name="connsiteY211" fmla="*/ 2897392 h 3006470"/>
                  <a:gd name="connsiteX212" fmla="*/ 3925089 w 6006665"/>
                  <a:gd name="connsiteY212" fmla="*/ 2924661 h 3006470"/>
                  <a:gd name="connsiteX213" fmla="*/ 3913182 w 6006665"/>
                  <a:gd name="connsiteY213" fmla="*/ 2924661 h 3006470"/>
                  <a:gd name="connsiteX214" fmla="*/ 3904637 w 6006665"/>
                  <a:gd name="connsiteY214" fmla="*/ 2924661 h 3006470"/>
                  <a:gd name="connsiteX215" fmla="*/ 3892729 w 6006665"/>
                  <a:gd name="connsiteY215" fmla="*/ 2924661 h 3006470"/>
                  <a:gd name="connsiteX216" fmla="*/ 3871063 w 6006665"/>
                  <a:gd name="connsiteY216" fmla="*/ 2908412 h 3006470"/>
                  <a:gd name="connsiteX217" fmla="*/ 3829645 w 6006665"/>
                  <a:gd name="connsiteY217" fmla="*/ 2936024 h 3006470"/>
                  <a:gd name="connsiteX218" fmla="*/ 3822828 w 6006665"/>
                  <a:gd name="connsiteY218" fmla="*/ 2956476 h 3006470"/>
                  <a:gd name="connsiteX219" fmla="*/ 3818283 w 6006665"/>
                  <a:gd name="connsiteY219" fmla="*/ 2947386 h 3006470"/>
                  <a:gd name="connsiteX220" fmla="*/ 3818283 w 6006665"/>
                  <a:gd name="connsiteY220" fmla="*/ 2935660 h 3006470"/>
                  <a:gd name="connsiteX221" fmla="*/ 3817738 w 6006665"/>
                  <a:gd name="connsiteY221" fmla="*/ 2936024 h 3006470"/>
                  <a:gd name="connsiteX222" fmla="*/ 3810921 w 6006665"/>
                  <a:gd name="connsiteY222" fmla="*/ 2956476 h 3006470"/>
                  <a:gd name="connsiteX223" fmla="*/ 3806376 w 6006665"/>
                  <a:gd name="connsiteY223" fmla="*/ 2947386 h 3006470"/>
                  <a:gd name="connsiteX224" fmla="*/ 3806376 w 6006665"/>
                  <a:gd name="connsiteY224" fmla="*/ 2920116 h 3006470"/>
                  <a:gd name="connsiteX225" fmla="*/ 3818283 w 6006665"/>
                  <a:gd name="connsiteY225" fmla="*/ 2920116 h 3006470"/>
                  <a:gd name="connsiteX226" fmla="*/ 3826828 w 6006665"/>
                  <a:gd name="connsiteY226" fmla="*/ 2920116 h 3006470"/>
                  <a:gd name="connsiteX227" fmla="*/ 3833645 w 6006665"/>
                  <a:gd name="connsiteY227" fmla="*/ 2861032 h 3006470"/>
                  <a:gd name="connsiteX228" fmla="*/ 3822283 w 6006665"/>
                  <a:gd name="connsiteY228" fmla="*/ 2817856 h 3006470"/>
                  <a:gd name="connsiteX229" fmla="*/ 3849553 w 6006665"/>
                  <a:gd name="connsiteY229" fmla="*/ 2795131 h 3006470"/>
                  <a:gd name="connsiteX230" fmla="*/ 3858814 w 6006665"/>
                  <a:gd name="connsiteY230" fmla="*/ 2797336 h 3006470"/>
                  <a:gd name="connsiteX231" fmla="*/ 3861460 w 6006665"/>
                  <a:gd name="connsiteY231" fmla="*/ 2795131 h 3006470"/>
                  <a:gd name="connsiteX232" fmla="*/ 3898487 w 6006665"/>
                  <a:gd name="connsiteY232" fmla="*/ 2803947 h 3006470"/>
                  <a:gd name="connsiteX233" fmla="*/ 3919999 w 6006665"/>
                  <a:gd name="connsiteY233" fmla="*/ 2758772 h 3006470"/>
                  <a:gd name="connsiteX234" fmla="*/ 3935906 w 6006665"/>
                  <a:gd name="connsiteY234" fmla="*/ 2699687 h 3006470"/>
                  <a:gd name="connsiteX235" fmla="*/ 3947269 w 6006665"/>
                  <a:gd name="connsiteY235" fmla="*/ 2676963 h 3006470"/>
                  <a:gd name="connsiteX236" fmla="*/ 3966292 w 6006665"/>
                  <a:gd name="connsiteY236" fmla="*/ 2632575 h 3006470"/>
                  <a:gd name="connsiteX237" fmla="*/ 3915999 w 6006665"/>
                  <a:gd name="connsiteY237" fmla="*/ 2645148 h 3006470"/>
                  <a:gd name="connsiteX238" fmla="*/ 3888729 w 6006665"/>
                  <a:gd name="connsiteY238" fmla="*/ 2667873 h 3006470"/>
                  <a:gd name="connsiteX239" fmla="*/ 3876822 w 6006665"/>
                  <a:gd name="connsiteY239" fmla="*/ 2667873 h 3006470"/>
                  <a:gd name="connsiteX240" fmla="*/ 3829645 w 6006665"/>
                  <a:gd name="connsiteY240" fmla="*/ 2667873 h 3006470"/>
                  <a:gd name="connsiteX241" fmla="*/ 3817738 w 6006665"/>
                  <a:gd name="connsiteY241" fmla="*/ 2667873 h 3006470"/>
                  <a:gd name="connsiteX242" fmla="*/ 3801831 w 6006665"/>
                  <a:gd name="connsiteY242" fmla="*/ 2613334 h 3006470"/>
                  <a:gd name="connsiteX243" fmla="*/ 3758654 w 6006665"/>
                  <a:gd name="connsiteY243" fmla="*/ 2574702 h 3006470"/>
                  <a:gd name="connsiteX244" fmla="*/ 3692753 w 6006665"/>
                  <a:gd name="connsiteY244" fmla="*/ 2558795 h 3006470"/>
                  <a:gd name="connsiteX245" fmla="*/ 3683663 w 6006665"/>
                  <a:gd name="connsiteY245" fmla="*/ 2499711 h 3006470"/>
                  <a:gd name="connsiteX246" fmla="*/ 3672301 w 6006665"/>
                  <a:gd name="connsiteY246" fmla="*/ 2467896 h 3006470"/>
                  <a:gd name="connsiteX247" fmla="*/ 3656393 w 6006665"/>
                  <a:gd name="connsiteY247" fmla="*/ 2440627 h 3006470"/>
                  <a:gd name="connsiteX248" fmla="*/ 3633669 w 6006665"/>
                  <a:gd name="connsiteY248" fmla="*/ 2381542 h 3006470"/>
                  <a:gd name="connsiteX249" fmla="*/ 3601854 w 6006665"/>
                  <a:gd name="connsiteY249" fmla="*/ 2361090 h 3006470"/>
                  <a:gd name="connsiteX250" fmla="*/ 3545995 w 6006665"/>
                  <a:gd name="connsiteY250" fmla="*/ 2339606 h 3006470"/>
                  <a:gd name="connsiteX251" fmla="*/ 3506955 w 6006665"/>
                  <a:gd name="connsiteY251" fmla="*/ 2345183 h 3006470"/>
                  <a:gd name="connsiteX252" fmla="*/ 3463779 w 6006665"/>
                  <a:gd name="connsiteY252" fmla="*/ 2354273 h 3006470"/>
                  <a:gd name="connsiteX253" fmla="*/ 3431964 w 6006665"/>
                  <a:gd name="connsiteY253" fmla="*/ 2381542 h 3006470"/>
                  <a:gd name="connsiteX254" fmla="*/ 3452416 w 6006665"/>
                  <a:gd name="connsiteY254" fmla="*/ 2397450 h 3006470"/>
                  <a:gd name="connsiteX255" fmla="*/ 3452416 w 6006665"/>
                  <a:gd name="connsiteY255" fmla="*/ 2429264 h 3006470"/>
                  <a:gd name="connsiteX256" fmla="*/ 3431964 w 6006665"/>
                  <a:gd name="connsiteY256" fmla="*/ 2451989 h 3006470"/>
                  <a:gd name="connsiteX257" fmla="*/ 3400150 w 6006665"/>
                  <a:gd name="connsiteY257" fmla="*/ 2511073 h 3006470"/>
                  <a:gd name="connsiteX258" fmla="*/ 3400150 w 6006665"/>
                  <a:gd name="connsiteY258" fmla="*/ 2538343 h 3006470"/>
                  <a:gd name="connsiteX259" fmla="*/ 3350155 w 6006665"/>
                  <a:gd name="connsiteY259" fmla="*/ 2570157 h 3006470"/>
                  <a:gd name="connsiteX260" fmla="*/ 3342342 w 6006665"/>
                  <a:gd name="connsiteY260" fmla="*/ 2567553 h 3006470"/>
                  <a:gd name="connsiteX261" fmla="*/ 3338249 w 6006665"/>
                  <a:gd name="connsiteY261" fmla="*/ 2570157 h 3006470"/>
                  <a:gd name="connsiteX262" fmla="*/ 3290527 w 6006665"/>
                  <a:gd name="connsiteY262" fmla="*/ 2554250 h 3006470"/>
                  <a:gd name="connsiteX263" fmla="*/ 3259257 w 6006665"/>
                  <a:gd name="connsiteY263" fmla="*/ 2554250 h 3006470"/>
                  <a:gd name="connsiteX264" fmla="*/ 3247350 w 6006665"/>
                  <a:gd name="connsiteY264" fmla="*/ 2554250 h 3006470"/>
                  <a:gd name="connsiteX265" fmla="*/ 3231443 w 6006665"/>
                  <a:gd name="connsiteY265" fmla="*/ 2538343 h 3006470"/>
                  <a:gd name="connsiteX266" fmla="*/ 3213271 w 6006665"/>
                  <a:gd name="connsiteY266" fmla="*/ 2533799 h 3006470"/>
                  <a:gd name="connsiteX267" fmla="*/ 3168359 w 6006665"/>
                  <a:gd name="connsiteY267" fmla="*/ 2570157 h 3006470"/>
                  <a:gd name="connsiteX268" fmla="*/ 3120637 w 6006665"/>
                  <a:gd name="connsiteY268" fmla="*/ 2581519 h 3006470"/>
                  <a:gd name="connsiteX269" fmla="*/ 3082005 w 6006665"/>
                  <a:gd name="connsiteY269" fmla="*/ 2597427 h 3006470"/>
                  <a:gd name="connsiteX270" fmla="*/ 3074460 w 6006665"/>
                  <a:gd name="connsiteY270" fmla="*/ 2595630 h 3006470"/>
                  <a:gd name="connsiteX271" fmla="*/ 3070098 w 6006665"/>
                  <a:gd name="connsiteY271" fmla="*/ 2597427 h 3006470"/>
                  <a:gd name="connsiteX272" fmla="*/ 3022376 w 6006665"/>
                  <a:gd name="connsiteY272" fmla="*/ 2586064 h 3006470"/>
                  <a:gd name="connsiteX273" fmla="*/ 3000196 w 6006665"/>
                  <a:gd name="connsiteY273" fmla="*/ 2586064 h 3006470"/>
                  <a:gd name="connsiteX274" fmla="*/ 2988289 w 6006665"/>
                  <a:gd name="connsiteY274" fmla="*/ 2586064 h 3006470"/>
                  <a:gd name="connsiteX275" fmla="*/ 2967837 w 6006665"/>
                  <a:gd name="connsiteY275" fmla="*/ 2554250 h 3006470"/>
                  <a:gd name="connsiteX276" fmla="*/ 2929205 w 6006665"/>
                  <a:gd name="connsiteY276" fmla="*/ 2526980 h 3006470"/>
                  <a:gd name="connsiteX277" fmla="*/ 2902153 w 6006665"/>
                  <a:gd name="connsiteY277" fmla="*/ 2523116 h 3006470"/>
                  <a:gd name="connsiteX278" fmla="*/ 2861576 w 6006665"/>
                  <a:gd name="connsiteY278" fmla="*/ 2526980 h 3006470"/>
                  <a:gd name="connsiteX279" fmla="*/ 2822944 w 6006665"/>
                  <a:gd name="connsiteY279" fmla="*/ 2538343 h 3006470"/>
                  <a:gd name="connsiteX280" fmla="*/ 2818139 w 6006665"/>
                  <a:gd name="connsiteY280" fmla="*/ 2536254 h 3006470"/>
                  <a:gd name="connsiteX281" fmla="*/ 2811037 w 6006665"/>
                  <a:gd name="connsiteY281" fmla="*/ 2538343 h 3006470"/>
                  <a:gd name="connsiteX282" fmla="*/ 2758770 w 6006665"/>
                  <a:gd name="connsiteY282" fmla="*/ 2515618 h 3006470"/>
                  <a:gd name="connsiteX283" fmla="*/ 2751953 w 6006665"/>
                  <a:gd name="connsiteY283" fmla="*/ 2472441 h 3006470"/>
                  <a:gd name="connsiteX284" fmla="*/ 2708776 w 6006665"/>
                  <a:gd name="connsiteY284" fmla="*/ 2456534 h 3006470"/>
                  <a:gd name="connsiteX285" fmla="*/ 2676962 w 6006665"/>
                  <a:gd name="connsiteY285" fmla="*/ 2451989 h 3006470"/>
                  <a:gd name="connsiteX286" fmla="*/ 2642534 w 6006665"/>
                  <a:gd name="connsiteY286" fmla="*/ 2430245 h 3006470"/>
                  <a:gd name="connsiteX287" fmla="*/ 2609333 w 6006665"/>
                  <a:gd name="connsiteY287" fmla="*/ 2488348 h 3006470"/>
                  <a:gd name="connsiteX288" fmla="*/ 2625240 w 6006665"/>
                  <a:gd name="connsiteY288" fmla="*/ 2522435 h 3006470"/>
                  <a:gd name="connsiteX289" fmla="*/ 2586608 w 6006665"/>
                  <a:gd name="connsiteY289" fmla="*/ 2558795 h 3006470"/>
                  <a:gd name="connsiteX290" fmla="*/ 2577105 w 6006665"/>
                  <a:gd name="connsiteY290" fmla="*/ 2556532 h 3006470"/>
                  <a:gd name="connsiteX291" fmla="*/ 2574701 w 6006665"/>
                  <a:gd name="connsiteY291" fmla="*/ 2558795 h 3006470"/>
                  <a:gd name="connsiteX292" fmla="*/ 2526979 w 6006665"/>
                  <a:gd name="connsiteY292" fmla="*/ 2547432 h 3006470"/>
                  <a:gd name="connsiteX293" fmla="*/ 2490620 w 6006665"/>
                  <a:gd name="connsiteY293" fmla="*/ 2542887 h 3006470"/>
                  <a:gd name="connsiteX294" fmla="*/ 2463350 w 6006665"/>
                  <a:gd name="connsiteY294" fmla="*/ 2515618 h 3006470"/>
                  <a:gd name="connsiteX295" fmla="*/ 2436625 w 6006665"/>
                  <a:gd name="connsiteY295" fmla="*/ 2515618 h 3006470"/>
                  <a:gd name="connsiteX296" fmla="*/ 2424718 w 6006665"/>
                  <a:gd name="connsiteY296" fmla="*/ 2515618 h 3006470"/>
                  <a:gd name="connsiteX297" fmla="*/ 2398858 w 6006665"/>
                  <a:gd name="connsiteY297" fmla="*/ 2502687 h 3006470"/>
                  <a:gd name="connsiteX298" fmla="*/ 2350272 w 6006665"/>
                  <a:gd name="connsiteY298" fmla="*/ 2526980 h 3006470"/>
                  <a:gd name="connsiteX299" fmla="*/ 2282098 w 6006665"/>
                  <a:gd name="connsiteY299" fmla="*/ 2574702 h 3006470"/>
                  <a:gd name="connsiteX300" fmla="*/ 2238921 w 6006665"/>
                  <a:gd name="connsiteY300" fmla="*/ 2586064 h 3006470"/>
                  <a:gd name="connsiteX301" fmla="*/ 2227559 w 6006665"/>
                  <a:gd name="connsiteY301" fmla="*/ 2590609 h 3006470"/>
                  <a:gd name="connsiteX302" fmla="*/ 2225178 w 6006665"/>
                  <a:gd name="connsiteY302" fmla="*/ 2586799 h 3006470"/>
                  <a:gd name="connsiteX303" fmla="*/ 2215652 w 6006665"/>
                  <a:gd name="connsiteY303" fmla="*/ 2590609 h 3006470"/>
                  <a:gd name="connsiteX304" fmla="*/ 2193596 w 6006665"/>
                  <a:gd name="connsiteY304" fmla="*/ 2555320 h 3006470"/>
                  <a:gd name="connsiteX305" fmla="*/ 2157112 w 6006665"/>
                  <a:gd name="connsiteY305" fmla="*/ 2558795 h 3006470"/>
                  <a:gd name="connsiteX306" fmla="*/ 2156291 w 6006665"/>
                  <a:gd name="connsiteY306" fmla="*/ 2557739 h 3006470"/>
                  <a:gd name="connsiteX307" fmla="*/ 2145205 w 6006665"/>
                  <a:gd name="connsiteY307" fmla="*/ 2558795 h 3006470"/>
                  <a:gd name="connsiteX308" fmla="*/ 2129298 w 6006665"/>
                  <a:gd name="connsiteY308" fmla="*/ 2538343 h 3006470"/>
                  <a:gd name="connsiteX309" fmla="*/ 2102029 w 6006665"/>
                  <a:gd name="connsiteY309" fmla="*/ 2526980 h 3006470"/>
                  <a:gd name="connsiteX310" fmla="*/ 2086121 w 6006665"/>
                  <a:gd name="connsiteY310" fmla="*/ 2495166 h 3006470"/>
                  <a:gd name="connsiteX311" fmla="*/ 2070005 w 6006665"/>
                  <a:gd name="connsiteY311" fmla="*/ 2486212 h 3006470"/>
                  <a:gd name="connsiteX312" fmla="*/ 2027582 w 6006665"/>
                  <a:gd name="connsiteY312" fmla="*/ 2499711 h 3006470"/>
                  <a:gd name="connsiteX313" fmla="*/ 2023845 w 6006665"/>
                  <a:gd name="connsiteY313" fmla="*/ 2497111 h 3006470"/>
                  <a:gd name="connsiteX314" fmla="*/ 2015675 w 6006665"/>
                  <a:gd name="connsiteY314" fmla="*/ 2499711 h 3006470"/>
                  <a:gd name="connsiteX315" fmla="*/ 1971363 w 6006665"/>
                  <a:gd name="connsiteY315" fmla="*/ 2468885 h 3006470"/>
                  <a:gd name="connsiteX316" fmla="*/ 1952591 w 6006665"/>
                  <a:gd name="connsiteY316" fmla="*/ 2495166 h 3006470"/>
                  <a:gd name="connsiteX317" fmla="*/ 1947518 w 6006665"/>
                  <a:gd name="connsiteY317" fmla="*/ 2485599 h 3006470"/>
                  <a:gd name="connsiteX318" fmla="*/ 1940684 w 6006665"/>
                  <a:gd name="connsiteY318" fmla="*/ 2495166 h 3006470"/>
                  <a:gd name="connsiteX319" fmla="*/ 1861147 w 6006665"/>
                  <a:gd name="connsiteY319" fmla="*/ 2345183 h 3006470"/>
                  <a:gd name="connsiteX320" fmla="*/ 1811153 w 6006665"/>
                  <a:gd name="connsiteY320" fmla="*/ 2295189 h 3006470"/>
                  <a:gd name="connsiteX321" fmla="*/ 1813950 w 6006665"/>
                  <a:gd name="connsiteY321" fmla="*/ 2292043 h 3006470"/>
                  <a:gd name="connsiteX322" fmla="*/ 1748069 w 6006665"/>
                  <a:gd name="connsiteY322" fmla="*/ 2333821 h 3006470"/>
                  <a:gd name="connsiteX323" fmla="*/ 1711709 w 6006665"/>
                  <a:gd name="connsiteY323" fmla="*/ 2338366 h 3006470"/>
                  <a:gd name="connsiteX324" fmla="*/ 1711926 w 6006665"/>
                  <a:gd name="connsiteY324" fmla="*/ 2336850 h 3006470"/>
                  <a:gd name="connsiteX325" fmla="*/ 1699803 w 6006665"/>
                  <a:gd name="connsiteY325" fmla="*/ 2338366 h 3006470"/>
                  <a:gd name="connsiteX326" fmla="*/ 1704347 w 6006665"/>
                  <a:gd name="connsiteY326" fmla="*/ 2306551 h 3006470"/>
                  <a:gd name="connsiteX327" fmla="*/ 1662460 w 6006665"/>
                  <a:gd name="connsiteY327" fmla="*/ 2288600 h 3006470"/>
                  <a:gd name="connsiteX328" fmla="*/ 1629901 w 6006665"/>
                  <a:gd name="connsiteY328" fmla="*/ 2302006 h 3006470"/>
                  <a:gd name="connsiteX329" fmla="*/ 1629300 w 6006665"/>
                  <a:gd name="connsiteY329" fmla="*/ 2297351 h 3006470"/>
                  <a:gd name="connsiteX330" fmla="*/ 1617994 w 6006665"/>
                  <a:gd name="connsiteY330" fmla="*/ 2302006 h 3006470"/>
                  <a:gd name="connsiteX331" fmla="*/ 1608904 w 6006665"/>
                  <a:gd name="connsiteY331" fmla="*/ 2231560 h 3006470"/>
                  <a:gd name="connsiteX332" fmla="*/ 1552684 w 6006665"/>
                  <a:gd name="connsiteY332" fmla="*/ 2221867 h 3006470"/>
                  <a:gd name="connsiteX333" fmla="*/ 1518550 w 6006665"/>
                  <a:gd name="connsiteY333" fmla="*/ 2247467 h 3006470"/>
                  <a:gd name="connsiteX334" fmla="*/ 1425379 w 6006665"/>
                  <a:gd name="connsiteY334" fmla="*/ 2267919 h 3006470"/>
                  <a:gd name="connsiteX335" fmla="*/ 1409472 w 6006665"/>
                  <a:gd name="connsiteY335" fmla="*/ 2286099 h 3006470"/>
                  <a:gd name="connsiteX336" fmla="*/ 1270852 w 6006665"/>
                  <a:gd name="connsiteY336" fmla="*/ 2306551 h 3006470"/>
                  <a:gd name="connsiteX337" fmla="*/ 1254945 w 6006665"/>
                  <a:gd name="connsiteY337" fmla="*/ 2327003 h 3006470"/>
                  <a:gd name="connsiteX338" fmla="*/ 1282214 w 6006665"/>
                  <a:gd name="connsiteY338" fmla="*/ 2370180 h 3006470"/>
                  <a:gd name="connsiteX339" fmla="*/ 1243582 w 6006665"/>
                  <a:gd name="connsiteY339" fmla="*/ 2386087 h 3006470"/>
                  <a:gd name="connsiteX340" fmla="*/ 1254945 w 6006665"/>
                  <a:gd name="connsiteY340" fmla="*/ 2404267 h 3006470"/>
                  <a:gd name="connsiteX341" fmla="*/ 1216313 w 6006665"/>
                  <a:gd name="connsiteY341" fmla="*/ 2429264 h 3006470"/>
                  <a:gd name="connsiteX342" fmla="*/ 1275397 w 6006665"/>
                  <a:gd name="connsiteY342" fmla="*/ 2472441 h 3006470"/>
                  <a:gd name="connsiteX343" fmla="*/ 1270852 w 6006665"/>
                  <a:gd name="connsiteY343" fmla="*/ 2499711 h 3006470"/>
                  <a:gd name="connsiteX344" fmla="*/ 1259108 w 6006665"/>
                  <a:gd name="connsiteY344" fmla="*/ 2498732 h 3006470"/>
                  <a:gd name="connsiteX345" fmla="*/ 1258945 w 6006665"/>
                  <a:gd name="connsiteY345" fmla="*/ 2499711 h 3006470"/>
                  <a:gd name="connsiteX346" fmla="*/ 1215644 w 6006665"/>
                  <a:gd name="connsiteY346" fmla="*/ 2496102 h 3006470"/>
                  <a:gd name="connsiteX347" fmla="*/ 1204950 w 6006665"/>
                  <a:gd name="connsiteY347" fmla="*/ 2511073 h 3006470"/>
                  <a:gd name="connsiteX348" fmla="*/ 1196495 w 6006665"/>
                  <a:gd name="connsiteY348" fmla="*/ 2506241 h 3006470"/>
                  <a:gd name="connsiteX349" fmla="*/ 1193043 w 6006665"/>
                  <a:gd name="connsiteY349" fmla="*/ 2511073 h 3006470"/>
                  <a:gd name="connsiteX350" fmla="*/ 1145322 w 6006665"/>
                  <a:gd name="connsiteY350" fmla="*/ 2483803 h 3006470"/>
                  <a:gd name="connsiteX351" fmla="*/ 1098145 w 6006665"/>
                  <a:gd name="connsiteY351" fmla="*/ 2483803 h 3006470"/>
                  <a:gd name="connsiteX352" fmla="*/ 1061785 w 6006665"/>
                  <a:gd name="connsiteY352" fmla="*/ 2511073 h 3006470"/>
                  <a:gd name="connsiteX353" fmla="*/ 1055322 w 6006665"/>
                  <a:gd name="connsiteY353" fmla="*/ 2506990 h 3006470"/>
                  <a:gd name="connsiteX354" fmla="*/ 1049878 w 6006665"/>
                  <a:gd name="connsiteY354" fmla="*/ 2511073 h 3006470"/>
                  <a:gd name="connsiteX355" fmla="*/ 1006701 w 6006665"/>
                  <a:gd name="connsiteY355" fmla="*/ 2483803 h 3006470"/>
                  <a:gd name="connsiteX356" fmla="*/ 924893 w 6006665"/>
                  <a:gd name="connsiteY356" fmla="*/ 2447444 h 3006470"/>
                  <a:gd name="connsiteX357" fmla="*/ 877716 w 6006665"/>
                  <a:gd name="connsiteY357" fmla="*/ 2447444 h 3006470"/>
                  <a:gd name="connsiteX358" fmla="*/ 802724 w 6006665"/>
                  <a:gd name="connsiteY358" fmla="*/ 2511073 h 3006470"/>
                  <a:gd name="connsiteX359" fmla="*/ 798179 w 6006665"/>
                  <a:gd name="connsiteY359" fmla="*/ 2554250 h 3006470"/>
                  <a:gd name="connsiteX360" fmla="*/ 787406 w 6006665"/>
                  <a:gd name="connsiteY360" fmla="*/ 2543477 h 3006470"/>
                  <a:gd name="connsiteX361" fmla="*/ 786272 w 6006665"/>
                  <a:gd name="connsiteY361" fmla="*/ 2554250 h 3006470"/>
                  <a:gd name="connsiteX362" fmla="*/ 756063 w 6006665"/>
                  <a:gd name="connsiteY362" fmla="*/ 2524040 h 3006470"/>
                  <a:gd name="connsiteX363" fmla="*/ 732278 w 6006665"/>
                  <a:gd name="connsiteY363" fmla="*/ 2581519 h 3006470"/>
                  <a:gd name="connsiteX364" fmla="*/ 743640 w 6006665"/>
                  <a:gd name="connsiteY364" fmla="*/ 2590609 h 3006470"/>
                  <a:gd name="connsiteX365" fmla="*/ 723188 w 6006665"/>
                  <a:gd name="connsiteY365" fmla="*/ 2633786 h 3006470"/>
                  <a:gd name="connsiteX366" fmla="*/ 747026 w 6006665"/>
                  <a:gd name="connsiteY366" fmla="*/ 2670627 h 3006470"/>
                  <a:gd name="connsiteX367" fmla="*/ 763548 w 6006665"/>
                  <a:gd name="connsiteY367" fmla="*/ 2667873 h 3006470"/>
                  <a:gd name="connsiteX368" fmla="*/ 764871 w 6006665"/>
                  <a:gd name="connsiteY368" fmla="*/ 2669637 h 3006470"/>
                  <a:gd name="connsiteX369" fmla="*/ 775455 w 6006665"/>
                  <a:gd name="connsiteY369" fmla="*/ 2667873 h 3006470"/>
                  <a:gd name="connsiteX370" fmla="*/ 802724 w 6006665"/>
                  <a:gd name="connsiteY370" fmla="*/ 2704232 h 3006470"/>
                  <a:gd name="connsiteX371" fmla="*/ 798179 w 6006665"/>
                  <a:gd name="connsiteY371" fmla="*/ 2731502 h 3006470"/>
                  <a:gd name="connsiteX372" fmla="*/ 818632 w 6006665"/>
                  <a:gd name="connsiteY372" fmla="*/ 2742864 h 3006470"/>
                  <a:gd name="connsiteX373" fmla="*/ 802724 w 6006665"/>
                  <a:gd name="connsiteY373" fmla="*/ 2774679 h 3006470"/>
                  <a:gd name="connsiteX374" fmla="*/ 766365 w 6006665"/>
                  <a:gd name="connsiteY374" fmla="*/ 2779224 h 3006470"/>
                  <a:gd name="connsiteX375" fmla="*/ 727733 w 6006665"/>
                  <a:gd name="connsiteY375" fmla="*/ 2838308 h 3006470"/>
                  <a:gd name="connsiteX376" fmla="*/ 759548 w 6006665"/>
                  <a:gd name="connsiteY376" fmla="*/ 2881485 h 3006470"/>
                  <a:gd name="connsiteX377" fmla="*/ 759548 w 6006665"/>
                  <a:gd name="connsiteY377" fmla="*/ 2920116 h 3006470"/>
                  <a:gd name="connsiteX378" fmla="*/ 798179 w 6006665"/>
                  <a:gd name="connsiteY378" fmla="*/ 2979201 h 3006470"/>
                  <a:gd name="connsiteX379" fmla="*/ 775455 w 6006665"/>
                  <a:gd name="connsiteY379" fmla="*/ 2995108 h 3006470"/>
                  <a:gd name="connsiteX380" fmla="*/ 770910 w 6006665"/>
                  <a:gd name="connsiteY380" fmla="*/ 3006470 h 3006470"/>
                  <a:gd name="connsiteX381" fmla="*/ 759003 w 6006665"/>
                  <a:gd name="connsiteY381" fmla="*/ 3006470 h 3006470"/>
                  <a:gd name="connsiteX382" fmla="*/ 755003 w 6006665"/>
                  <a:gd name="connsiteY382" fmla="*/ 3006470 h 3006470"/>
                  <a:gd name="connsiteX383" fmla="*/ 743096 w 6006665"/>
                  <a:gd name="connsiteY383" fmla="*/ 3006470 h 3006470"/>
                  <a:gd name="connsiteX384" fmla="*/ 715826 w 6006665"/>
                  <a:gd name="connsiteY384" fmla="*/ 2972383 h 3006470"/>
                  <a:gd name="connsiteX385" fmla="*/ 704464 w 6006665"/>
                  <a:gd name="connsiteY385" fmla="*/ 2972383 h 3006470"/>
                  <a:gd name="connsiteX386" fmla="*/ 684012 w 6006665"/>
                  <a:gd name="connsiteY386" fmla="*/ 2963293 h 3006470"/>
                  <a:gd name="connsiteX387" fmla="*/ 672649 w 6006665"/>
                  <a:gd name="connsiteY387" fmla="*/ 2940569 h 3006470"/>
                  <a:gd name="connsiteX388" fmla="*/ 645222 w 6006665"/>
                  <a:gd name="connsiteY388" fmla="*/ 2932732 h 3006470"/>
                  <a:gd name="connsiteX389" fmla="*/ 625472 w 6006665"/>
                  <a:gd name="connsiteY389" fmla="*/ 2936024 h 3006470"/>
                  <a:gd name="connsiteX390" fmla="*/ 623771 w 6006665"/>
                  <a:gd name="connsiteY390" fmla="*/ 2934323 h 3006470"/>
                  <a:gd name="connsiteX391" fmla="*/ 613565 w 6006665"/>
                  <a:gd name="connsiteY391" fmla="*/ 2936024 h 3006470"/>
                  <a:gd name="connsiteX392" fmla="*/ 609020 w 6006665"/>
                  <a:gd name="connsiteY392" fmla="*/ 2931479 h 3006470"/>
                  <a:gd name="connsiteX393" fmla="*/ 559026 w 6006665"/>
                  <a:gd name="connsiteY393" fmla="*/ 2904209 h 3006470"/>
                  <a:gd name="connsiteX394" fmla="*/ 506760 w 6006665"/>
                  <a:gd name="connsiteY394" fmla="*/ 2897392 h 3006470"/>
                  <a:gd name="connsiteX395" fmla="*/ 483280 w 6006665"/>
                  <a:gd name="connsiteY395" fmla="*/ 2890683 h 3006470"/>
                  <a:gd name="connsiteX396" fmla="*/ 480035 w 6006665"/>
                  <a:gd name="connsiteY396" fmla="*/ 2892847 h 3006470"/>
                  <a:gd name="connsiteX397" fmla="*/ 475042 w 6006665"/>
                  <a:gd name="connsiteY397" fmla="*/ 2888329 h 3006470"/>
                  <a:gd name="connsiteX398" fmla="*/ 474945 w 6006665"/>
                  <a:gd name="connsiteY398" fmla="*/ 2888302 h 3006470"/>
                  <a:gd name="connsiteX399" fmla="*/ 468128 w 6006665"/>
                  <a:gd name="connsiteY399" fmla="*/ 2892847 h 3006470"/>
                  <a:gd name="connsiteX400" fmla="*/ 420406 w 6006665"/>
                  <a:gd name="connsiteY400" fmla="*/ 2849670 h 3006470"/>
                  <a:gd name="connsiteX401" fmla="*/ 381774 w 6006665"/>
                  <a:gd name="connsiteY401" fmla="*/ 2833763 h 3006470"/>
                  <a:gd name="connsiteX402" fmla="*/ 349960 w 6006665"/>
                  <a:gd name="connsiteY402" fmla="*/ 2801948 h 3006470"/>
                  <a:gd name="connsiteX403" fmla="*/ 377229 w 6006665"/>
                  <a:gd name="connsiteY403" fmla="*/ 2795131 h 3006470"/>
                  <a:gd name="connsiteX404" fmla="*/ 404499 w 6006665"/>
                  <a:gd name="connsiteY404" fmla="*/ 2747409 h 3006470"/>
                  <a:gd name="connsiteX405" fmla="*/ 388591 w 6006665"/>
                  <a:gd name="connsiteY405" fmla="*/ 2731502 h 3006470"/>
                  <a:gd name="connsiteX406" fmla="*/ 440858 w 6006665"/>
                  <a:gd name="connsiteY406" fmla="*/ 2704232 h 3006470"/>
                  <a:gd name="connsiteX407" fmla="*/ 440858 w 6006665"/>
                  <a:gd name="connsiteY407" fmla="*/ 2701176 h 3006470"/>
                  <a:gd name="connsiteX408" fmla="*/ 416406 w 6006665"/>
                  <a:gd name="connsiteY408" fmla="*/ 2704232 h 3006470"/>
                  <a:gd name="connsiteX409" fmla="*/ 416406 w 6006665"/>
                  <a:gd name="connsiteY409" fmla="*/ 2702744 h 3006470"/>
                  <a:gd name="connsiteX410" fmla="*/ 404499 w 6006665"/>
                  <a:gd name="connsiteY410" fmla="*/ 2704232 h 3006470"/>
                  <a:gd name="connsiteX411" fmla="*/ 404499 w 6006665"/>
                  <a:gd name="connsiteY411" fmla="*/ 2683780 h 3006470"/>
                  <a:gd name="connsiteX412" fmla="*/ 424951 w 6006665"/>
                  <a:gd name="connsiteY412" fmla="*/ 2667873 h 3006470"/>
                  <a:gd name="connsiteX413" fmla="*/ 463583 w 6006665"/>
                  <a:gd name="connsiteY413" fmla="*/ 2661056 h 3006470"/>
                  <a:gd name="connsiteX414" fmla="*/ 468128 w 6006665"/>
                  <a:gd name="connsiteY414" fmla="*/ 2645148 h 3006470"/>
                  <a:gd name="connsiteX415" fmla="*/ 456765 w 6006665"/>
                  <a:gd name="connsiteY415" fmla="*/ 2613334 h 3006470"/>
                  <a:gd name="connsiteX416" fmla="*/ 474945 w 6006665"/>
                  <a:gd name="connsiteY416" fmla="*/ 2586064 h 3006470"/>
                  <a:gd name="connsiteX417" fmla="*/ 474945 w 6006665"/>
                  <a:gd name="connsiteY417" fmla="*/ 2565612 h 3006470"/>
                  <a:gd name="connsiteX418" fmla="*/ 420406 w 6006665"/>
                  <a:gd name="connsiteY418" fmla="*/ 2547432 h 3006470"/>
                  <a:gd name="connsiteX419" fmla="*/ 409588 w 6006665"/>
                  <a:gd name="connsiteY419" fmla="*/ 2547432 h 3006470"/>
                  <a:gd name="connsiteX420" fmla="*/ 397681 w 6006665"/>
                  <a:gd name="connsiteY420" fmla="*/ 2547432 h 3006470"/>
                  <a:gd name="connsiteX421" fmla="*/ 379485 w 6006665"/>
                  <a:gd name="connsiteY421" fmla="*/ 2525193 h 3006470"/>
                  <a:gd name="connsiteX422" fmla="*/ 357322 w 6006665"/>
                  <a:gd name="connsiteY422" fmla="*/ 2531525 h 3006470"/>
                  <a:gd name="connsiteX423" fmla="*/ 352842 w 6006665"/>
                  <a:gd name="connsiteY423" fmla="*/ 2529403 h 3006470"/>
                  <a:gd name="connsiteX424" fmla="*/ 345415 w 6006665"/>
                  <a:gd name="connsiteY424" fmla="*/ 2531525 h 3006470"/>
                  <a:gd name="connsiteX425" fmla="*/ 302238 w 6006665"/>
                  <a:gd name="connsiteY425" fmla="*/ 2511073 h 3006470"/>
                  <a:gd name="connsiteX426" fmla="*/ 302238 w 6006665"/>
                  <a:gd name="connsiteY426" fmla="*/ 2499711 h 3006470"/>
                  <a:gd name="connsiteX427" fmla="*/ 286331 w 6006665"/>
                  <a:gd name="connsiteY427" fmla="*/ 2472441 h 3006470"/>
                  <a:gd name="connsiteX428" fmla="*/ 270968 w 6006665"/>
                  <a:gd name="connsiteY428" fmla="*/ 2472441 h 3006470"/>
                  <a:gd name="connsiteX429" fmla="*/ 259061 w 6006665"/>
                  <a:gd name="connsiteY429" fmla="*/ 2472441 h 3006470"/>
                  <a:gd name="connsiteX430" fmla="*/ 254516 w 6006665"/>
                  <a:gd name="connsiteY430" fmla="*/ 2456534 h 3006470"/>
                  <a:gd name="connsiteX431" fmla="*/ 263606 w 6006665"/>
                  <a:gd name="connsiteY431" fmla="*/ 2440627 h 3006470"/>
                  <a:gd name="connsiteX432" fmla="*/ 243991 w 6006665"/>
                  <a:gd name="connsiteY432" fmla="*/ 2410114 h 3006470"/>
                  <a:gd name="connsiteX433" fmla="*/ 216429 w 6006665"/>
                  <a:gd name="connsiteY433" fmla="*/ 2413357 h 3006470"/>
                  <a:gd name="connsiteX434" fmla="*/ 212956 w 6006665"/>
                  <a:gd name="connsiteY434" fmla="*/ 2412365 h 3006470"/>
                  <a:gd name="connsiteX435" fmla="*/ 204522 w 6006665"/>
                  <a:gd name="connsiteY435" fmla="*/ 2413357 h 3006470"/>
                  <a:gd name="connsiteX436" fmla="*/ 199623 w 6006665"/>
                  <a:gd name="connsiteY436" fmla="*/ 2411957 h 3006470"/>
                  <a:gd name="connsiteX437" fmla="*/ 195977 w 6006665"/>
                  <a:gd name="connsiteY437" fmla="*/ 2424719 h 3006470"/>
                  <a:gd name="connsiteX438" fmla="*/ 184968 w 6006665"/>
                  <a:gd name="connsiteY438" fmla="*/ 2421574 h 3006470"/>
                  <a:gd name="connsiteX439" fmla="*/ 184070 w 6006665"/>
                  <a:gd name="connsiteY439" fmla="*/ 2424719 h 3006470"/>
                  <a:gd name="connsiteX440" fmla="*/ 168163 w 6006665"/>
                  <a:gd name="connsiteY440" fmla="*/ 2420174 h 3006470"/>
                  <a:gd name="connsiteX441" fmla="*/ 156800 w 6006665"/>
                  <a:gd name="connsiteY441" fmla="*/ 2381542 h 3006470"/>
                  <a:gd name="connsiteX442" fmla="*/ 152255 w 6006665"/>
                  <a:gd name="connsiteY442" fmla="*/ 2365635 h 3006470"/>
                  <a:gd name="connsiteX443" fmla="*/ 156800 w 6006665"/>
                  <a:gd name="connsiteY443" fmla="*/ 2361090 h 3006470"/>
                  <a:gd name="connsiteX444" fmla="*/ 168707 w 6006665"/>
                  <a:gd name="connsiteY444" fmla="*/ 2361090 h 3006470"/>
                  <a:gd name="connsiteX445" fmla="*/ 188615 w 6006665"/>
                  <a:gd name="connsiteY445" fmla="*/ 2361090 h 3006470"/>
                  <a:gd name="connsiteX446" fmla="*/ 199977 w 6006665"/>
                  <a:gd name="connsiteY446" fmla="*/ 2349728 h 3006470"/>
                  <a:gd name="connsiteX447" fmla="*/ 188615 w 6006665"/>
                  <a:gd name="connsiteY447" fmla="*/ 2327003 h 3006470"/>
                  <a:gd name="connsiteX448" fmla="*/ 168163 w 6006665"/>
                  <a:gd name="connsiteY448" fmla="*/ 2317914 h 3006470"/>
                  <a:gd name="connsiteX449" fmla="*/ 168163 w 6006665"/>
                  <a:gd name="connsiteY449" fmla="*/ 2311096 h 3006470"/>
                  <a:gd name="connsiteX450" fmla="*/ 152255 w 6006665"/>
                  <a:gd name="connsiteY450" fmla="*/ 2295189 h 3006470"/>
                  <a:gd name="connsiteX451" fmla="*/ 129531 w 6006665"/>
                  <a:gd name="connsiteY451" fmla="*/ 2258829 h 3006470"/>
                  <a:gd name="connsiteX452" fmla="*/ 140893 w 6006665"/>
                  <a:gd name="connsiteY452" fmla="*/ 2236105 h 3006470"/>
                  <a:gd name="connsiteX453" fmla="*/ 136348 w 6006665"/>
                  <a:gd name="connsiteY453" fmla="*/ 2208835 h 3006470"/>
                  <a:gd name="connsiteX454" fmla="*/ 103789 w 6006665"/>
                  <a:gd name="connsiteY454" fmla="*/ 2195428 h 3006470"/>
                  <a:gd name="connsiteX455" fmla="*/ 93716 w 6006665"/>
                  <a:gd name="connsiteY455" fmla="*/ 2199745 h 3006470"/>
                  <a:gd name="connsiteX456" fmla="*/ 91868 w 6006665"/>
                  <a:gd name="connsiteY456" fmla="*/ 2195434 h 3006470"/>
                  <a:gd name="connsiteX457" fmla="*/ 81809 w 6006665"/>
                  <a:gd name="connsiteY457" fmla="*/ 2199745 h 3006470"/>
                  <a:gd name="connsiteX458" fmla="*/ 74992 w 6006665"/>
                  <a:gd name="connsiteY458" fmla="*/ 2183838 h 3006470"/>
                  <a:gd name="connsiteX459" fmla="*/ 34087 w 6006665"/>
                  <a:gd name="connsiteY459" fmla="*/ 2172476 h 3006470"/>
                  <a:gd name="connsiteX460" fmla="*/ 22725 w 6006665"/>
                  <a:gd name="connsiteY460" fmla="*/ 2129299 h 3006470"/>
                  <a:gd name="connsiteX461" fmla="*/ 22725 w 6006665"/>
                  <a:gd name="connsiteY461" fmla="*/ 2097484 h 3006470"/>
                  <a:gd name="connsiteX462" fmla="*/ 0 w 6006665"/>
                  <a:gd name="connsiteY462" fmla="*/ 2081577 h 3006470"/>
                  <a:gd name="connsiteX463" fmla="*/ 15907 w 6006665"/>
                  <a:gd name="connsiteY463" fmla="*/ 2058853 h 3006470"/>
                  <a:gd name="connsiteX464" fmla="*/ 6818 w 6006665"/>
                  <a:gd name="connsiteY464" fmla="*/ 1995224 h 3006470"/>
                  <a:gd name="connsiteX465" fmla="*/ 34087 w 6006665"/>
                  <a:gd name="connsiteY465" fmla="*/ 1952047 h 3006470"/>
                  <a:gd name="connsiteX466" fmla="*/ 27270 w 6006665"/>
                  <a:gd name="connsiteY466" fmla="*/ 1940685 h 3006470"/>
                  <a:gd name="connsiteX467" fmla="*/ 70447 w 6006665"/>
                  <a:gd name="connsiteY467" fmla="*/ 1902053 h 3006470"/>
                  <a:gd name="connsiteX468" fmla="*/ 27270 w 6006665"/>
                  <a:gd name="connsiteY468" fmla="*/ 1865693 h 3006470"/>
                  <a:gd name="connsiteX469" fmla="*/ 109078 w 6006665"/>
                  <a:gd name="connsiteY469" fmla="*/ 1767977 h 3006470"/>
                  <a:gd name="connsiteX470" fmla="*/ 145438 w 6006665"/>
                  <a:gd name="connsiteY470" fmla="*/ 1724800 h 3006470"/>
                  <a:gd name="connsiteX471" fmla="*/ 156800 w 6006665"/>
                  <a:gd name="connsiteY471" fmla="*/ 1681624 h 3006470"/>
                  <a:gd name="connsiteX472" fmla="*/ 102261 w 6006665"/>
                  <a:gd name="connsiteY472" fmla="*/ 1629357 h 3006470"/>
                  <a:gd name="connsiteX473" fmla="*/ 118168 w 6006665"/>
                  <a:gd name="connsiteY473" fmla="*/ 1574818 h 3006470"/>
                  <a:gd name="connsiteX474" fmla="*/ 86354 w 6006665"/>
                  <a:gd name="connsiteY474" fmla="*/ 1511189 h 3006470"/>
                  <a:gd name="connsiteX475" fmla="*/ 109078 w 6006665"/>
                  <a:gd name="connsiteY475" fmla="*/ 1436197 h 3006470"/>
                  <a:gd name="connsiteX476" fmla="*/ 70447 w 6006665"/>
                  <a:gd name="connsiteY476" fmla="*/ 1333936 h 3006470"/>
                  <a:gd name="connsiteX477" fmla="*/ 102261 w 6006665"/>
                  <a:gd name="connsiteY477" fmla="*/ 1263490 h 3006470"/>
                  <a:gd name="connsiteX478" fmla="*/ 43177 w 6006665"/>
                  <a:gd name="connsiteY478" fmla="*/ 1197589 h 3006470"/>
                  <a:gd name="connsiteX479" fmla="*/ 49994 w 6006665"/>
                  <a:gd name="connsiteY479" fmla="*/ 1122597 h 3006470"/>
                  <a:gd name="connsiteX480" fmla="*/ 81809 w 6006665"/>
                  <a:gd name="connsiteY480" fmla="*/ 1118052 h 3006470"/>
                  <a:gd name="connsiteX481" fmla="*/ 145438 w 6006665"/>
                  <a:gd name="connsiteY481" fmla="*/ 1074876 h 3006470"/>
                  <a:gd name="connsiteX482" fmla="*/ 184070 w 6006665"/>
                  <a:gd name="connsiteY482" fmla="*/ 1036244 h 3006470"/>
                  <a:gd name="connsiteX483" fmla="*/ 189699 w 6006665"/>
                  <a:gd name="connsiteY483" fmla="*/ 1042522 h 3006470"/>
                  <a:gd name="connsiteX484" fmla="*/ 195977 w 6006665"/>
                  <a:gd name="connsiteY484" fmla="*/ 1036244 h 3006470"/>
                  <a:gd name="connsiteX485" fmla="*/ 255061 w 6006665"/>
                  <a:gd name="connsiteY485" fmla="*/ 1102145 h 3006470"/>
                  <a:gd name="connsiteX486" fmla="*/ 350504 w 6006665"/>
                  <a:gd name="connsiteY486" fmla="*/ 1122597 h 3006470"/>
                  <a:gd name="connsiteX487" fmla="*/ 491397 w 6006665"/>
                  <a:gd name="connsiteY487" fmla="*/ 1236221 h 3006470"/>
                  <a:gd name="connsiteX488" fmla="*/ 523211 w 6006665"/>
                  <a:gd name="connsiteY488" fmla="*/ 1283942 h 3006470"/>
                  <a:gd name="connsiteX489" fmla="*/ 523211 w 6006665"/>
                  <a:gd name="connsiteY489" fmla="*/ 1343026 h 3006470"/>
                  <a:gd name="connsiteX490" fmla="*/ 486852 w 6006665"/>
                  <a:gd name="connsiteY490" fmla="*/ 1397565 h 3006470"/>
                  <a:gd name="connsiteX491" fmla="*/ 420951 w 6006665"/>
                  <a:gd name="connsiteY491" fmla="*/ 1418018 h 3006470"/>
                  <a:gd name="connsiteX492" fmla="*/ 415909 w 6006665"/>
                  <a:gd name="connsiteY492" fmla="*/ 1415887 h 3006470"/>
                  <a:gd name="connsiteX493" fmla="*/ 409044 w 6006665"/>
                  <a:gd name="connsiteY493" fmla="*/ 1418018 h 3006470"/>
                  <a:gd name="connsiteX494" fmla="*/ 252950 w 6006665"/>
                  <a:gd name="connsiteY494" fmla="*/ 1352062 h 3006470"/>
                  <a:gd name="connsiteX495" fmla="*/ 232336 w 6006665"/>
                  <a:gd name="connsiteY495" fmla="*/ 1358934 h 3006470"/>
                  <a:gd name="connsiteX496" fmla="*/ 291420 w 6006665"/>
                  <a:gd name="connsiteY496" fmla="*/ 1429380 h 3006470"/>
                  <a:gd name="connsiteX497" fmla="*/ 291420 w 6006665"/>
                  <a:gd name="connsiteY497" fmla="*/ 1468012 h 3006470"/>
                  <a:gd name="connsiteX498" fmla="*/ 298238 w 6006665"/>
                  <a:gd name="connsiteY498" fmla="*/ 1554366 h 3006470"/>
                  <a:gd name="connsiteX499" fmla="*/ 345959 w 6006665"/>
                  <a:gd name="connsiteY499" fmla="*/ 1586180 h 3006470"/>
                  <a:gd name="connsiteX500" fmla="*/ 362087 w 6006665"/>
                  <a:gd name="connsiteY500" fmla="*/ 1595588 h 3006470"/>
                  <a:gd name="connsiteX501" fmla="*/ 365867 w 6006665"/>
                  <a:gd name="connsiteY501" fmla="*/ 1563455 h 3006470"/>
                  <a:gd name="connsiteX502" fmla="*/ 345415 w 6006665"/>
                  <a:gd name="connsiteY502" fmla="*/ 1527096 h 3006470"/>
                  <a:gd name="connsiteX503" fmla="*/ 365867 w 6006665"/>
                  <a:gd name="connsiteY503" fmla="*/ 1495281 h 3006470"/>
                  <a:gd name="connsiteX504" fmla="*/ 374560 w 6006665"/>
                  <a:gd name="connsiteY504" fmla="*/ 1500280 h 3006470"/>
                  <a:gd name="connsiteX505" fmla="*/ 377774 w 6006665"/>
                  <a:gd name="connsiteY505" fmla="*/ 1495281 h 3006470"/>
                  <a:gd name="connsiteX506" fmla="*/ 461933 w 6006665"/>
                  <a:gd name="connsiteY506" fmla="*/ 1543673 h 3006470"/>
                  <a:gd name="connsiteX507" fmla="*/ 484035 w 6006665"/>
                  <a:gd name="connsiteY507" fmla="*/ 1527096 h 3006470"/>
                  <a:gd name="connsiteX508" fmla="*/ 463583 w 6006665"/>
                  <a:gd name="connsiteY508" fmla="*/ 1461194 h 3006470"/>
                  <a:gd name="connsiteX509" fmla="*/ 549936 w 6006665"/>
                  <a:gd name="connsiteY509" fmla="*/ 1374841 h 3006470"/>
                  <a:gd name="connsiteX510" fmla="*/ 559742 w 6006665"/>
                  <a:gd name="connsiteY510" fmla="*/ 1376942 h 3006470"/>
                  <a:gd name="connsiteX511" fmla="*/ 561843 w 6006665"/>
                  <a:gd name="connsiteY511" fmla="*/ 1374841 h 3006470"/>
                  <a:gd name="connsiteX512" fmla="*/ 593658 w 6006665"/>
                  <a:gd name="connsiteY512" fmla="*/ 1381658 h 3006470"/>
                  <a:gd name="connsiteX513" fmla="*/ 620945 w 6006665"/>
                  <a:gd name="connsiteY513" fmla="*/ 1405535 h 3006470"/>
                  <a:gd name="connsiteX514" fmla="*/ 640835 w 6006665"/>
                  <a:gd name="connsiteY514" fmla="*/ 1349844 h 3006470"/>
                  <a:gd name="connsiteX515" fmla="*/ 609020 w 6006665"/>
                  <a:gd name="connsiteY515" fmla="*/ 1295305 h 3006470"/>
                  <a:gd name="connsiteX516" fmla="*/ 624928 w 6006665"/>
                  <a:gd name="connsiteY516" fmla="*/ 1236221 h 3006470"/>
                  <a:gd name="connsiteX517" fmla="*/ 597658 w 6006665"/>
                  <a:gd name="connsiteY517" fmla="*/ 1177136 h 3006470"/>
                  <a:gd name="connsiteX518" fmla="*/ 611562 w 6006665"/>
                  <a:gd name="connsiteY518" fmla="*/ 1181462 h 3006470"/>
                  <a:gd name="connsiteX519" fmla="*/ 609565 w 6006665"/>
                  <a:gd name="connsiteY519" fmla="*/ 1177136 h 3006470"/>
                  <a:gd name="connsiteX520" fmla="*/ 711826 w 6006665"/>
                  <a:gd name="connsiteY520" fmla="*/ 1208951 h 3006470"/>
                  <a:gd name="connsiteX521" fmla="*/ 732278 w 6006665"/>
                  <a:gd name="connsiteY521" fmla="*/ 1263490 h 3006470"/>
                  <a:gd name="connsiteX522" fmla="*/ 684556 w 6006665"/>
                  <a:gd name="connsiteY522" fmla="*/ 1274852 h 3006470"/>
                  <a:gd name="connsiteX523" fmla="*/ 684556 w 6006665"/>
                  <a:gd name="connsiteY523" fmla="*/ 1327119 h 3006470"/>
                  <a:gd name="connsiteX524" fmla="*/ 713309 w 6006665"/>
                  <a:gd name="connsiteY524" fmla="*/ 1355872 h 3006470"/>
                  <a:gd name="connsiteX525" fmla="*/ 763548 w 6006665"/>
                  <a:gd name="connsiteY525" fmla="*/ 1338481 h 3006470"/>
                  <a:gd name="connsiteX526" fmla="*/ 770365 w 6006665"/>
                  <a:gd name="connsiteY526" fmla="*/ 1279397 h 3006470"/>
                  <a:gd name="connsiteX527" fmla="*/ 845357 w 6006665"/>
                  <a:gd name="connsiteY527" fmla="*/ 1231676 h 3006470"/>
                  <a:gd name="connsiteX528" fmla="*/ 972614 w 6006665"/>
                  <a:gd name="connsiteY528" fmla="*/ 1145322 h 3006470"/>
                  <a:gd name="connsiteX529" fmla="*/ 982566 w 6006665"/>
                  <a:gd name="connsiteY529" fmla="*/ 1146649 h 3006470"/>
                  <a:gd name="connsiteX530" fmla="*/ 984521 w 6006665"/>
                  <a:gd name="connsiteY530" fmla="*/ 1145322 h 3006470"/>
                  <a:gd name="connsiteX531" fmla="*/ 1018608 w 6006665"/>
                  <a:gd name="connsiteY531" fmla="*/ 1149867 h 3006470"/>
                  <a:gd name="connsiteX532" fmla="*/ 979977 w 6006665"/>
                  <a:gd name="connsiteY532" fmla="*/ 1213496 h 3006470"/>
                  <a:gd name="connsiteX533" fmla="*/ 1012666 w 6006665"/>
                  <a:gd name="connsiteY533" fmla="*/ 1218657 h 3006470"/>
                  <a:gd name="connsiteX534" fmla="*/ 1038516 w 6006665"/>
                  <a:gd name="connsiteY534" fmla="*/ 1188499 h 3006470"/>
                  <a:gd name="connsiteX535" fmla="*/ 1050423 w 6006665"/>
                  <a:gd name="connsiteY535" fmla="*/ 1188499 h 3006470"/>
                  <a:gd name="connsiteX536" fmla="*/ 1108962 w 6006665"/>
                  <a:gd name="connsiteY536" fmla="*/ 1188499 h 3006470"/>
                  <a:gd name="connsiteX537" fmla="*/ 1161229 w 6006665"/>
                  <a:gd name="connsiteY537" fmla="*/ 1145322 h 3006470"/>
                  <a:gd name="connsiteX538" fmla="*/ 1165711 w 6006665"/>
                  <a:gd name="connsiteY538" fmla="*/ 1151456 h 3006470"/>
                  <a:gd name="connsiteX539" fmla="*/ 1173136 w 6006665"/>
                  <a:gd name="connsiteY539" fmla="*/ 1145322 h 3006470"/>
                  <a:gd name="connsiteX540" fmla="*/ 1210035 w 6006665"/>
                  <a:gd name="connsiteY540" fmla="*/ 1195815 h 3006470"/>
                  <a:gd name="connsiteX541" fmla="*/ 1247583 w 6006665"/>
                  <a:gd name="connsiteY541" fmla="*/ 1138505 h 3006470"/>
                  <a:gd name="connsiteX542" fmla="*/ 1211223 w 6006665"/>
                  <a:gd name="connsiteY542" fmla="*/ 1079421 h 3006470"/>
                  <a:gd name="connsiteX543" fmla="*/ 1227130 w 6006665"/>
                  <a:gd name="connsiteY543" fmla="*/ 1043061 h 3006470"/>
                  <a:gd name="connsiteX544" fmla="*/ 1237665 w 6006665"/>
                  <a:gd name="connsiteY544" fmla="*/ 1046199 h 3006470"/>
                  <a:gd name="connsiteX545" fmla="*/ 1239037 w 6006665"/>
                  <a:gd name="connsiteY545" fmla="*/ 1043061 h 3006470"/>
                  <a:gd name="connsiteX546" fmla="*/ 1345843 w 6006665"/>
                  <a:gd name="connsiteY546" fmla="*/ 1074876 h 3006470"/>
                  <a:gd name="connsiteX547" fmla="*/ 1400382 w 6006665"/>
                  <a:gd name="connsiteY547" fmla="*/ 1106690 h 3006470"/>
                  <a:gd name="connsiteX548" fmla="*/ 1519756 w 6006665"/>
                  <a:gd name="connsiteY548" fmla="*/ 1213274 h 3006470"/>
                  <a:gd name="connsiteX549" fmla="*/ 1543003 w 6006665"/>
                  <a:gd name="connsiteY549" fmla="*/ 1172592 h 3006470"/>
                  <a:gd name="connsiteX550" fmla="*/ 1506643 w 6006665"/>
                  <a:gd name="connsiteY550" fmla="*/ 1118052 h 3006470"/>
                  <a:gd name="connsiteX551" fmla="*/ 1506643 w 6006665"/>
                  <a:gd name="connsiteY551" fmla="*/ 1095328 h 3006470"/>
                  <a:gd name="connsiteX552" fmla="*/ 1463467 w 6006665"/>
                  <a:gd name="connsiteY552" fmla="*/ 1086238 h 3006470"/>
                  <a:gd name="connsiteX553" fmla="*/ 1472556 w 6006665"/>
                  <a:gd name="connsiteY553" fmla="*/ 1036244 h 3006470"/>
                  <a:gd name="connsiteX554" fmla="*/ 1452104 w 6006665"/>
                  <a:gd name="connsiteY554" fmla="*/ 949890 h 3006470"/>
                  <a:gd name="connsiteX555" fmla="*/ 1452104 w 6006665"/>
                  <a:gd name="connsiteY555" fmla="*/ 913531 h 3006470"/>
                  <a:gd name="connsiteX556" fmla="*/ 1522551 w 6006665"/>
                  <a:gd name="connsiteY556" fmla="*/ 811270 h 3006470"/>
                  <a:gd name="connsiteX557" fmla="*/ 1543003 w 6006665"/>
                  <a:gd name="connsiteY557" fmla="*/ 697647 h 3006470"/>
                  <a:gd name="connsiteX558" fmla="*/ 1570272 w 6006665"/>
                  <a:gd name="connsiteY558" fmla="*/ 677194 h 3006470"/>
                  <a:gd name="connsiteX559" fmla="*/ 1578688 w 6006665"/>
                  <a:gd name="connsiteY559" fmla="*/ 679813 h 3006470"/>
                  <a:gd name="connsiteX560" fmla="*/ 1582179 w 6006665"/>
                  <a:gd name="connsiteY560" fmla="*/ 677194 h 3006470"/>
                  <a:gd name="connsiteX561" fmla="*/ 1684440 w 6006665"/>
                  <a:gd name="connsiteY561" fmla="*/ 709009 h 3006470"/>
                  <a:gd name="connsiteX562" fmla="*/ 1688985 w 6006665"/>
                  <a:gd name="connsiteY562" fmla="*/ 779455 h 3006470"/>
                  <a:gd name="connsiteX563" fmla="*/ 1652625 w 6006665"/>
                  <a:gd name="connsiteY563" fmla="*/ 870354 h 3006470"/>
                  <a:gd name="connsiteX564" fmla="*/ 1679895 w 6006665"/>
                  <a:gd name="connsiteY564" fmla="*/ 908986 h 3006470"/>
                  <a:gd name="connsiteX565" fmla="*/ 1688985 w 6006665"/>
                  <a:gd name="connsiteY565" fmla="*/ 983977 h 3006470"/>
                  <a:gd name="connsiteX566" fmla="*/ 1679895 w 6006665"/>
                  <a:gd name="connsiteY566" fmla="*/ 1129415 h 3006470"/>
                  <a:gd name="connsiteX567" fmla="*/ 1723072 w 6006665"/>
                  <a:gd name="connsiteY567" fmla="*/ 1193044 h 3006470"/>
                  <a:gd name="connsiteX568" fmla="*/ 1704892 w 6006665"/>
                  <a:gd name="connsiteY568" fmla="*/ 1256673 h 3006470"/>
                  <a:gd name="connsiteX569" fmla="*/ 1636718 w 6006665"/>
                  <a:gd name="connsiteY569" fmla="*/ 1393021 h 3006470"/>
                  <a:gd name="connsiteX570" fmla="*/ 1662494 w 6006665"/>
                  <a:gd name="connsiteY570" fmla="*/ 1399465 h 3006470"/>
                  <a:gd name="connsiteX571" fmla="*/ 1677078 w 6006665"/>
                  <a:gd name="connsiteY571" fmla="*/ 1370296 h 3006470"/>
                  <a:gd name="connsiteX572" fmla="*/ 1720255 w 6006665"/>
                  <a:gd name="connsiteY572" fmla="*/ 1349844 h 3006470"/>
                  <a:gd name="connsiteX573" fmla="*/ 1731617 w 6006665"/>
                  <a:gd name="connsiteY573" fmla="*/ 1299850 h 3006470"/>
                  <a:gd name="connsiteX574" fmla="*/ 1758887 w 6006665"/>
                  <a:gd name="connsiteY574" fmla="*/ 1256673 h 3006470"/>
                  <a:gd name="connsiteX575" fmla="*/ 1736162 w 6006665"/>
                  <a:gd name="connsiteY575" fmla="*/ 1197589 h 3006470"/>
                  <a:gd name="connsiteX576" fmla="*/ 1758887 w 6006665"/>
                  <a:gd name="connsiteY576" fmla="*/ 1133960 h 3006470"/>
                  <a:gd name="connsiteX577" fmla="*/ 1715710 w 6006665"/>
                  <a:gd name="connsiteY577" fmla="*/ 1122597 h 3006470"/>
                  <a:gd name="connsiteX578" fmla="*/ 1704347 w 6006665"/>
                  <a:gd name="connsiteY578" fmla="*/ 1070331 h 3006470"/>
                  <a:gd name="connsiteX579" fmla="*/ 1736162 w 6006665"/>
                  <a:gd name="connsiteY579" fmla="*/ 961252 h 3006470"/>
                  <a:gd name="connsiteX580" fmla="*/ 1688440 w 6006665"/>
                  <a:gd name="connsiteY580" fmla="*/ 865809 h 3006470"/>
                  <a:gd name="connsiteX581" fmla="*/ 1752069 w 6006665"/>
                  <a:gd name="connsiteY581" fmla="*/ 788545 h 3006470"/>
                  <a:gd name="connsiteX582" fmla="*/ 1747524 w 6006665"/>
                  <a:gd name="connsiteY582" fmla="*/ 704464 h 3006470"/>
                  <a:gd name="connsiteX583" fmla="*/ 1763431 w 6006665"/>
                  <a:gd name="connsiteY583" fmla="*/ 697647 h 3006470"/>
                  <a:gd name="connsiteX584" fmla="*/ 1764877 w 6006665"/>
                  <a:gd name="connsiteY584" fmla="*/ 702130 h 3006470"/>
                  <a:gd name="connsiteX585" fmla="*/ 1775339 w 6006665"/>
                  <a:gd name="connsiteY585" fmla="*/ 697647 h 3006470"/>
                  <a:gd name="connsiteX586" fmla="*/ 1798063 w 6006665"/>
                  <a:gd name="connsiteY586" fmla="*/ 768093 h 3006470"/>
                  <a:gd name="connsiteX587" fmla="*/ 1791454 w 6006665"/>
                  <a:gd name="connsiteY587" fmla="*/ 815304 h 3006470"/>
                  <a:gd name="connsiteX588" fmla="*/ 1854330 w 6006665"/>
                  <a:gd name="connsiteY588" fmla="*/ 772638 h 3006470"/>
                  <a:gd name="connsiteX589" fmla="*/ 1931594 w 6006665"/>
                  <a:gd name="connsiteY589" fmla="*/ 763548 h 3006470"/>
                  <a:gd name="connsiteX590" fmla="*/ 1932772 w 6006665"/>
                  <a:gd name="connsiteY590" fmla="*/ 764810 h 3006470"/>
                  <a:gd name="connsiteX591" fmla="*/ 1943501 w 6006665"/>
                  <a:gd name="connsiteY591" fmla="*/ 763548 h 3006470"/>
                  <a:gd name="connsiteX592" fmla="*/ 1988608 w 6006665"/>
                  <a:gd name="connsiteY592" fmla="*/ 811877 h 3006470"/>
                  <a:gd name="connsiteX593" fmla="*/ 1963408 w 6006665"/>
                  <a:gd name="connsiteY593" fmla="*/ 736278 h 3006470"/>
                  <a:gd name="connsiteX594" fmla="*/ 1963408 w 6006665"/>
                  <a:gd name="connsiteY594" fmla="*/ 595386 h 3006470"/>
                  <a:gd name="connsiteX595" fmla="*/ 2027037 w 6006665"/>
                  <a:gd name="connsiteY595" fmla="*/ 574934 h 3006470"/>
                  <a:gd name="connsiteX596" fmla="*/ 2037269 w 6006665"/>
                  <a:gd name="connsiteY596" fmla="*/ 575472 h 3006470"/>
                  <a:gd name="connsiteX597" fmla="*/ 2038944 w 6006665"/>
                  <a:gd name="connsiteY597" fmla="*/ 574934 h 3006470"/>
                  <a:gd name="connsiteX598" fmla="*/ 2115414 w 6006665"/>
                  <a:gd name="connsiteY598" fmla="*/ 578958 h 3006470"/>
                  <a:gd name="connsiteX599" fmla="*/ 2192927 w 6006665"/>
                  <a:gd name="connsiteY599" fmla="*/ 559026 h 3006470"/>
                  <a:gd name="connsiteX600" fmla="*/ 2167930 w 6006665"/>
                  <a:gd name="connsiteY600" fmla="*/ 493125 h 3006470"/>
                  <a:gd name="connsiteX601" fmla="*/ 2204289 w 6006665"/>
                  <a:gd name="connsiteY601" fmla="*/ 402226 h 3006470"/>
                  <a:gd name="connsiteX602" fmla="*/ 2247466 w 6006665"/>
                  <a:gd name="connsiteY602" fmla="*/ 397681 h 3006470"/>
                  <a:gd name="connsiteX603" fmla="*/ 2317913 w 6006665"/>
                  <a:gd name="connsiteY603" fmla="*/ 322690 h 3006470"/>
                  <a:gd name="connsiteX604" fmla="*/ 2420173 w 6006665"/>
                  <a:gd name="connsiteY604" fmla="*/ 304510 h 3006470"/>
                  <a:gd name="connsiteX605" fmla="*/ 2429263 w 6006665"/>
                  <a:gd name="connsiteY605" fmla="*/ 263606 h 3006470"/>
                  <a:gd name="connsiteX606" fmla="*/ 2526979 w 6006665"/>
                  <a:gd name="connsiteY606" fmla="*/ 252244 h 3006470"/>
                  <a:gd name="connsiteX607" fmla="*/ 2528058 w 6006665"/>
                  <a:gd name="connsiteY607" fmla="*/ 253503 h 3006470"/>
                  <a:gd name="connsiteX608" fmla="*/ 2538886 w 6006665"/>
                  <a:gd name="connsiteY608" fmla="*/ 252244 h 3006470"/>
                  <a:gd name="connsiteX609" fmla="*/ 2560820 w 6006665"/>
                  <a:gd name="connsiteY609" fmla="*/ 277833 h 3006470"/>
                  <a:gd name="connsiteX610" fmla="*/ 2640602 w 6006665"/>
                  <a:gd name="connsiteY610" fmla="*/ 202249 h 3006470"/>
                  <a:gd name="connsiteX611" fmla="*/ 2652509 w 6006665"/>
                  <a:gd name="connsiteY611" fmla="*/ 202249 h 3006470"/>
                  <a:gd name="connsiteX612" fmla="*/ 2704231 w 6006665"/>
                  <a:gd name="connsiteY612" fmla="*/ 202249 h 3006470"/>
                  <a:gd name="connsiteX613" fmla="*/ 2715593 w 6006665"/>
                  <a:gd name="connsiteY613" fmla="*/ 134075 h 3006470"/>
                  <a:gd name="connsiteX614" fmla="*/ 2751953 w 6006665"/>
                  <a:gd name="connsiteY614" fmla="*/ 68174 h 3006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</a:cxnLst>
                <a:rect l="l" t="t" r="r" b="b"/>
                <a:pathLst>
                  <a:path w="6006665" h="3006470">
                    <a:moveTo>
                      <a:pt x="1791129" y="817622"/>
                    </a:moveTo>
                    <a:lnTo>
                      <a:pt x="1782156" y="881716"/>
                    </a:lnTo>
                    <a:lnTo>
                      <a:pt x="1809554" y="895415"/>
                    </a:lnTo>
                    <a:close/>
                    <a:moveTo>
                      <a:pt x="2838307" y="0"/>
                    </a:moveTo>
                    <a:lnTo>
                      <a:pt x="2844246" y="4711"/>
                    </a:lnTo>
                    <a:lnTo>
                      <a:pt x="2850213" y="0"/>
                    </a:lnTo>
                    <a:lnTo>
                      <a:pt x="2916115" y="52267"/>
                    </a:lnTo>
                    <a:lnTo>
                      <a:pt x="2861576" y="90899"/>
                    </a:lnTo>
                    <a:lnTo>
                      <a:pt x="2947929" y="118168"/>
                    </a:lnTo>
                    <a:lnTo>
                      <a:pt x="2957621" y="186006"/>
                    </a:lnTo>
                    <a:lnTo>
                      <a:pt x="2979199" y="161345"/>
                    </a:lnTo>
                    <a:lnTo>
                      <a:pt x="2991106" y="161345"/>
                    </a:lnTo>
                    <a:lnTo>
                      <a:pt x="3086005" y="161345"/>
                    </a:lnTo>
                    <a:lnTo>
                      <a:pt x="3097912" y="161345"/>
                    </a:lnTo>
                    <a:lnTo>
                      <a:pt x="3179721" y="236336"/>
                    </a:lnTo>
                    <a:lnTo>
                      <a:pt x="3211535" y="295420"/>
                    </a:lnTo>
                    <a:lnTo>
                      <a:pt x="3200173" y="370412"/>
                    </a:lnTo>
                    <a:lnTo>
                      <a:pt x="3161541" y="413589"/>
                    </a:lnTo>
                    <a:lnTo>
                      <a:pt x="3066097" y="488580"/>
                    </a:lnTo>
                    <a:lnTo>
                      <a:pt x="3034283" y="531757"/>
                    </a:lnTo>
                    <a:lnTo>
                      <a:pt x="3082005" y="547664"/>
                    </a:lnTo>
                    <a:lnTo>
                      <a:pt x="3129459" y="575345"/>
                    </a:lnTo>
                    <a:lnTo>
                      <a:pt x="3156451" y="552209"/>
                    </a:lnTo>
                    <a:lnTo>
                      <a:pt x="3158460" y="560693"/>
                    </a:lnTo>
                    <a:lnTo>
                      <a:pt x="3168359" y="552209"/>
                    </a:lnTo>
                    <a:lnTo>
                      <a:pt x="3184984" y="622402"/>
                    </a:lnTo>
                    <a:lnTo>
                      <a:pt x="3192811" y="606748"/>
                    </a:lnTo>
                    <a:lnTo>
                      <a:pt x="3251895" y="586296"/>
                    </a:lnTo>
                    <a:lnTo>
                      <a:pt x="3259833" y="587670"/>
                    </a:lnTo>
                    <a:lnTo>
                      <a:pt x="3263802" y="586296"/>
                    </a:lnTo>
                    <a:lnTo>
                      <a:pt x="3381970" y="606748"/>
                    </a:lnTo>
                    <a:lnTo>
                      <a:pt x="3388787" y="665832"/>
                    </a:lnTo>
                    <a:lnTo>
                      <a:pt x="3531529" y="686823"/>
                    </a:lnTo>
                    <a:lnTo>
                      <a:pt x="3538225" y="590841"/>
                    </a:lnTo>
                    <a:lnTo>
                      <a:pt x="3549910" y="594028"/>
                    </a:lnTo>
                    <a:lnTo>
                      <a:pt x="3550132" y="590841"/>
                    </a:lnTo>
                    <a:lnTo>
                      <a:pt x="3625123" y="611293"/>
                    </a:lnTo>
                    <a:lnTo>
                      <a:pt x="3672301" y="611293"/>
                    </a:lnTo>
                    <a:lnTo>
                      <a:pt x="3684207" y="611293"/>
                    </a:lnTo>
                    <a:lnTo>
                      <a:pt x="3743291" y="677194"/>
                    </a:lnTo>
                    <a:lnTo>
                      <a:pt x="3759199" y="756731"/>
                    </a:lnTo>
                    <a:lnTo>
                      <a:pt x="3738747" y="806725"/>
                    </a:lnTo>
                    <a:lnTo>
                      <a:pt x="3786469" y="897623"/>
                    </a:lnTo>
                    <a:lnTo>
                      <a:pt x="3835603" y="933529"/>
                    </a:lnTo>
                    <a:lnTo>
                      <a:pt x="3865460" y="822632"/>
                    </a:lnTo>
                    <a:lnTo>
                      <a:pt x="3875077" y="831139"/>
                    </a:lnTo>
                    <a:lnTo>
                      <a:pt x="3877367" y="822632"/>
                    </a:lnTo>
                    <a:lnTo>
                      <a:pt x="3932151" y="871095"/>
                    </a:lnTo>
                    <a:lnTo>
                      <a:pt x="3988173" y="843084"/>
                    </a:lnTo>
                    <a:lnTo>
                      <a:pt x="3993852" y="846199"/>
                    </a:lnTo>
                    <a:lnTo>
                      <a:pt x="4000080" y="843084"/>
                    </a:lnTo>
                    <a:lnTo>
                      <a:pt x="4062426" y="877274"/>
                    </a:lnTo>
                    <a:lnTo>
                      <a:pt x="4085889" y="849902"/>
                    </a:lnTo>
                    <a:lnTo>
                      <a:pt x="4095563" y="852506"/>
                    </a:lnTo>
                    <a:lnTo>
                      <a:pt x="4097796" y="849902"/>
                    </a:lnTo>
                    <a:lnTo>
                      <a:pt x="4144150" y="862382"/>
                    </a:lnTo>
                    <a:lnTo>
                      <a:pt x="4117703" y="752186"/>
                    </a:lnTo>
                    <a:lnTo>
                      <a:pt x="4165425" y="697647"/>
                    </a:lnTo>
                    <a:lnTo>
                      <a:pt x="4175231" y="700048"/>
                    </a:lnTo>
                    <a:lnTo>
                      <a:pt x="4177332" y="697647"/>
                    </a:lnTo>
                    <a:lnTo>
                      <a:pt x="4511384" y="779455"/>
                    </a:lnTo>
                    <a:lnTo>
                      <a:pt x="4543199" y="849902"/>
                    </a:lnTo>
                    <a:lnTo>
                      <a:pt x="4639242" y="932544"/>
                    </a:lnTo>
                    <a:lnTo>
                      <a:pt x="4774445" y="913531"/>
                    </a:lnTo>
                    <a:lnTo>
                      <a:pt x="4778496" y="914635"/>
                    </a:lnTo>
                    <a:lnTo>
                      <a:pt x="4786352" y="913531"/>
                    </a:lnTo>
                    <a:lnTo>
                      <a:pt x="4861343" y="933983"/>
                    </a:lnTo>
                    <a:lnTo>
                      <a:pt x="4893158" y="977160"/>
                    </a:lnTo>
                    <a:lnTo>
                      <a:pt x="4888613" y="1058968"/>
                    </a:lnTo>
                    <a:lnTo>
                      <a:pt x="4927677" y="1083640"/>
                    </a:lnTo>
                    <a:lnTo>
                      <a:pt x="4967605" y="1070331"/>
                    </a:lnTo>
                    <a:lnTo>
                      <a:pt x="5038051" y="1063513"/>
                    </a:lnTo>
                    <a:lnTo>
                      <a:pt x="5040730" y="1064406"/>
                    </a:lnTo>
                    <a:lnTo>
                      <a:pt x="5049958" y="1063513"/>
                    </a:lnTo>
                    <a:lnTo>
                      <a:pt x="5114249" y="1084944"/>
                    </a:lnTo>
                    <a:lnTo>
                      <a:pt x="5176671" y="1074876"/>
                    </a:lnTo>
                    <a:lnTo>
                      <a:pt x="5177801" y="1076614"/>
                    </a:lnTo>
                    <a:lnTo>
                      <a:pt x="5188578" y="1074876"/>
                    </a:lnTo>
                    <a:lnTo>
                      <a:pt x="5243719" y="1159707"/>
                    </a:lnTo>
                    <a:lnTo>
                      <a:pt x="5283477" y="1129415"/>
                    </a:lnTo>
                    <a:lnTo>
                      <a:pt x="5258480" y="1063513"/>
                    </a:lnTo>
                    <a:lnTo>
                      <a:pt x="5267570" y="1015792"/>
                    </a:lnTo>
                    <a:lnTo>
                      <a:pt x="5278896" y="1018841"/>
                    </a:lnTo>
                    <a:lnTo>
                      <a:pt x="5279477" y="1015792"/>
                    </a:lnTo>
                    <a:lnTo>
                      <a:pt x="5395510" y="1047031"/>
                    </a:lnTo>
                    <a:lnTo>
                      <a:pt x="5463001" y="1043061"/>
                    </a:lnTo>
                    <a:lnTo>
                      <a:pt x="5464386" y="1043680"/>
                    </a:lnTo>
                    <a:lnTo>
                      <a:pt x="5474909" y="1043061"/>
                    </a:lnTo>
                    <a:lnTo>
                      <a:pt x="5581715" y="1090783"/>
                    </a:lnTo>
                    <a:lnTo>
                      <a:pt x="5633981" y="1133960"/>
                    </a:lnTo>
                    <a:lnTo>
                      <a:pt x="5720335" y="1213496"/>
                    </a:lnTo>
                    <a:lnTo>
                      <a:pt x="5822595" y="1311212"/>
                    </a:lnTo>
                    <a:lnTo>
                      <a:pt x="5818051" y="1365751"/>
                    </a:lnTo>
                    <a:lnTo>
                      <a:pt x="5825679" y="1373379"/>
                    </a:lnTo>
                    <a:lnTo>
                      <a:pt x="5822051" y="1322574"/>
                    </a:lnTo>
                    <a:lnTo>
                      <a:pt x="5834092" y="1324447"/>
                    </a:lnTo>
                    <a:lnTo>
                      <a:pt x="5833958" y="1322574"/>
                    </a:lnTo>
                    <a:lnTo>
                      <a:pt x="5936219" y="1338481"/>
                    </a:lnTo>
                    <a:lnTo>
                      <a:pt x="6006665" y="1418018"/>
                    </a:lnTo>
                    <a:lnTo>
                      <a:pt x="5968033" y="1456650"/>
                    </a:lnTo>
                    <a:lnTo>
                      <a:pt x="5908949" y="1468012"/>
                    </a:lnTo>
                    <a:lnTo>
                      <a:pt x="5908949" y="1554366"/>
                    </a:lnTo>
                    <a:lnTo>
                      <a:pt x="5893042" y="1570273"/>
                    </a:lnTo>
                    <a:lnTo>
                      <a:pt x="5881135" y="1570273"/>
                    </a:lnTo>
                    <a:lnTo>
                      <a:pt x="5861227" y="1570273"/>
                    </a:lnTo>
                    <a:lnTo>
                      <a:pt x="5849321" y="1570273"/>
                    </a:lnTo>
                    <a:lnTo>
                      <a:pt x="5817506" y="1536186"/>
                    </a:lnTo>
                    <a:lnTo>
                      <a:pt x="5767511" y="1511189"/>
                    </a:lnTo>
                    <a:lnTo>
                      <a:pt x="5762967" y="1477102"/>
                    </a:lnTo>
                    <a:lnTo>
                      <a:pt x="5729132" y="1463170"/>
                    </a:lnTo>
                    <a:lnTo>
                      <a:pt x="5695337" y="1472557"/>
                    </a:lnTo>
                    <a:lnTo>
                      <a:pt x="5693366" y="1469797"/>
                    </a:lnTo>
                    <a:lnTo>
                      <a:pt x="5683431" y="1472557"/>
                    </a:lnTo>
                    <a:lnTo>
                      <a:pt x="5660706" y="1440742"/>
                    </a:lnTo>
                    <a:lnTo>
                      <a:pt x="5669644" y="1415717"/>
                    </a:lnTo>
                    <a:lnTo>
                      <a:pt x="5640799" y="1429380"/>
                    </a:lnTo>
                    <a:lnTo>
                      <a:pt x="5656705" y="1472557"/>
                    </a:lnTo>
                    <a:lnTo>
                      <a:pt x="5633981" y="1511189"/>
                    </a:lnTo>
                    <a:lnTo>
                      <a:pt x="5586259" y="1547548"/>
                    </a:lnTo>
                    <a:lnTo>
                      <a:pt x="5575676" y="1546540"/>
                    </a:lnTo>
                    <a:lnTo>
                      <a:pt x="5574353" y="1547548"/>
                    </a:lnTo>
                    <a:lnTo>
                      <a:pt x="5539436" y="1544223"/>
                    </a:lnTo>
                    <a:lnTo>
                      <a:pt x="5570352" y="1586180"/>
                    </a:lnTo>
                    <a:lnTo>
                      <a:pt x="5593077" y="1649809"/>
                    </a:lnTo>
                    <a:lnTo>
                      <a:pt x="5608984" y="1677079"/>
                    </a:lnTo>
                    <a:lnTo>
                      <a:pt x="5613529" y="1708893"/>
                    </a:lnTo>
                    <a:lnTo>
                      <a:pt x="5608984" y="1731618"/>
                    </a:lnTo>
                    <a:lnTo>
                      <a:pt x="5597799" y="1728009"/>
                    </a:lnTo>
                    <a:lnTo>
                      <a:pt x="5597077" y="1731618"/>
                    </a:lnTo>
                    <a:lnTo>
                      <a:pt x="5534271" y="1711358"/>
                    </a:lnTo>
                    <a:lnTo>
                      <a:pt x="5436277" y="1767977"/>
                    </a:lnTo>
                    <a:lnTo>
                      <a:pt x="5397645" y="1779340"/>
                    </a:lnTo>
                    <a:lnTo>
                      <a:pt x="5345378" y="1833879"/>
                    </a:lnTo>
                    <a:lnTo>
                      <a:pt x="5290839" y="1881600"/>
                    </a:lnTo>
                    <a:lnTo>
                      <a:pt x="5274932" y="1913415"/>
                    </a:lnTo>
                    <a:lnTo>
                      <a:pt x="5267238" y="1904988"/>
                    </a:lnTo>
                    <a:lnTo>
                      <a:pt x="5263025" y="1913415"/>
                    </a:lnTo>
                    <a:lnTo>
                      <a:pt x="5219538" y="1865787"/>
                    </a:lnTo>
                    <a:lnTo>
                      <a:pt x="5129494" y="1920232"/>
                    </a:lnTo>
                    <a:lnTo>
                      <a:pt x="5126389" y="1914910"/>
                    </a:lnTo>
                    <a:lnTo>
                      <a:pt x="5117587" y="1920232"/>
                    </a:lnTo>
                    <a:lnTo>
                      <a:pt x="5105544" y="1899586"/>
                    </a:lnTo>
                    <a:lnTo>
                      <a:pt x="5074955" y="1924777"/>
                    </a:lnTo>
                    <a:lnTo>
                      <a:pt x="5065718" y="1922578"/>
                    </a:lnTo>
                    <a:lnTo>
                      <a:pt x="5063048" y="1924777"/>
                    </a:lnTo>
                    <a:lnTo>
                      <a:pt x="5026594" y="1916098"/>
                    </a:lnTo>
                    <a:lnTo>
                      <a:pt x="5015871" y="1961137"/>
                    </a:lnTo>
                    <a:lnTo>
                      <a:pt x="4974967" y="2027038"/>
                    </a:lnTo>
                    <a:lnTo>
                      <a:pt x="4974967" y="2058853"/>
                    </a:lnTo>
                    <a:lnTo>
                      <a:pt x="5015871" y="2074760"/>
                    </a:lnTo>
                    <a:lnTo>
                      <a:pt x="5011326" y="2172476"/>
                    </a:lnTo>
                    <a:lnTo>
                      <a:pt x="4999419" y="2172476"/>
                    </a:lnTo>
                    <a:lnTo>
                      <a:pt x="4974967" y="2172476"/>
                    </a:lnTo>
                    <a:lnTo>
                      <a:pt x="4963605" y="2224742"/>
                    </a:lnTo>
                    <a:lnTo>
                      <a:pt x="4974967" y="2252012"/>
                    </a:lnTo>
                    <a:lnTo>
                      <a:pt x="4909065" y="2286099"/>
                    </a:lnTo>
                    <a:lnTo>
                      <a:pt x="4897703" y="2354273"/>
                    </a:lnTo>
                    <a:lnTo>
                      <a:pt x="4845437" y="2370180"/>
                    </a:lnTo>
                    <a:lnTo>
                      <a:pt x="4834074" y="2429264"/>
                    </a:lnTo>
                    <a:lnTo>
                      <a:pt x="4779535" y="2488348"/>
                    </a:lnTo>
                    <a:lnTo>
                      <a:pt x="4777225" y="2477952"/>
                    </a:lnTo>
                    <a:lnTo>
                      <a:pt x="4767628" y="2488348"/>
                    </a:lnTo>
                    <a:lnTo>
                      <a:pt x="4758538" y="2447444"/>
                    </a:lnTo>
                    <a:lnTo>
                      <a:pt x="4742631" y="2361090"/>
                    </a:lnTo>
                    <a:lnTo>
                      <a:pt x="4715361" y="2220198"/>
                    </a:lnTo>
                    <a:lnTo>
                      <a:pt x="4735813" y="2129299"/>
                    </a:lnTo>
                    <a:lnTo>
                      <a:pt x="4767628" y="2086122"/>
                    </a:lnTo>
                    <a:lnTo>
                      <a:pt x="4767628" y="2058853"/>
                    </a:lnTo>
                    <a:lnTo>
                      <a:pt x="4826712" y="2042945"/>
                    </a:lnTo>
                    <a:lnTo>
                      <a:pt x="4892613" y="1952047"/>
                    </a:lnTo>
                    <a:lnTo>
                      <a:pt x="4956243" y="1877056"/>
                    </a:lnTo>
                    <a:lnTo>
                      <a:pt x="5022143" y="1817971"/>
                    </a:lnTo>
                    <a:lnTo>
                      <a:pt x="5046694" y="1710844"/>
                    </a:lnTo>
                    <a:lnTo>
                      <a:pt x="5015871" y="1715711"/>
                    </a:lnTo>
                    <a:lnTo>
                      <a:pt x="4995419" y="1779340"/>
                    </a:lnTo>
                    <a:lnTo>
                      <a:pt x="4904521" y="1865693"/>
                    </a:lnTo>
                    <a:lnTo>
                      <a:pt x="4901708" y="1857053"/>
                    </a:lnTo>
                    <a:lnTo>
                      <a:pt x="4892613" y="1865693"/>
                    </a:lnTo>
                    <a:lnTo>
                      <a:pt x="4861835" y="1771159"/>
                    </a:lnTo>
                    <a:lnTo>
                      <a:pt x="4779535" y="1795247"/>
                    </a:lnTo>
                    <a:lnTo>
                      <a:pt x="4684091" y="1920232"/>
                    </a:lnTo>
                    <a:lnTo>
                      <a:pt x="4715906" y="1967954"/>
                    </a:lnTo>
                    <a:lnTo>
                      <a:pt x="4636369" y="1983861"/>
                    </a:lnTo>
                    <a:lnTo>
                      <a:pt x="4577285" y="1988406"/>
                    </a:lnTo>
                    <a:lnTo>
                      <a:pt x="4577373" y="1987484"/>
                    </a:lnTo>
                    <a:lnTo>
                      <a:pt x="4565379" y="1988406"/>
                    </a:lnTo>
                    <a:lnTo>
                      <a:pt x="4569923" y="1940685"/>
                    </a:lnTo>
                    <a:lnTo>
                      <a:pt x="4520081" y="1931099"/>
                    </a:lnTo>
                    <a:lnTo>
                      <a:pt x="4475025" y="1961137"/>
                    </a:lnTo>
                    <a:lnTo>
                      <a:pt x="4464394" y="1960286"/>
                    </a:lnTo>
                    <a:lnTo>
                      <a:pt x="4463118" y="1961137"/>
                    </a:lnTo>
                    <a:lnTo>
                      <a:pt x="4357637" y="1952698"/>
                    </a:lnTo>
                    <a:lnTo>
                      <a:pt x="4243233" y="1972499"/>
                    </a:lnTo>
                    <a:lnTo>
                      <a:pt x="4125065" y="2106574"/>
                    </a:lnTo>
                    <a:lnTo>
                      <a:pt x="3984173" y="2263374"/>
                    </a:lnTo>
                    <a:lnTo>
                      <a:pt x="4038712" y="2267919"/>
                    </a:lnTo>
                    <a:lnTo>
                      <a:pt x="4059164" y="2311096"/>
                    </a:lnTo>
                    <a:lnTo>
                      <a:pt x="4087782" y="2319513"/>
                    </a:lnTo>
                    <a:lnTo>
                      <a:pt x="4106341" y="2290644"/>
                    </a:lnTo>
                    <a:lnTo>
                      <a:pt x="4117411" y="2291946"/>
                    </a:lnTo>
                    <a:lnTo>
                      <a:pt x="4118248" y="2290644"/>
                    </a:lnTo>
                    <a:lnTo>
                      <a:pt x="4156880" y="2295189"/>
                    </a:lnTo>
                    <a:lnTo>
                      <a:pt x="4211419" y="2365635"/>
                    </a:lnTo>
                    <a:lnTo>
                      <a:pt x="4215964" y="2413357"/>
                    </a:lnTo>
                    <a:lnTo>
                      <a:pt x="4184149" y="2472441"/>
                    </a:lnTo>
                    <a:lnTo>
                      <a:pt x="4177332" y="2542887"/>
                    </a:lnTo>
                    <a:lnTo>
                      <a:pt x="4161425" y="2629241"/>
                    </a:lnTo>
                    <a:lnTo>
                      <a:pt x="4109158" y="2708777"/>
                    </a:lnTo>
                    <a:lnTo>
                      <a:pt x="4097796" y="2747409"/>
                    </a:lnTo>
                    <a:lnTo>
                      <a:pt x="4043257" y="2806493"/>
                    </a:lnTo>
                    <a:lnTo>
                      <a:pt x="3995535" y="2865577"/>
                    </a:lnTo>
                    <a:lnTo>
                      <a:pt x="3975083" y="2897392"/>
                    </a:lnTo>
                    <a:lnTo>
                      <a:pt x="3925089" y="2924661"/>
                    </a:lnTo>
                    <a:lnTo>
                      <a:pt x="3913182" y="2924661"/>
                    </a:lnTo>
                    <a:lnTo>
                      <a:pt x="3904637" y="2924661"/>
                    </a:lnTo>
                    <a:lnTo>
                      <a:pt x="3892729" y="2924661"/>
                    </a:lnTo>
                    <a:lnTo>
                      <a:pt x="3871063" y="2908412"/>
                    </a:lnTo>
                    <a:lnTo>
                      <a:pt x="3829645" y="2936024"/>
                    </a:lnTo>
                    <a:lnTo>
                      <a:pt x="3822828" y="2956476"/>
                    </a:lnTo>
                    <a:lnTo>
                      <a:pt x="3818283" y="2947386"/>
                    </a:lnTo>
                    <a:lnTo>
                      <a:pt x="3818283" y="2935660"/>
                    </a:lnTo>
                    <a:lnTo>
                      <a:pt x="3817738" y="2936024"/>
                    </a:lnTo>
                    <a:lnTo>
                      <a:pt x="3810921" y="2956476"/>
                    </a:lnTo>
                    <a:lnTo>
                      <a:pt x="3806376" y="2947386"/>
                    </a:lnTo>
                    <a:lnTo>
                      <a:pt x="3806376" y="2920116"/>
                    </a:lnTo>
                    <a:lnTo>
                      <a:pt x="3818283" y="2920116"/>
                    </a:lnTo>
                    <a:lnTo>
                      <a:pt x="3826828" y="2920116"/>
                    </a:lnTo>
                    <a:lnTo>
                      <a:pt x="3833645" y="2861032"/>
                    </a:lnTo>
                    <a:lnTo>
                      <a:pt x="3822283" y="2817856"/>
                    </a:lnTo>
                    <a:lnTo>
                      <a:pt x="3849553" y="2795131"/>
                    </a:lnTo>
                    <a:lnTo>
                      <a:pt x="3858814" y="2797336"/>
                    </a:lnTo>
                    <a:lnTo>
                      <a:pt x="3861460" y="2795131"/>
                    </a:lnTo>
                    <a:lnTo>
                      <a:pt x="3898487" y="2803947"/>
                    </a:lnTo>
                    <a:lnTo>
                      <a:pt x="3919999" y="2758772"/>
                    </a:lnTo>
                    <a:lnTo>
                      <a:pt x="3935906" y="2699687"/>
                    </a:lnTo>
                    <a:lnTo>
                      <a:pt x="3947269" y="2676963"/>
                    </a:lnTo>
                    <a:lnTo>
                      <a:pt x="3966292" y="2632575"/>
                    </a:lnTo>
                    <a:lnTo>
                      <a:pt x="3915999" y="2645148"/>
                    </a:lnTo>
                    <a:lnTo>
                      <a:pt x="3888729" y="2667873"/>
                    </a:lnTo>
                    <a:lnTo>
                      <a:pt x="3876822" y="2667873"/>
                    </a:lnTo>
                    <a:lnTo>
                      <a:pt x="3829645" y="2667873"/>
                    </a:lnTo>
                    <a:lnTo>
                      <a:pt x="3817738" y="2667873"/>
                    </a:lnTo>
                    <a:lnTo>
                      <a:pt x="3801831" y="2613334"/>
                    </a:lnTo>
                    <a:lnTo>
                      <a:pt x="3758654" y="2574702"/>
                    </a:lnTo>
                    <a:lnTo>
                      <a:pt x="3692753" y="2558795"/>
                    </a:lnTo>
                    <a:lnTo>
                      <a:pt x="3683663" y="2499711"/>
                    </a:lnTo>
                    <a:lnTo>
                      <a:pt x="3672301" y="2467896"/>
                    </a:lnTo>
                    <a:lnTo>
                      <a:pt x="3656393" y="2440627"/>
                    </a:lnTo>
                    <a:lnTo>
                      <a:pt x="3633669" y="2381542"/>
                    </a:lnTo>
                    <a:lnTo>
                      <a:pt x="3601854" y="2361090"/>
                    </a:lnTo>
                    <a:lnTo>
                      <a:pt x="3545995" y="2339606"/>
                    </a:lnTo>
                    <a:lnTo>
                      <a:pt x="3506955" y="2345183"/>
                    </a:lnTo>
                    <a:lnTo>
                      <a:pt x="3463779" y="2354273"/>
                    </a:lnTo>
                    <a:lnTo>
                      <a:pt x="3431964" y="2381542"/>
                    </a:lnTo>
                    <a:lnTo>
                      <a:pt x="3452416" y="2397450"/>
                    </a:lnTo>
                    <a:lnTo>
                      <a:pt x="3452416" y="2429264"/>
                    </a:lnTo>
                    <a:lnTo>
                      <a:pt x="3431964" y="2451989"/>
                    </a:lnTo>
                    <a:lnTo>
                      <a:pt x="3400150" y="2511073"/>
                    </a:lnTo>
                    <a:lnTo>
                      <a:pt x="3400150" y="2538343"/>
                    </a:lnTo>
                    <a:lnTo>
                      <a:pt x="3350155" y="2570157"/>
                    </a:lnTo>
                    <a:lnTo>
                      <a:pt x="3342342" y="2567553"/>
                    </a:lnTo>
                    <a:lnTo>
                      <a:pt x="3338249" y="2570157"/>
                    </a:lnTo>
                    <a:lnTo>
                      <a:pt x="3290527" y="2554250"/>
                    </a:lnTo>
                    <a:lnTo>
                      <a:pt x="3259257" y="2554250"/>
                    </a:lnTo>
                    <a:lnTo>
                      <a:pt x="3247350" y="2554250"/>
                    </a:lnTo>
                    <a:lnTo>
                      <a:pt x="3231443" y="2538343"/>
                    </a:lnTo>
                    <a:lnTo>
                      <a:pt x="3213271" y="2533799"/>
                    </a:lnTo>
                    <a:lnTo>
                      <a:pt x="3168359" y="2570157"/>
                    </a:lnTo>
                    <a:lnTo>
                      <a:pt x="3120637" y="2581519"/>
                    </a:lnTo>
                    <a:lnTo>
                      <a:pt x="3082005" y="2597427"/>
                    </a:lnTo>
                    <a:lnTo>
                      <a:pt x="3074460" y="2595630"/>
                    </a:lnTo>
                    <a:lnTo>
                      <a:pt x="3070098" y="2597427"/>
                    </a:lnTo>
                    <a:lnTo>
                      <a:pt x="3022376" y="2586064"/>
                    </a:lnTo>
                    <a:lnTo>
                      <a:pt x="3000196" y="2586064"/>
                    </a:lnTo>
                    <a:lnTo>
                      <a:pt x="2988289" y="2586064"/>
                    </a:lnTo>
                    <a:lnTo>
                      <a:pt x="2967837" y="2554250"/>
                    </a:lnTo>
                    <a:lnTo>
                      <a:pt x="2929205" y="2526980"/>
                    </a:lnTo>
                    <a:lnTo>
                      <a:pt x="2902153" y="2523116"/>
                    </a:lnTo>
                    <a:lnTo>
                      <a:pt x="2861576" y="2526980"/>
                    </a:lnTo>
                    <a:lnTo>
                      <a:pt x="2822944" y="2538343"/>
                    </a:lnTo>
                    <a:lnTo>
                      <a:pt x="2818139" y="2536254"/>
                    </a:lnTo>
                    <a:lnTo>
                      <a:pt x="2811037" y="2538343"/>
                    </a:lnTo>
                    <a:lnTo>
                      <a:pt x="2758770" y="2515618"/>
                    </a:lnTo>
                    <a:lnTo>
                      <a:pt x="2751953" y="2472441"/>
                    </a:lnTo>
                    <a:lnTo>
                      <a:pt x="2708776" y="2456534"/>
                    </a:lnTo>
                    <a:lnTo>
                      <a:pt x="2676962" y="2451989"/>
                    </a:lnTo>
                    <a:lnTo>
                      <a:pt x="2642534" y="2430245"/>
                    </a:lnTo>
                    <a:lnTo>
                      <a:pt x="2609333" y="2488348"/>
                    </a:lnTo>
                    <a:lnTo>
                      <a:pt x="2625240" y="2522435"/>
                    </a:lnTo>
                    <a:lnTo>
                      <a:pt x="2586608" y="2558795"/>
                    </a:lnTo>
                    <a:lnTo>
                      <a:pt x="2577105" y="2556532"/>
                    </a:lnTo>
                    <a:lnTo>
                      <a:pt x="2574701" y="2558795"/>
                    </a:lnTo>
                    <a:lnTo>
                      <a:pt x="2526979" y="2547432"/>
                    </a:lnTo>
                    <a:lnTo>
                      <a:pt x="2490620" y="2542887"/>
                    </a:lnTo>
                    <a:lnTo>
                      <a:pt x="2463350" y="2515618"/>
                    </a:lnTo>
                    <a:lnTo>
                      <a:pt x="2436625" y="2515618"/>
                    </a:lnTo>
                    <a:lnTo>
                      <a:pt x="2424718" y="2515618"/>
                    </a:lnTo>
                    <a:lnTo>
                      <a:pt x="2398858" y="2502687"/>
                    </a:lnTo>
                    <a:lnTo>
                      <a:pt x="2350272" y="2526980"/>
                    </a:lnTo>
                    <a:lnTo>
                      <a:pt x="2282098" y="2574702"/>
                    </a:lnTo>
                    <a:lnTo>
                      <a:pt x="2238921" y="2586064"/>
                    </a:lnTo>
                    <a:lnTo>
                      <a:pt x="2227559" y="2590609"/>
                    </a:lnTo>
                    <a:lnTo>
                      <a:pt x="2225178" y="2586799"/>
                    </a:lnTo>
                    <a:lnTo>
                      <a:pt x="2215652" y="2590609"/>
                    </a:lnTo>
                    <a:lnTo>
                      <a:pt x="2193596" y="2555320"/>
                    </a:lnTo>
                    <a:lnTo>
                      <a:pt x="2157112" y="2558795"/>
                    </a:lnTo>
                    <a:lnTo>
                      <a:pt x="2156291" y="2557739"/>
                    </a:lnTo>
                    <a:lnTo>
                      <a:pt x="2145205" y="2558795"/>
                    </a:lnTo>
                    <a:lnTo>
                      <a:pt x="2129298" y="2538343"/>
                    </a:lnTo>
                    <a:lnTo>
                      <a:pt x="2102029" y="2526980"/>
                    </a:lnTo>
                    <a:lnTo>
                      <a:pt x="2086121" y="2495166"/>
                    </a:lnTo>
                    <a:lnTo>
                      <a:pt x="2070005" y="2486212"/>
                    </a:lnTo>
                    <a:lnTo>
                      <a:pt x="2027582" y="2499711"/>
                    </a:lnTo>
                    <a:lnTo>
                      <a:pt x="2023845" y="2497111"/>
                    </a:lnTo>
                    <a:lnTo>
                      <a:pt x="2015675" y="2499711"/>
                    </a:lnTo>
                    <a:lnTo>
                      <a:pt x="1971363" y="2468885"/>
                    </a:lnTo>
                    <a:lnTo>
                      <a:pt x="1952591" y="2495166"/>
                    </a:lnTo>
                    <a:lnTo>
                      <a:pt x="1947518" y="2485599"/>
                    </a:lnTo>
                    <a:lnTo>
                      <a:pt x="1940684" y="2495166"/>
                    </a:lnTo>
                    <a:lnTo>
                      <a:pt x="1861147" y="2345183"/>
                    </a:lnTo>
                    <a:lnTo>
                      <a:pt x="1811153" y="2295189"/>
                    </a:lnTo>
                    <a:lnTo>
                      <a:pt x="1813950" y="2292043"/>
                    </a:lnTo>
                    <a:lnTo>
                      <a:pt x="1748069" y="2333821"/>
                    </a:lnTo>
                    <a:lnTo>
                      <a:pt x="1711709" y="2338366"/>
                    </a:lnTo>
                    <a:lnTo>
                      <a:pt x="1711926" y="2336850"/>
                    </a:lnTo>
                    <a:lnTo>
                      <a:pt x="1699803" y="2338366"/>
                    </a:lnTo>
                    <a:lnTo>
                      <a:pt x="1704347" y="2306551"/>
                    </a:lnTo>
                    <a:lnTo>
                      <a:pt x="1662460" y="2288600"/>
                    </a:lnTo>
                    <a:lnTo>
                      <a:pt x="1629901" y="2302006"/>
                    </a:lnTo>
                    <a:lnTo>
                      <a:pt x="1629300" y="2297351"/>
                    </a:lnTo>
                    <a:lnTo>
                      <a:pt x="1617994" y="2302006"/>
                    </a:lnTo>
                    <a:lnTo>
                      <a:pt x="1608904" y="2231560"/>
                    </a:lnTo>
                    <a:lnTo>
                      <a:pt x="1552684" y="2221867"/>
                    </a:lnTo>
                    <a:lnTo>
                      <a:pt x="1518550" y="2247467"/>
                    </a:lnTo>
                    <a:lnTo>
                      <a:pt x="1425379" y="2267919"/>
                    </a:lnTo>
                    <a:lnTo>
                      <a:pt x="1409472" y="2286099"/>
                    </a:lnTo>
                    <a:lnTo>
                      <a:pt x="1270852" y="2306551"/>
                    </a:lnTo>
                    <a:lnTo>
                      <a:pt x="1254945" y="2327003"/>
                    </a:lnTo>
                    <a:lnTo>
                      <a:pt x="1282214" y="2370180"/>
                    </a:lnTo>
                    <a:lnTo>
                      <a:pt x="1243582" y="2386087"/>
                    </a:lnTo>
                    <a:lnTo>
                      <a:pt x="1254945" y="2404267"/>
                    </a:lnTo>
                    <a:lnTo>
                      <a:pt x="1216313" y="2429264"/>
                    </a:lnTo>
                    <a:lnTo>
                      <a:pt x="1275397" y="2472441"/>
                    </a:lnTo>
                    <a:lnTo>
                      <a:pt x="1270852" y="2499711"/>
                    </a:lnTo>
                    <a:lnTo>
                      <a:pt x="1259108" y="2498732"/>
                    </a:lnTo>
                    <a:lnTo>
                      <a:pt x="1258945" y="2499711"/>
                    </a:lnTo>
                    <a:lnTo>
                      <a:pt x="1215644" y="2496102"/>
                    </a:lnTo>
                    <a:lnTo>
                      <a:pt x="1204950" y="2511073"/>
                    </a:lnTo>
                    <a:lnTo>
                      <a:pt x="1196495" y="2506241"/>
                    </a:lnTo>
                    <a:lnTo>
                      <a:pt x="1193043" y="2511073"/>
                    </a:lnTo>
                    <a:lnTo>
                      <a:pt x="1145322" y="2483803"/>
                    </a:lnTo>
                    <a:lnTo>
                      <a:pt x="1098145" y="2483803"/>
                    </a:lnTo>
                    <a:lnTo>
                      <a:pt x="1061785" y="2511073"/>
                    </a:lnTo>
                    <a:lnTo>
                      <a:pt x="1055322" y="2506990"/>
                    </a:lnTo>
                    <a:lnTo>
                      <a:pt x="1049878" y="2511073"/>
                    </a:lnTo>
                    <a:lnTo>
                      <a:pt x="1006701" y="2483803"/>
                    </a:lnTo>
                    <a:lnTo>
                      <a:pt x="924893" y="2447444"/>
                    </a:lnTo>
                    <a:lnTo>
                      <a:pt x="877716" y="2447444"/>
                    </a:lnTo>
                    <a:lnTo>
                      <a:pt x="802724" y="2511073"/>
                    </a:lnTo>
                    <a:lnTo>
                      <a:pt x="798179" y="2554250"/>
                    </a:lnTo>
                    <a:lnTo>
                      <a:pt x="787406" y="2543477"/>
                    </a:lnTo>
                    <a:lnTo>
                      <a:pt x="786272" y="2554250"/>
                    </a:lnTo>
                    <a:lnTo>
                      <a:pt x="756063" y="2524040"/>
                    </a:lnTo>
                    <a:lnTo>
                      <a:pt x="732278" y="2581519"/>
                    </a:lnTo>
                    <a:lnTo>
                      <a:pt x="743640" y="2590609"/>
                    </a:lnTo>
                    <a:lnTo>
                      <a:pt x="723188" y="2633786"/>
                    </a:lnTo>
                    <a:lnTo>
                      <a:pt x="747026" y="2670627"/>
                    </a:lnTo>
                    <a:lnTo>
                      <a:pt x="763548" y="2667873"/>
                    </a:lnTo>
                    <a:lnTo>
                      <a:pt x="764871" y="2669637"/>
                    </a:lnTo>
                    <a:lnTo>
                      <a:pt x="775455" y="2667873"/>
                    </a:lnTo>
                    <a:lnTo>
                      <a:pt x="802724" y="2704232"/>
                    </a:lnTo>
                    <a:lnTo>
                      <a:pt x="798179" y="2731502"/>
                    </a:lnTo>
                    <a:lnTo>
                      <a:pt x="818632" y="2742864"/>
                    </a:lnTo>
                    <a:lnTo>
                      <a:pt x="802724" y="2774679"/>
                    </a:lnTo>
                    <a:lnTo>
                      <a:pt x="766365" y="2779224"/>
                    </a:lnTo>
                    <a:lnTo>
                      <a:pt x="727733" y="2838308"/>
                    </a:lnTo>
                    <a:lnTo>
                      <a:pt x="759548" y="2881485"/>
                    </a:lnTo>
                    <a:lnTo>
                      <a:pt x="759548" y="2920116"/>
                    </a:lnTo>
                    <a:lnTo>
                      <a:pt x="798179" y="2979201"/>
                    </a:lnTo>
                    <a:lnTo>
                      <a:pt x="775455" y="2995108"/>
                    </a:lnTo>
                    <a:lnTo>
                      <a:pt x="770910" y="3006470"/>
                    </a:lnTo>
                    <a:lnTo>
                      <a:pt x="759003" y="3006470"/>
                    </a:lnTo>
                    <a:lnTo>
                      <a:pt x="755003" y="3006470"/>
                    </a:lnTo>
                    <a:lnTo>
                      <a:pt x="743096" y="3006470"/>
                    </a:lnTo>
                    <a:lnTo>
                      <a:pt x="715826" y="2972383"/>
                    </a:lnTo>
                    <a:lnTo>
                      <a:pt x="704464" y="2972383"/>
                    </a:lnTo>
                    <a:lnTo>
                      <a:pt x="684012" y="2963293"/>
                    </a:lnTo>
                    <a:lnTo>
                      <a:pt x="672649" y="2940569"/>
                    </a:lnTo>
                    <a:lnTo>
                      <a:pt x="645222" y="2932732"/>
                    </a:lnTo>
                    <a:lnTo>
                      <a:pt x="625472" y="2936024"/>
                    </a:lnTo>
                    <a:lnTo>
                      <a:pt x="623771" y="2934323"/>
                    </a:lnTo>
                    <a:lnTo>
                      <a:pt x="613565" y="2936024"/>
                    </a:lnTo>
                    <a:lnTo>
                      <a:pt x="609020" y="2931479"/>
                    </a:lnTo>
                    <a:lnTo>
                      <a:pt x="559026" y="2904209"/>
                    </a:lnTo>
                    <a:lnTo>
                      <a:pt x="506760" y="2897392"/>
                    </a:lnTo>
                    <a:lnTo>
                      <a:pt x="483280" y="2890683"/>
                    </a:lnTo>
                    <a:lnTo>
                      <a:pt x="480035" y="2892847"/>
                    </a:lnTo>
                    <a:lnTo>
                      <a:pt x="475042" y="2888329"/>
                    </a:lnTo>
                    <a:lnTo>
                      <a:pt x="474945" y="2888302"/>
                    </a:lnTo>
                    <a:lnTo>
                      <a:pt x="468128" y="2892847"/>
                    </a:lnTo>
                    <a:lnTo>
                      <a:pt x="420406" y="2849670"/>
                    </a:lnTo>
                    <a:lnTo>
                      <a:pt x="381774" y="2833763"/>
                    </a:lnTo>
                    <a:lnTo>
                      <a:pt x="349960" y="2801948"/>
                    </a:lnTo>
                    <a:lnTo>
                      <a:pt x="377229" y="2795131"/>
                    </a:lnTo>
                    <a:lnTo>
                      <a:pt x="404499" y="2747409"/>
                    </a:lnTo>
                    <a:lnTo>
                      <a:pt x="388591" y="2731502"/>
                    </a:lnTo>
                    <a:lnTo>
                      <a:pt x="440858" y="2704232"/>
                    </a:lnTo>
                    <a:lnTo>
                      <a:pt x="440858" y="2701176"/>
                    </a:lnTo>
                    <a:lnTo>
                      <a:pt x="416406" y="2704232"/>
                    </a:lnTo>
                    <a:lnTo>
                      <a:pt x="416406" y="2702744"/>
                    </a:lnTo>
                    <a:lnTo>
                      <a:pt x="404499" y="2704232"/>
                    </a:lnTo>
                    <a:lnTo>
                      <a:pt x="404499" y="2683780"/>
                    </a:lnTo>
                    <a:lnTo>
                      <a:pt x="424951" y="2667873"/>
                    </a:lnTo>
                    <a:lnTo>
                      <a:pt x="463583" y="2661056"/>
                    </a:lnTo>
                    <a:lnTo>
                      <a:pt x="468128" y="2645148"/>
                    </a:lnTo>
                    <a:lnTo>
                      <a:pt x="456765" y="2613334"/>
                    </a:lnTo>
                    <a:lnTo>
                      <a:pt x="474945" y="2586064"/>
                    </a:lnTo>
                    <a:lnTo>
                      <a:pt x="474945" y="2565612"/>
                    </a:lnTo>
                    <a:lnTo>
                      <a:pt x="420406" y="2547432"/>
                    </a:lnTo>
                    <a:lnTo>
                      <a:pt x="409588" y="2547432"/>
                    </a:lnTo>
                    <a:lnTo>
                      <a:pt x="397681" y="2547432"/>
                    </a:lnTo>
                    <a:lnTo>
                      <a:pt x="379485" y="2525193"/>
                    </a:lnTo>
                    <a:lnTo>
                      <a:pt x="357322" y="2531525"/>
                    </a:lnTo>
                    <a:lnTo>
                      <a:pt x="352842" y="2529403"/>
                    </a:lnTo>
                    <a:lnTo>
                      <a:pt x="345415" y="2531525"/>
                    </a:lnTo>
                    <a:lnTo>
                      <a:pt x="302238" y="2511073"/>
                    </a:lnTo>
                    <a:lnTo>
                      <a:pt x="302238" y="2499711"/>
                    </a:lnTo>
                    <a:lnTo>
                      <a:pt x="286331" y="2472441"/>
                    </a:lnTo>
                    <a:lnTo>
                      <a:pt x="270968" y="2472441"/>
                    </a:lnTo>
                    <a:lnTo>
                      <a:pt x="259061" y="2472441"/>
                    </a:lnTo>
                    <a:lnTo>
                      <a:pt x="254516" y="2456534"/>
                    </a:lnTo>
                    <a:lnTo>
                      <a:pt x="263606" y="2440627"/>
                    </a:lnTo>
                    <a:lnTo>
                      <a:pt x="243991" y="2410114"/>
                    </a:lnTo>
                    <a:lnTo>
                      <a:pt x="216429" y="2413357"/>
                    </a:lnTo>
                    <a:lnTo>
                      <a:pt x="212956" y="2412365"/>
                    </a:lnTo>
                    <a:lnTo>
                      <a:pt x="204522" y="2413357"/>
                    </a:lnTo>
                    <a:lnTo>
                      <a:pt x="199623" y="2411957"/>
                    </a:lnTo>
                    <a:lnTo>
                      <a:pt x="195977" y="2424719"/>
                    </a:lnTo>
                    <a:lnTo>
                      <a:pt x="184968" y="2421574"/>
                    </a:lnTo>
                    <a:lnTo>
                      <a:pt x="184070" y="2424719"/>
                    </a:lnTo>
                    <a:lnTo>
                      <a:pt x="168163" y="2420174"/>
                    </a:lnTo>
                    <a:lnTo>
                      <a:pt x="156800" y="2381542"/>
                    </a:lnTo>
                    <a:lnTo>
                      <a:pt x="152255" y="2365635"/>
                    </a:lnTo>
                    <a:lnTo>
                      <a:pt x="156800" y="2361090"/>
                    </a:lnTo>
                    <a:lnTo>
                      <a:pt x="168707" y="2361090"/>
                    </a:lnTo>
                    <a:lnTo>
                      <a:pt x="188615" y="2361090"/>
                    </a:lnTo>
                    <a:lnTo>
                      <a:pt x="199977" y="2349728"/>
                    </a:lnTo>
                    <a:lnTo>
                      <a:pt x="188615" y="2327003"/>
                    </a:lnTo>
                    <a:lnTo>
                      <a:pt x="168163" y="2317914"/>
                    </a:lnTo>
                    <a:lnTo>
                      <a:pt x="168163" y="2311096"/>
                    </a:lnTo>
                    <a:lnTo>
                      <a:pt x="152255" y="2295189"/>
                    </a:lnTo>
                    <a:lnTo>
                      <a:pt x="129531" y="2258829"/>
                    </a:lnTo>
                    <a:lnTo>
                      <a:pt x="140893" y="2236105"/>
                    </a:lnTo>
                    <a:lnTo>
                      <a:pt x="136348" y="2208835"/>
                    </a:lnTo>
                    <a:lnTo>
                      <a:pt x="103789" y="2195428"/>
                    </a:lnTo>
                    <a:lnTo>
                      <a:pt x="93716" y="2199745"/>
                    </a:lnTo>
                    <a:lnTo>
                      <a:pt x="91868" y="2195434"/>
                    </a:lnTo>
                    <a:lnTo>
                      <a:pt x="81809" y="2199745"/>
                    </a:lnTo>
                    <a:lnTo>
                      <a:pt x="74992" y="2183838"/>
                    </a:lnTo>
                    <a:lnTo>
                      <a:pt x="34087" y="2172476"/>
                    </a:lnTo>
                    <a:lnTo>
                      <a:pt x="22725" y="2129299"/>
                    </a:lnTo>
                    <a:lnTo>
                      <a:pt x="22725" y="2097484"/>
                    </a:lnTo>
                    <a:lnTo>
                      <a:pt x="0" y="2081577"/>
                    </a:lnTo>
                    <a:lnTo>
                      <a:pt x="15907" y="2058853"/>
                    </a:lnTo>
                    <a:lnTo>
                      <a:pt x="6818" y="1995224"/>
                    </a:lnTo>
                    <a:lnTo>
                      <a:pt x="34087" y="1952047"/>
                    </a:lnTo>
                    <a:lnTo>
                      <a:pt x="27270" y="1940685"/>
                    </a:lnTo>
                    <a:lnTo>
                      <a:pt x="70447" y="1902053"/>
                    </a:lnTo>
                    <a:lnTo>
                      <a:pt x="27270" y="1865693"/>
                    </a:lnTo>
                    <a:lnTo>
                      <a:pt x="109078" y="1767977"/>
                    </a:lnTo>
                    <a:lnTo>
                      <a:pt x="145438" y="1724800"/>
                    </a:lnTo>
                    <a:lnTo>
                      <a:pt x="156800" y="1681624"/>
                    </a:lnTo>
                    <a:lnTo>
                      <a:pt x="102261" y="1629357"/>
                    </a:lnTo>
                    <a:lnTo>
                      <a:pt x="118168" y="1574818"/>
                    </a:lnTo>
                    <a:lnTo>
                      <a:pt x="86354" y="1511189"/>
                    </a:lnTo>
                    <a:lnTo>
                      <a:pt x="109078" y="1436197"/>
                    </a:lnTo>
                    <a:lnTo>
                      <a:pt x="70447" y="1333936"/>
                    </a:lnTo>
                    <a:lnTo>
                      <a:pt x="102261" y="1263490"/>
                    </a:lnTo>
                    <a:lnTo>
                      <a:pt x="43177" y="1197589"/>
                    </a:lnTo>
                    <a:lnTo>
                      <a:pt x="49994" y="1122597"/>
                    </a:lnTo>
                    <a:lnTo>
                      <a:pt x="81809" y="1118052"/>
                    </a:lnTo>
                    <a:lnTo>
                      <a:pt x="145438" y="1074876"/>
                    </a:lnTo>
                    <a:lnTo>
                      <a:pt x="184070" y="1036244"/>
                    </a:lnTo>
                    <a:lnTo>
                      <a:pt x="189699" y="1042522"/>
                    </a:lnTo>
                    <a:lnTo>
                      <a:pt x="195977" y="1036244"/>
                    </a:lnTo>
                    <a:lnTo>
                      <a:pt x="255061" y="1102145"/>
                    </a:lnTo>
                    <a:lnTo>
                      <a:pt x="350504" y="1122597"/>
                    </a:lnTo>
                    <a:lnTo>
                      <a:pt x="491397" y="1236221"/>
                    </a:lnTo>
                    <a:lnTo>
                      <a:pt x="523211" y="1283942"/>
                    </a:lnTo>
                    <a:lnTo>
                      <a:pt x="523211" y="1343026"/>
                    </a:lnTo>
                    <a:lnTo>
                      <a:pt x="486852" y="1397565"/>
                    </a:lnTo>
                    <a:lnTo>
                      <a:pt x="420951" y="1418018"/>
                    </a:lnTo>
                    <a:lnTo>
                      <a:pt x="415909" y="1415887"/>
                    </a:lnTo>
                    <a:lnTo>
                      <a:pt x="409044" y="1418018"/>
                    </a:lnTo>
                    <a:lnTo>
                      <a:pt x="252950" y="1352062"/>
                    </a:lnTo>
                    <a:lnTo>
                      <a:pt x="232336" y="1358934"/>
                    </a:lnTo>
                    <a:lnTo>
                      <a:pt x="291420" y="1429380"/>
                    </a:lnTo>
                    <a:lnTo>
                      <a:pt x="291420" y="1468012"/>
                    </a:lnTo>
                    <a:lnTo>
                      <a:pt x="298238" y="1554366"/>
                    </a:lnTo>
                    <a:lnTo>
                      <a:pt x="345959" y="1586180"/>
                    </a:lnTo>
                    <a:lnTo>
                      <a:pt x="362087" y="1595588"/>
                    </a:lnTo>
                    <a:lnTo>
                      <a:pt x="365867" y="1563455"/>
                    </a:lnTo>
                    <a:lnTo>
                      <a:pt x="345415" y="1527096"/>
                    </a:lnTo>
                    <a:lnTo>
                      <a:pt x="365867" y="1495281"/>
                    </a:lnTo>
                    <a:lnTo>
                      <a:pt x="374560" y="1500280"/>
                    </a:lnTo>
                    <a:lnTo>
                      <a:pt x="377774" y="1495281"/>
                    </a:lnTo>
                    <a:lnTo>
                      <a:pt x="461933" y="1543673"/>
                    </a:lnTo>
                    <a:lnTo>
                      <a:pt x="484035" y="1527096"/>
                    </a:lnTo>
                    <a:lnTo>
                      <a:pt x="463583" y="1461194"/>
                    </a:lnTo>
                    <a:lnTo>
                      <a:pt x="549936" y="1374841"/>
                    </a:lnTo>
                    <a:lnTo>
                      <a:pt x="559742" y="1376942"/>
                    </a:lnTo>
                    <a:lnTo>
                      <a:pt x="561843" y="1374841"/>
                    </a:lnTo>
                    <a:lnTo>
                      <a:pt x="593658" y="1381658"/>
                    </a:lnTo>
                    <a:lnTo>
                      <a:pt x="620945" y="1405535"/>
                    </a:lnTo>
                    <a:lnTo>
                      <a:pt x="640835" y="1349844"/>
                    </a:lnTo>
                    <a:lnTo>
                      <a:pt x="609020" y="1295305"/>
                    </a:lnTo>
                    <a:lnTo>
                      <a:pt x="624928" y="1236221"/>
                    </a:lnTo>
                    <a:lnTo>
                      <a:pt x="597658" y="1177136"/>
                    </a:lnTo>
                    <a:lnTo>
                      <a:pt x="611562" y="1181462"/>
                    </a:lnTo>
                    <a:lnTo>
                      <a:pt x="609565" y="1177136"/>
                    </a:lnTo>
                    <a:lnTo>
                      <a:pt x="711826" y="1208951"/>
                    </a:lnTo>
                    <a:lnTo>
                      <a:pt x="732278" y="1263490"/>
                    </a:lnTo>
                    <a:lnTo>
                      <a:pt x="684556" y="1274852"/>
                    </a:lnTo>
                    <a:lnTo>
                      <a:pt x="684556" y="1327119"/>
                    </a:lnTo>
                    <a:lnTo>
                      <a:pt x="713309" y="1355872"/>
                    </a:lnTo>
                    <a:lnTo>
                      <a:pt x="763548" y="1338481"/>
                    </a:lnTo>
                    <a:lnTo>
                      <a:pt x="770365" y="1279397"/>
                    </a:lnTo>
                    <a:lnTo>
                      <a:pt x="845357" y="1231676"/>
                    </a:lnTo>
                    <a:lnTo>
                      <a:pt x="972614" y="1145322"/>
                    </a:lnTo>
                    <a:lnTo>
                      <a:pt x="982566" y="1146649"/>
                    </a:lnTo>
                    <a:lnTo>
                      <a:pt x="984521" y="1145322"/>
                    </a:lnTo>
                    <a:lnTo>
                      <a:pt x="1018608" y="1149867"/>
                    </a:lnTo>
                    <a:lnTo>
                      <a:pt x="979977" y="1213496"/>
                    </a:lnTo>
                    <a:lnTo>
                      <a:pt x="1012666" y="1218657"/>
                    </a:lnTo>
                    <a:lnTo>
                      <a:pt x="1038516" y="1188499"/>
                    </a:lnTo>
                    <a:lnTo>
                      <a:pt x="1050423" y="1188499"/>
                    </a:lnTo>
                    <a:lnTo>
                      <a:pt x="1108962" y="1188499"/>
                    </a:lnTo>
                    <a:lnTo>
                      <a:pt x="1161229" y="1145322"/>
                    </a:lnTo>
                    <a:lnTo>
                      <a:pt x="1165711" y="1151456"/>
                    </a:lnTo>
                    <a:lnTo>
                      <a:pt x="1173136" y="1145322"/>
                    </a:lnTo>
                    <a:lnTo>
                      <a:pt x="1210035" y="1195815"/>
                    </a:lnTo>
                    <a:lnTo>
                      <a:pt x="1247583" y="1138505"/>
                    </a:lnTo>
                    <a:lnTo>
                      <a:pt x="1211223" y="1079421"/>
                    </a:lnTo>
                    <a:lnTo>
                      <a:pt x="1227130" y="1043061"/>
                    </a:lnTo>
                    <a:lnTo>
                      <a:pt x="1237665" y="1046199"/>
                    </a:lnTo>
                    <a:lnTo>
                      <a:pt x="1239037" y="1043061"/>
                    </a:lnTo>
                    <a:lnTo>
                      <a:pt x="1345843" y="1074876"/>
                    </a:lnTo>
                    <a:lnTo>
                      <a:pt x="1400382" y="1106690"/>
                    </a:lnTo>
                    <a:lnTo>
                      <a:pt x="1519756" y="1213274"/>
                    </a:lnTo>
                    <a:lnTo>
                      <a:pt x="1543003" y="1172592"/>
                    </a:lnTo>
                    <a:lnTo>
                      <a:pt x="1506643" y="1118052"/>
                    </a:lnTo>
                    <a:lnTo>
                      <a:pt x="1506643" y="1095328"/>
                    </a:lnTo>
                    <a:lnTo>
                      <a:pt x="1463467" y="1086238"/>
                    </a:lnTo>
                    <a:lnTo>
                      <a:pt x="1472556" y="1036244"/>
                    </a:lnTo>
                    <a:lnTo>
                      <a:pt x="1452104" y="949890"/>
                    </a:lnTo>
                    <a:lnTo>
                      <a:pt x="1452104" y="913531"/>
                    </a:lnTo>
                    <a:lnTo>
                      <a:pt x="1522551" y="811270"/>
                    </a:lnTo>
                    <a:lnTo>
                      <a:pt x="1543003" y="697647"/>
                    </a:lnTo>
                    <a:lnTo>
                      <a:pt x="1570272" y="677194"/>
                    </a:lnTo>
                    <a:lnTo>
                      <a:pt x="1578688" y="679813"/>
                    </a:lnTo>
                    <a:lnTo>
                      <a:pt x="1582179" y="677194"/>
                    </a:lnTo>
                    <a:lnTo>
                      <a:pt x="1684440" y="709009"/>
                    </a:lnTo>
                    <a:lnTo>
                      <a:pt x="1688985" y="779455"/>
                    </a:lnTo>
                    <a:lnTo>
                      <a:pt x="1652625" y="870354"/>
                    </a:lnTo>
                    <a:lnTo>
                      <a:pt x="1679895" y="908986"/>
                    </a:lnTo>
                    <a:lnTo>
                      <a:pt x="1688985" y="983977"/>
                    </a:lnTo>
                    <a:lnTo>
                      <a:pt x="1679895" y="1129415"/>
                    </a:lnTo>
                    <a:lnTo>
                      <a:pt x="1723072" y="1193044"/>
                    </a:lnTo>
                    <a:lnTo>
                      <a:pt x="1704892" y="1256673"/>
                    </a:lnTo>
                    <a:lnTo>
                      <a:pt x="1636718" y="1393021"/>
                    </a:lnTo>
                    <a:lnTo>
                      <a:pt x="1662494" y="1399465"/>
                    </a:lnTo>
                    <a:lnTo>
                      <a:pt x="1677078" y="1370296"/>
                    </a:lnTo>
                    <a:lnTo>
                      <a:pt x="1720255" y="1349844"/>
                    </a:lnTo>
                    <a:lnTo>
                      <a:pt x="1731617" y="1299850"/>
                    </a:lnTo>
                    <a:lnTo>
                      <a:pt x="1758887" y="1256673"/>
                    </a:lnTo>
                    <a:lnTo>
                      <a:pt x="1736162" y="1197589"/>
                    </a:lnTo>
                    <a:lnTo>
                      <a:pt x="1758887" y="1133960"/>
                    </a:lnTo>
                    <a:lnTo>
                      <a:pt x="1715710" y="1122597"/>
                    </a:lnTo>
                    <a:lnTo>
                      <a:pt x="1704347" y="1070331"/>
                    </a:lnTo>
                    <a:lnTo>
                      <a:pt x="1736162" y="961252"/>
                    </a:lnTo>
                    <a:lnTo>
                      <a:pt x="1688440" y="865809"/>
                    </a:lnTo>
                    <a:lnTo>
                      <a:pt x="1752069" y="788545"/>
                    </a:lnTo>
                    <a:lnTo>
                      <a:pt x="1747524" y="704464"/>
                    </a:lnTo>
                    <a:lnTo>
                      <a:pt x="1763431" y="697647"/>
                    </a:lnTo>
                    <a:lnTo>
                      <a:pt x="1764877" y="702130"/>
                    </a:lnTo>
                    <a:lnTo>
                      <a:pt x="1775339" y="697647"/>
                    </a:lnTo>
                    <a:lnTo>
                      <a:pt x="1798063" y="768093"/>
                    </a:lnTo>
                    <a:lnTo>
                      <a:pt x="1791454" y="815304"/>
                    </a:lnTo>
                    <a:lnTo>
                      <a:pt x="1854330" y="772638"/>
                    </a:lnTo>
                    <a:lnTo>
                      <a:pt x="1931594" y="763548"/>
                    </a:lnTo>
                    <a:lnTo>
                      <a:pt x="1932772" y="764810"/>
                    </a:lnTo>
                    <a:lnTo>
                      <a:pt x="1943501" y="763548"/>
                    </a:lnTo>
                    <a:lnTo>
                      <a:pt x="1988608" y="811877"/>
                    </a:lnTo>
                    <a:lnTo>
                      <a:pt x="1963408" y="736278"/>
                    </a:lnTo>
                    <a:lnTo>
                      <a:pt x="1963408" y="595386"/>
                    </a:lnTo>
                    <a:lnTo>
                      <a:pt x="2027037" y="574934"/>
                    </a:lnTo>
                    <a:lnTo>
                      <a:pt x="2037269" y="575472"/>
                    </a:lnTo>
                    <a:lnTo>
                      <a:pt x="2038944" y="574934"/>
                    </a:lnTo>
                    <a:lnTo>
                      <a:pt x="2115414" y="578958"/>
                    </a:lnTo>
                    <a:lnTo>
                      <a:pt x="2192927" y="559026"/>
                    </a:lnTo>
                    <a:lnTo>
                      <a:pt x="2167930" y="493125"/>
                    </a:lnTo>
                    <a:lnTo>
                      <a:pt x="2204289" y="402226"/>
                    </a:lnTo>
                    <a:lnTo>
                      <a:pt x="2247466" y="397681"/>
                    </a:lnTo>
                    <a:lnTo>
                      <a:pt x="2317913" y="322690"/>
                    </a:lnTo>
                    <a:lnTo>
                      <a:pt x="2420173" y="304510"/>
                    </a:lnTo>
                    <a:lnTo>
                      <a:pt x="2429263" y="263606"/>
                    </a:lnTo>
                    <a:lnTo>
                      <a:pt x="2526979" y="252244"/>
                    </a:lnTo>
                    <a:lnTo>
                      <a:pt x="2528058" y="253503"/>
                    </a:lnTo>
                    <a:lnTo>
                      <a:pt x="2538886" y="252244"/>
                    </a:lnTo>
                    <a:lnTo>
                      <a:pt x="2560820" y="277833"/>
                    </a:lnTo>
                    <a:lnTo>
                      <a:pt x="2640602" y="202249"/>
                    </a:lnTo>
                    <a:lnTo>
                      <a:pt x="2652509" y="202249"/>
                    </a:lnTo>
                    <a:lnTo>
                      <a:pt x="2704231" y="202249"/>
                    </a:lnTo>
                    <a:lnTo>
                      <a:pt x="2715593" y="134075"/>
                    </a:lnTo>
                    <a:lnTo>
                      <a:pt x="2751953" y="68174"/>
                    </a:lnTo>
                    <a:close/>
                  </a:path>
                </a:pathLst>
              </a:custGeom>
              <a:solidFill>
                <a:sysClr val="window" lastClr="FFFFFF">
                  <a:lumMod val="85000"/>
                </a:sysClr>
              </a:solidFill>
              <a:ln w="3175" cap="rnd">
                <a:noFill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40408"/>
                  </a:solidFill>
                  <a:effectLst/>
                  <a:uLnTx/>
                  <a:uFillTx/>
                  <a:latin typeface="SLB Sans Light" panose="02000503040000020004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95" name="Freeform 278">
                <a:extLst>
                  <a:ext uri="{FF2B5EF4-FFF2-40B4-BE49-F238E27FC236}">
                    <a16:creationId xmlns:a16="http://schemas.microsoft.com/office/drawing/2014/main" id="{009C2E6F-A8AC-A404-0B5E-7C2079B0BB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02160" y="812664"/>
                <a:ext cx="299965" cy="227246"/>
              </a:xfrm>
              <a:custGeom>
                <a:avLst/>
                <a:gdLst>
                  <a:gd name="T0" fmla="*/ 59 w 132"/>
                  <a:gd name="T1" fmla="*/ 83 h 100"/>
                  <a:gd name="T2" fmla="*/ 120 w 132"/>
                  <a:gd name="T3" fmla="*/ 86 h 100"/>
                  <a:gd name="T4" fmla="*/ 132 w 132"/>
                  <a:gd name="T5" fmla="*/ 38 h 100"/>
                  <a:gd name="T6" fmla="*/ 73 w 132"/>
                  <a:gd name="T7" fmla="*/ 5 h 100"/>
                  <a:gd name="T8" fmla="*/ 30 w 132"/>
                  <a:gd name="T9" fmla="*/ 0 h 100"/>
                  <a:gd name="T10" fmla="*/ 9 w 132"/>
                  <a:gd name="T11" fmla="*/ 15 h 100"/>
                  <a:gd name="T12" fmla="*/ 0 w 132"/>
                  <a:gd name="T13" fmla="*/ 57 h 100"/>
                  <a:gd name="T14" fmla="*/ 33 w 132"/>
                  <a:gd name="T15" fmla="*/ 100 h 100"/>
                  <a:gd name="T16" fmla="*/ 59 w 132"/>
                  <a:gd name="T17" fmla="*/ 83 h 100"/>
                  <a:gd name="T18" fmla="*/ 59 w 132"/>
                  <a:gd name="T19" fmla="*/ 83 h 100"/>
                  <a:gd name="T20" fmla="*/ 59 w 132"/>
                  <a:gd name="T21" fmla="*/ 83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2" h="100">
                    <a:moveTo>
                      <a:pt x="59" y="83"/>
                    </a:moveTo>
                    <a:lnTo>
                      <a:pt x="120" y="86"/>
                    </a:lnTo>
                    <a:lnTo>
                      <a:pt x="132" y="38"/>
                    </a:lnTo>
                    <a:lnTo>
                      <a:pt x="73" y="5"/>
                    </a:lnTo>
                    <a:lnTo>
                      <a:pt x="30" y="0"/>
                    </a:lnTo>
                    <a:lnTo>
                      <a:pt x="9" y="15"/>
                    </a:lnTo>
                    <a:lnTo>
                      <a:pt x="0" y="57"/>
                    </a:lnTo>
                    <a:lnTo>
                      <a:pt x="33" y="100"/>
                    </a:lnTo>
                    <a:lnTo>
                      <a:pt x="59" y="83"/>
                    </a:lnTo>
                    <a:lnTo>
                      <a:pt x="59" y="83"/>
                    </a:lnTo>
                    <a:lnTo>
                      <a:pt x="59" y="83"/>
                    </a:lnTo>
                    <a:close/>
                  </a:path>
                </a:pathLst>
              </a:custGeom>
              <a:grpFill/>
              <a:ln w="3175" cap="rnd">
                <a:noFill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40408"/>
                  </a:solidFill>
                  <a:effectLst/>
                  <a:uLnTx/>
                  <a:uFillTx/>
                  <a:latin typeface="SLB Sans Light" panose="02000503040000020004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96" name="Freeform 279">
                <a:extLst>
                  <a:ext uri="{FF2B5EF4-FFF2-40B4-BE49-F238E27FC236}">
                    <a16:creationId xmlns:a16="http://schemas.microsoft.com/office/drawing/2014/main" id="{31F92526-2911-69BF-32AF-D2D6A8ED43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08965" y="1142170"/>
                <a:ext cx="140893" cy="79537"/>
              </a:xfrm>
              <a:custGeom>
                <a:avLst/>
                <a:gdLst>
                  <a:gd name="T0" fmla="*/ 17 w 62"/>
                  <a:gd name="T1" fmla="*/ 5 h 35"/>
                  <a:gd name="T2" fmla="*/ 0 w 62"/>
                  <a:gd name="T3" fmla="*/ 26 h 35"/>
                  <a:gd name="T4" fmla="*/ 2 w 62"/>
                  <a:gd name="T5" fmla="*/ 31 h 35"/>
                  <a:gd name="T6" fmla="*/ 36 w 62"/>
                  <a:gd name="T7" fmla="*/ 35 h 35"/>
                  <a:gd name="T8" fmla="*/ 62 w 62"/>
                  <a:gd name="T9" fmla="*/ 35 h 35"/>
                  <a:gd name="T10" fmla="*/ 59 w 62"/>
                  <a:gd name="T11" fmla="*/ 21 h 35"/>
                  <a:gd name="T12" fmla="*/ 36 w 62"/>
                  <a:gd name="T13" fmla="*/ 0 h 35"/>
                  <a:gd name="T14" fmla="*/ 17 w 62"/>
                  <a:gd name="T15" fmla="*/ 5 h 35"/>
                  <a:gd name="T16" fmla="*/ 17 w 62"/>
                  <a:gd name="T17" fmla="*/ 5 h 35"/>
                  <a:gd name="T18" fmla="*/ 17 w 62"/>
                  <a:gd name="T19" fmla="*/ 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2" h="35">
                    <a:moveTo>
                      <a:pt x="17" y="5"/>
                    </a:moveTo>
                    <a:lnTo>
                      <a:pt x="0" y="26"/>
                    </a:lnTo>
                    <a:lnTo>
                      <a:pt x="2" y="31"/>
                    </a:lnTo>
                    <a:lnTo>
                      <a:pt x="36" y="35"/>
                    </a:lnTo>
                    <a:lnTo>
                      <a:pt x="62" y="35"/>
                    </a:lnTo>
                    <a:lnTo>
                      <a:pt x="59" y="21"/>
                    </a:lnTo>
                    <a:lnTo>
                      <a:pt x="36" y="0"/>
                    </a:lnTo>
                    <a:lnTo>
                      <a:pt x="17" y="5"/>
                    </a:lnTo>
                    <a:lnTo>
                      <a:pt x="17" y="5"/>
                    </a:lnTo>
                    <a:lnTo>
                      <a:pt x="17" y="5"/>
                    </a:lnTo>
                    <a:close/>
                  </a:path>
                </a:pathLst>
              </a:custGeom>
              <a:grpFill/>
              <a:ln w="3175" cap="rnd">
                <a:noFill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40408"/>
                  </a:solidFill>
                  <a:effectLst/>
                  <a:uLnTx/>
                  <a:uFillTx/>
                  <a:latin typeface="SLB Sans Light" panose="02000503040000020004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97" name="Freeform 280">
                <a:extLst>
                  <a:ext uri="{FF2B5EF4-FFF2-40B4-BE49-F238E27FC236}">
                    <a16:creationId xmlns:a16="http://schemas.microsoft.com/office/drawing/2014/main" id="{BCADBE91-5B40-0AFC-0AE3-0CAB9B1143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20502" y="264999"/>
                <a:ext cx="220430" cy="259061"/>
              </a:xfrm>
              <a:custGeom>
                <a:avLst/>
                <a:gdLst>
                  <a:gd name="T0" fmla="*/ 92 w 97"/>
                  <a:gd name="T1" fmla="*/ 85 h 114"/>
                  <a:gd name="T2" fmla="*/ 97 w 97"/>
                  <a:gd name="T3" fmla="*/ 52 h 114"/>
                  <a:gd name="T4" fmla="*/ 57 w 97"/>
                  <a:gd name="T5" fmla="*/ 5 h 114"/>
                  <a:gd name="T6" fmla="*/ 42 w 97"/>
                  <a:gd name="T7" fmla="*/ 0 h 114"/>
                  <a:gd name="T8" fmla="*/ 31 w 97"/>
                  <a:gd name="T9" fmla="*/ 7 h 114"/>
                  <a:gd name="T10" fmla="*/ 0 w 97"/>
                  <a:gd name="T11" fmla="*/ 114 h 114"/>
                  <a:gd name="T12" fmla="*/ 92 w 97"/>
                  <a:gd name="T13" fmla="*/ 85 h 114"/>
                  <a:gd name="T14" fmla="*/ 92 w 97"/>
                  <a:gd name="T15" fmla="*/ 85 h 114"/>
                  <a:gd name="T16" fmla="*/ 92 w 97"/>
                  <a:gd name="T17" fmla="*/ 8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7" h="114">
                    <a:moveTo>
                      <a:pt x="92" y="85"/>
                    </a:moveTo>
                    <a:lnTo>
                      <a:pt x="97" y="52"/>
                    </a:lnTo>
                    <a:lnTo>
                      <a:pt x="57" y="5"/>
                    </a:lnTo>
                    <a:lnTo>
                      <a:pt x="42" y="0"/>
                    </a:lnTo>
                    <a:lnTo>
                      <a:pt x="31" y="7"/>
                    </a:lnTo>
                    <a:lnTo>
                      <a:pt x="0" y="114"/>
                    </a:lnTo>
                    <a:lnTo>
                      <a:pt x="92" y="85"/>
                    </a:lnTo>
                    <a:lnTo>
                      <a:pt x="92" y="85"/>
                    </a:lnTo>
                    <a:lnTo>
                      <a:pt x="92" y="85"/>
                    </a:lnTo>
                    <a:close/>
                  </a:path>
                </a:pathLst>
              </a:custGeom>
              <a:grpFill/>
              <a:ln w="3175" cap="rnd">
                <a:noFill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40408"/>
                  </a:solidFill>
                  <a:effectLst/>
                  <a:uLnTx/>
                  <a:uFillTx/>
                  <a:latin typeface="SLB Sans Light" panose="02000503040000020004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98" name="Freeform 281">
                <a:extLst>
                  <a:ext uri="{FF2B5EF4-FFF2-40B4-BE49-F238E27FC236}">
                    <a16:creationId xmlns:a16="http://schemas.microsoft.com/office/drawing/2014/main" id="{5C85A132-0957-DF1A-FE58-1D70A39858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33940" y="910379"/>
                <a:ext cx="172707" cy="118168"/>
              </a:xfrm>
              <a:custGeom>
                <a:avLst/>
                <a:gdLst>
                  <a:gd name="T0" fmla="*/ 57 w 76"/>
                  <a:gd name="T1" fmla="*/ 52 h 52"/>
                  <a:gd name="T2" fmla="*/ 76 w 76"/>
                  <a:gd name="T3" fmla="*/ 26 h 52"/>
                  <a:gd name="T4" fmla="*/ 36 w 76"/>
                  <a:gd name="T5" fmla="*/ 9 h 52"/>
                  <a:gd name="T6" fmla="*/ 5 w 76"/>
                  <a:gd name="T7" fmla="*/ 0 h 52"/>
                  <a:gd name="T8" fmla="*/ 0 w 76"/>
                  <a:gd name="T9" fmla="*/ 21 h 52"/>
                  <a:gd name="T10" fmla="*/ 31 w 76"/>
                  <a:gd name="T11" fmla="*/ 45 h 52"/>
                  <a:gd name="T12" fmla="*/ 57 w 76"/>
                  <a:gd name="T13" fmla="*/ 52 h 52"/>
                  <a:gd name="T14" fmla="*/ 57 w 76"/>
                  <a:gd name="T15" fmla="*/ 52 h 52"/>
                  <a:gd name="T16" fmla="*/ 57 w 76"/>
                  <a:gd name="T17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" h="52">
                    <a:moveTo>
                      <a:pt x="57" y="52"/>
                    </a:moveTo>
                    <a:lnTo>
                      <a:pt x="76" y="26"/>
                    </a:lnTo>
                    <a:lnTo>
                      <a:pt x="36" y="9"/>
                    </a:lnTo>
                    <a:lnTo>
                      <a:pt x="5" y="0"/>
                    </a:lnTo>
                    <a:lnTo>
                      <a:pt x="0" y="21"/>
                    </a:lnTo>
                    <a:lnTo>
                      <a:pt x="31" y="45"/>
                    </a:lnTo>
                    <a:lnTo>
                      <a:pt x="57" y="52"/>
                    </a:lnTo>
                    <a:lnTo>
                      <a:pt x="57" y="52"/>
                    </a:lnTo>
                    <a:lnTo>
                      <a:pt x="57" y="52"/>
                    </a:lnTo>
                    <a:close/>
                  </a:path>
                </a:pathLst>
              </a:custGeom>
              <a:grpFill/>
              <a:ln w="3175" cap="rnd">
                <a:noFill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40408"/>
                  </a:solidFill>
                  <a:effectLst/>
                  <a:uLnTx/>
                  <a:uFillTx/>
                  <a:latin typeface="SLB Sans Light" panose="02000503040000020004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199" name="Freeform 282">
                <a:extLst>
                  <a:ext uri="{FF2B5EF4-FFF2-40B4-BE49-F238E27FC236}">
                    <a16:creationId xmlns:a16="http://schemas.microsoft.com/office/drawing/2014/main" id="{8C9A5E2A-1D89-5251-B7C9-F5ADC2322F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38345" y="1421684"/>
                <a:ext cx="134076" cy="86354"/>
              </a:xfrm>
              <a:custGeom>
                <a:avLst/>
                <a:gdLst>
                  <a:gd name="T0" fmla="*/ 21 w 59"/>
                  <a:gd name="T1" fmla="*/ 35 h 38"/>
                  <a:gd name="T2" fmla="*/ 40 w 59"/>
                  <a:gd name="T3" fmla="*/ 33 h 38"/>
                  <a:gd name="T4" fmla="*/ 57 w 59"/>
                  <a:gd name="T5" fmla="*/ 21 h 38"/>
                  <a:gd name="T6" fmla="*/ 59 w 59"/>
                  <a:gd name="T7" fmla="*/ 14 h 38"/>
                  <a:gd name="T8" fmla="*/ 36 w 59"/>
                  <a:gd name="T9" fmla="*/ 0 h 38"/>
                  <a:gd name="T10" fmla="*/ 24 w 59"/>
                  <a:gd name="T11" fmla="*/ 0 h 38"/>
                  <a:gd name="T12" fmla="*/ 21 w 59"/>
                  <a:gd name="T13" fmla="*/ 2 h 38"/>
                  <a:gd name="T14" fmla="*/ 0 w 59"/>
                  <a:gd name="T15" fmla="*/ 24 h 38"/>
                  <a:gd name="T16" fmla="*/ 3 w 59"/>
                  <a:gd name="T17" fmla="*/ 38 h 38"/>
                  <a:gd name="T18" fmla="*/ 21 w 59"/>
                  <a:gd name="T19" fmla="*/ 35 h 38"/>
                  <a:gd name="T20" fmla="*/ 21 w 59"/>
                  <a:gd name="T21" fmla="*/ 35 h 38"/>
                  <a:gd name="T22" fmla="*/ 21 w 59"/>
                  <a:gd name="T23" fmla="*/ 35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9" h="38">
                    <a:moveTo>
                      <a:pt x="21" y="35"/>
                    </a:moveTo>
                    <a:lnTo>
                      <a:pt x="40" y="33"/>
                    </a:lnTo>
                    <a:lnTo>
                      <a:pt x="57" y="21"/>
                    </a:lnTo>
                    <a:lnTo>
                      <a:pt x="59" y="14"/>
                    </a:lnTo>
                    <a:lnTo>
                      <a:pt x="36" y="0"/>
                    </a:lnTo>
                    <a:lnTo>
                      <a:pt x="24" y="0"/>
                    </a:lnTo>
                    <a:lnTo>
                      <a:pt x="21" y="2"/>
                    </a:lnTo>
                    <a:lnTo>
                      <a:pt x="0" y="24"/>
                    </a:lnTo>
                    <a:lnTo>
                      <a:pt x="3" y="38"/>
                    </a:lnTo>
                    <a:lnTo>
                      <a:pt x="21" y="35"/>
                    </a:lnTo>
                    <a:lnTo>
                      <a:pt x="21" y="35"/>
                    </a:lnTo>
                    <a:lnTo>
                      <a:pt x="21" y="35"/>
                    </a:lnTo>
                    <a:close/>
                  </a:path>
                </a:pathLst>
              </a:custGeom>
              <a:grpFill/>
              <a:ln w="3175" cap="rnd">
                <a:noFill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40408"/>
                  </a:solidFill>
                  <a:effectLst/>
                  <a:uLnTx/>
                  <a:uFillTx/>
                  <a:latin typeface="SLB Sans Light" panose="02000503040000020004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200" name="Freeform 283">
                <a:extLst>
                  <a:ext uri="{FF2B5EF4-FFF2-40B4-BE49-F238E27FC236}">
                    <a16:creationId xmlns:a16="http://schemas.microsoft.com/office/drawing/2014/main" id="{1D96CA73-287C-660A-EC4E-F017837DDC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18264" y="-155406"/>
                <a:ext cx="334053" cy="534030"/>
              </a:xfrm>
              <a:custGeom>
                <a:avLst/>
                <a:gdLst>
                  <a:gd name="T0" fmla="*/ 33 w 147"/>
                  <a:gd name="T1" fmla="*/ 178 h 235"/>
                  <a:gd name="T2" fmla="*/ 62 w 147"/>
                  <a:gd name="T3" fmla="*/ 209 h 235"/>
                  <a:gd name="T4" fmla="*/ 107 w 147"/>
                  <a:gd name="T5" fmla="*/ 235 h 235"/>
                  <a:gd name="T6" fmla="*/ 142 w 147"/>
                  <a:gd name="T7" fmla="*/ 223 h 235"/>
                  <a:gd name="T8" fmla="*/ 147 w 147"/>
                  <a:gd name="T9" fmla="*/ 145 h 235"/>
                  <a:gd name="T10" fmla="*/ 109 w 147"/>
                  <a:gd name="T11" fmla="*/ 52 h 235"/>
                  <a:gd name="T12" fmla="*/ 76 w 147"/>
                  <a:gd name="T13" fmla="*/ 0 h 235"/>
                  <a:gd name="T14" fmla="*/ 43 w 147"/>
                  <a:gd name="T15" fmla="*/ 24 h 235"/>
                  <a:gd name="T16" fmla="*/ 0 w 147"/>
                  <a:gd name="T17" fmla="*/ 93 h 235"/>
                  <a:gd name="T18" fmla="*/ 22 w 147"/>
                  <a:gd name="T19" fmla="*/ 112 h 235"/>
                  <a:gd name="T20" fmla="*/ 33 w 147"/>
                  <a:gd name="T21" fmla="*/ 178 h 235"/>
                  <a:gd name="T22" fmla="*/ 33 w 147"/>
                  <a:gd name="T23" fmla="*/ 178 h 235"/>
                  <a:gd name="T24" fmla="*/ 33 w 147"/>
                  <a:gd name="T25" fmla="*/ 178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7" h="235">
                    <a:moveTo>
                      <a:pt x="33" y="178"/>
                    </a:moveTo>
                    <a:lnTo>
                      <a:pt x="62" y="209"/>
                    </a:lnTo>
                    <a:lnTo>
                      <a:pt x="107" y="235"/>
                    </a:lnTo>
                    <a:lnTo>
                      <a:pt x="142" y="223"/>
                    </a:lnTo>
                    <a:lnTo>
                      <a:pt x="147" y="145"/>
                    </a:lnTo>
                    <a:lnTo>
                      <a:pt x="109" y="52"/>
                    </a:lnTo>
                    <a:lnTo>
                      <a:pt x="76" y="0"/>
                    </a:lnTo>
                    <a:lnTo>
                      <a:pt x="43" y="24"/>
                    </a:lnTo>
                    <a:lnTo>
                      <a:pt x="0" y="93"/>
                    </a:lnTo>
                    <a:lnTo>
                      <a:pt x="22" y="112"/>
                    </a:lnTo>
                    <a:lnTo>
                      <a:pt x="33" y="178"/>
                    </a:lnTo>
                    <a:lnTo>
                      <a:pt x="33" y="178"/>
                    </a:lnTo>
                    <a:lnTo>
                      <a:pt x="33" y="178"/>
                    </a:lnTo>
                    <a:close/>
                  </a:path>
                </a:pathLst>
              </a:custGeom>
              <a:grpFill/>
              <a:ln w="3175" cap="rnd">
                <a:noFill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40408"/>
                  </a:solidFill>
                  <a:effectLst/>
                  <a:uLnTx/>
                  <a:uFillTx/>
                  <a:latin typeface="SLB Sans Light" panose="02000503040000020004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201" name="Freeform 285">
                <a:extLst>
                  <a:ext uri="{FF2B5EF4-FFF2-40B4-BE49-F238E27FC236}">
                    <a16:creationId xmlns:a16="http://schemas.microsoft.com/office/drawing/2014/main" id="{EDD8FEFE-0756-89ED-1422-5BECF9129D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57071" y="689951"/>
                <a:ext cx="638563" cy="838540"/>
              </a:xfrm>
              <a:custGeom>
                <a:avLst/>
                <a:gdLst>
                  <a:gd name="T0" fmla="*/ 17 w 281"/>
                  <a:gd name="T1" fmla="*/ 289 h 369"/>
                  <a:gd name="T2" fmla="*/ 0 w 281"/>
                  <a:gd name="T3" fmla="*/ 298 h 369"/>
                  <a:gd name="T4" fmla="*/ 2 w 281"/>
                  <a:gd name="T5" fmla="*/ 327 h 369"/>
                  <a:gd name="T6" fmla="*/ 31 w 281"/>
                  <a:gd name="T7" fmla="*/ 338 h 369"/>
                  <a:gd name="T8" fmla="*/ 35 w 281"/>
                  <a:gd name="T9" fmla="*/ 362 h 369"/>
                  <a:gd name="T10" fmla="*/ 88 w 281"/>
                  <a:gd name="T11" fmla="*/ 369 h 369"/>
                  <a:gd name="T12" fmla="*/ 97 w 281"/>
                  <a:gd name="T13" fmla="*/ 364 h 369"/>
                  <a:gd name="T14" fmla="*/ 66 w 281"/>
                  <a:gd name="T15" fmla="*/ 322 h 369"/>
                  <a:gd name="T16" fmla="*/ 64 w 281"/>
                  <a:gd name="T17" fmla="*/ 279 h 369"/>
                  <a:gd name="T18" fmla="*/ 90 w 281"/>
                  <a:gd name="T19" fmla="*/ 227 h 369"/>
                  <a:gd name="T20" fmla="*/ 114 w 281"/>
                  <a:gd name="T21" fmla="*/ 170 h 369"/>
                  <a:gd name="T22" fmla="*/ 163 w 281"/>
                  <a:gd name="T23" fmla="*/ 114 h 369"/>
                  <a:gd name="T24" fmla="*/ 213 w 281"/>
                  <a:gd name="T25" fmla="*/ 83 h 369"/>
                  <a:gd name="T26" fmla="*/ 270 w 281"/>
                  <a:gd name="T27" fmla="*/ 50 h 369"/>
                  <a:gd name="T28" fmla="*/ 281 w 281"/>
                  <a:gd name="T29" fmla="*/ 28 h 369"/>
                  <a:gd name="T30" fmla="*/ 270 w 281"/>
                  <a:gd name="T31" fmla="*/ 0 h 369"/>
                  <a:gd name="T32" fmla="*/ 239 w 281"/>
                  <a:gd name="T33" fmla="*/ 9 h 369"/>
                  <a:gd name="T34" fmla="*/ 211 w 281"/>
                  <a:gd name="T35" fmla="*/ 35 h 369"/>
                  <a:gd name="T36" fmla="*/ 158 w 281"/>
                  <a:gd name="T37" fmla="*/ 47 h 369"/>
                  <a:gd name="T38" fmla="*/ 104 w 281"/>
                  <a:gd name="T39" fmla="*/ 90 h 369"/>
                  <a:gd name="T40" fmla="*/ 66 w 281"/>
                  <a:gd name="T41" fmla="*/ 125 h 369"/>
                  <a:gd name="T42" fmla="*/ 71 w 281"/>
                  <a:gd name="T43" fmla="*/ 151 h 369"/>
                  <a:gd name="T44" fmla="*/ 33 w 281"/>
                  <a:gd name="T45" fmla="*/ 204 h 369"/>
                  <a:gd name="T46" fmla="*/ 47 w 281"/>
                  <a:gd name="T47" fmla="*/ 211 h 369"/>
                  <a:gd name="T48" fmla="*/ 17 w 281"/>
                  <a:gd name="T49" fmla="*/ 258 h 369"/>
                  <a:gd name="T50" fmla="*/ 17 w 281"/>
                  <a:gd name="T51" fmla="*/ 289 h 369"/>
                  <a:gd name="T52" fmla="*/ 17 w 281"/>
                  <a:gd name="T53" fmla="*/ 289 h 369"/>
                  <a:gd name="T54" fmla="*/ 17 w 281"/>
                  <a:gd name="T55" fmla="*/ 289 h 3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81" h="369">
                    <a:moveTo>
                      <a:pt x="17" y="289"/>
                    </a:moveTo>
                    <a:lnTo>
                      <a:pt x="0" y="298"/>
                    </a:lnTo>
                    <a:lnTo>
                      <a:pt x="2" y="327"/>
                    </a:lnTo>
                    <a:lnTo>
                      <a:pt x="31" y="338"/>
                    </a:lnTo>
                    <a:lnTo>
                      <a:pt x="35" y="362"/>
                    </a:lnTo>
                    <a:lnTo>
                      <a:pt x="88" y="369"/>
                    </a:lnTo>
                    <a:lnTo>
                      <a:pt x="97" y="364"/>
                    </a:lnTo>
                    <a:lnTo>
                      <a:pt x="66" y="322"/>
                    </a:lnTo>
                    <a:lnTo>
                      <a:pt x="64" y="279"/>
                    </a:lnTo>
                    <a:lnTo>
                      <a:pt x="90" y="227"/>
                    </a:lnTo>
                    <a:lnTo>
                      <a:pt x="114" y="170"/>
                    </a:lnTo>
                    <a:lnTo>
                      <a:pt x="163" y="114"/>
                    </a:lnTo>
                    <a:lnTo>
                      <a:pt x="213" y="83"/>
                    </a:lnTo>
                    <a:lnTo>
                      <a:pt x="270" y="50"/>
                    </a:lnTo>
                    <a:lnTo>
                      <a:pt x="281" y="28"/>
                    </a:lnTo>
                    <a:lnTo>
                      <a:pt x="270" y="0"/>
                    </a:lnTo>
                    <a:lnTo>
                      <a:pt x="239" y="9"/>
                    </a:lnTo>
                    <a:lnTo>
                      <a:pt x="211" y="35"/>
                    </a:lnTo>
                    <a:lnTo>
                      <a:pt x="158" y="47"/>
                    </a:lnTo>
                    <a:lnTo>
                      <a:pt x="104" y="90"/>
                    </a:lnTo>
                    <a:lnTo>
                      <a:pt x="66" y="125"/>
                    </a:lnTo>
                    <a:lnTo>
                      <a:pt x="71" y="151"/>
                    </a:lnTo>
                    <a:lnTo>
                      <a:pt x="33" y="204"/>
                    </a:lnTo>
                    <a:lnTo>
                      <a:pt x="47" y="211"/>
                    </a:lnTo>
                    <a:lnTo>
                      <a:pt x="17" y="258"/>
                    </a:lnTo>
                    <a:lnTo>
                      <a:pt x="17" y="289"/>
                    </a:lnTo>
                    <a:lnTo>
                      <a:pt x="17" y="289"/>
                    </a:lnTo>
                    <a:lnTo>
                      <a:pt x="17" y="289"/>
                    </a:lnTo>
                    <a:close/>
                  </a:path>
                </a:pathLst>
              </a:custGeom>
              <a:grpFill/>
              <a:ln w="3175" cap="rnd">
                <a:noFill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40408"/>
                  </a:solidFill>
                  <a:effectLst/>
                  <a:uLnTx/>
                  <a:uFillTx/>
                  <a:latin typeface="SLB Sans Light" panose="02000503040000020004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202" name="Freeform 286">
                <a:extLst>
                  <a:ext uri="{FF2B5EF4-FFF2-40B4-BE49-F238E27FC236}">
                    <a16:creationId xmlns:a16="http://schemas.microsoft.com/office/drawing/2014/main" id="{E0E2F3FD-8331-4EFF-A7B0-AE147A1AC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16190" y="-73597"/>
                <a:ext cx="240881" cy="197705"/>
              </a:xfrm>
              <a:custGeom>
                <a:avLst/>
                <a:gdLst>
                  <a:gd name="T0" fmla="*/ 26 w 106"/>
                  <a:gd name="T1" fmla="*/ 66 h 87"/>
                  <a:gd name="T2" fmla="*/ 42 w 106"/>
                  <a:gd name="T3" fmla="*/ 87 h 87"/>
                  <a:gd name="T4" fmla="*/ 61 w 106"/>
                  <a:gd name="T5" fmla="*/ 73 h 87"/>
                  <a:gd name="T6" fmla="*/ 63 w 106"/>
                  <a:gd name="T7" fmla="*/ 57 h 87"/>
                  <a:gd name="T8" fmla="*/ 78 w 106"/>
                  <a:gd name="T9" fmla="*/ 50 h 87"/>
                  <a:gd name="T10" fmla="*/ 99 w 106"/>
                  <a:gd name="T11" fmla="*/ 35 h 87"/>
                  <a:gd name="T12" fmla="*/ 106 w 106"/>
                  <a:gd name="T13" fmla="*/ 21 h 87"/>
                  <a:gd name="T14" fmla="*/ 82 w 106"/>
                  <a:gd name="T15" fmla="*/ 0 h 87"/>
                  <a:gd name="T16" fmla="*/ 66 w 106"/>
                  <a:gd name="T17" fmla="*/ 16 h 87"/>
                  <a:gd name="T18" fmla="*/ 59 w 106"/>
                  <a:gd name="T19" fmla="*/ 40 h 87"/>
                  <a:gd name="T20" fmla="*/ 54 w 106"/>
                  <a:gd name="T21" fmla="*/ 14 h 87"/>
                  <a:gd name="T22" fmla="*/ 30 w 106"/>
                  <a:gd name="T23" fmla="*/ 14 h 87"/>
                  <a:gd name="T24" fmla="*/ 0 w 106"/>
                  <a:gd name="T25" fmla="*/ 31 h 87"/>
                  <a:gd name="T26" fmla="*/ 35 w 106"/>
                  <a:gd name="T27" fmla="*/ 35 h 87"/>
                  <a:gd name="T28" fmla="*/ 26 w 106"/>
                  <a:gd name="T29" fmla="*/ 66 h 87"/>
                  <a:gd name="T30" fmla="*/ 26 w 106"/>
                  <a:gd name="T31" fmla="*/ 66 h 87"/>
                  <a:gd name="T32" fmla="*/ 26 w 106"/>
                  <a:gd name="T33" fmla="*/ 6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6" h="87">
                    <a:moveTo>
                      <a:pt x="26" y="66"/>
                    </a:moveTo>
                    <a:lnTo>
                      <a:pt x="42" y="87"/>
                    </a:lnTo>
                    <a:lnTo>
                      <a:pt x="61" y="73"/>
                    </a:lnTo>
                    <a:lnTo>
                      <a:pt x="63" y="57"/>
                    </a:lnTo>
                    <a:lnTo>
                      <a:pt x="78" y="50"/>
                    </a:lnTo>
                    <a:lnTo>
                      <a:pt x="99" y="35"/>
                    </a:lnTo>
                    <a:lnTo>
                      <a:pt x="106" y="21"/>
                    </a:lnTo>
                    <a:lnTo>
                      <a:pt x="82" y="0"/>
                    </a:lnTo>
                    <a:lnTo>
                      <a:pt x="66" y="16"/>
                    </a:lnTo>
                    <a:lnTo>
                      <a:pt x="59" y="40"/>
                    </a:lnTo>
                    <a:lnTo>
                      <a:pt x="54" y="14"/>
                    </a:lnTo>
                    <a:lnTo>
                      <a:pt x="30" y="14"/>
                    </a:lnTo>
                    <a:lnTo>
                      <a:pt x="0" y="31"/>
                    </a:lnTo>
                    <a:lnTo>
                      <a:pt x="35" y="35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close/>
                  </a:path>
                </a:pathLst>
              </a:custGeom>
              <a:grpFill/>
              <a:ln w="3175" cap="rnd">
                <a:noFill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40408"/>
                  </a:solidFill>
                  <a:effectLst/>
                  <a:uLnTx/>
                  <a:uFillTx/>
                  <a:latin typeface="SLB Sans Light" panose="02000503040000020004" pitchFamily="50" charset="0"/>
                  <a:ea typeface="+mn-ea"/>
                  <a:cs typeface="+mn-cs"/>
                </a:endParaRPr>
              </a:p>
            </p:txBody>
          </p:sp>
          <p:sp>
            <p:nvSpPr>
              <p:cNvPr id="203" name="Freeform 287">
                <a:extLst>
                  <a:ext uri="{FF2B5EF4-FFF2-40B4-BE49-F238E27FC236}">
                    <a16:creationId xmlns:a16="http://schemas.microsoft.com/office/drawing/2014/main" id="{B1D5FA03-F9FE-F0B1-202F-4F4940E955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45882" y="-14513"/>
                <a:ext cx="624928" cy="731733"/>
              </a:xfrm>
              <a:custGeom>
                <a:avLst/>
                <a:gdLst>
                  <a:gd name="T0" fmla="*/ 232 w 275"/>
                  <a:gd name="T1" fmla="*/ 244 h 322"/>
                  <a:gd name="T2" fmla="*/ 232 w 275"/>
                  <a:gd name="T3" fmla="*/ 244 h 322"/>
                  <a:gd name="T4" fmla="*/ 197 w 275"/>
                  <a:gd name="T5" fmla="*/ 272 h 322"/>
                  <a:gd name="T6" fmla="*/ 168 w 275"/>
                  <a:gd name="T7" fmla="*/ 256 h 322"/>
                  <a:gd name="T8" fmla="*/ 178 w 275"/>
                  <a:gd name="T9" fmla="*/ 237 h 322"/>
                  <a:gd name="T10" fmla="*/ 168 w 275"/>
                  <a:gd name="T11" fmla="*/ 211 h 322"/>
                  <a:gd name="T12" fmla="*/ 201 w 275"/>
                  <a:gd name="T13" fmla="*/ 196 h 322"/>
                  <a:gd name="T14" fmla="*/ 209 w 275"/>
                  <a:gd name="T15" fmla="*/ 225 h 322"/>
                  <a:gd name="T16" fmla="*/ 232 w 275"/>
                  <a:gd name="T17" fmla="*/ 244 h 322"/>
                  <a:gd name="T18" fmla="*/ 126 w 275"/>
                  <a:gd name="T19" fmla="*/ 90 h 322"/>
                  <a:gd name="T20" fmla="*/ 126 w 275"/>
                  <a:gd name="T21" fmla="*/ 90 h 322"/>
                  <a:gd name="T22" fmla="*/ 180 w 275"/>
                  <a:gd name="T23" fmla="*/ 154 h 322"/>
                  <a:gd name="T24" fmla="*/ 140 w 275"/>
                  <a:gd name="T25" fmla="*/ 187 h 322"/>
                  <a:gd name="T26" fmla="*/ 130 w 275"/>
                  <a:gd name="T27" fmla="*/ 244 h 322"/>
                  <a:gd name="T28" fmla="*/ 116 w 275"/>
                  <a:gd name="T29" fmla="*/ 258 h 322"/>
                  <a:gd name="T30" fmla="*/ 109 w 275"/>
                  <a:gd name="T31" fmla="*/ 319 h 322"/>
                  <a:gd name="T32" fmla="*/ 88 w 275"/>
                  <a:gd name="T33" fmla="*/ 322 h 322"/>
                  <a:gd name="T34" fmla="*/ 55 w 275"/>
                  <a:gd name="T35" fmla="*/ 277 h 322"/>
                  <a:gd name="T36" fmla="*/ 69 w 275"/>
                  <a:gd name="T37" fmla="*/ 251 h 322"/>
                  <a:gd name="T38" fmla="*/ 45 w 275"/>
                  <a:gd name="T39" fmla="*/ 230 h 322"/>
                  <a:gd name="T40" fmla="*/ 12 w 275"/>
                  <a:gd name="T41" fmla="*/ 161 h 322"/>
                  <a:gd name="T42" fmla="*/ 0 w 275"/>
                  <a:gd name="T43" fmla="*/ 95 h 322"/>
                  <a:gd name="T44" fmla="*/ 45 w 275"/>
                  <a:gd name="T45" fmla="*/ 61 h 322"/>
                  <a:gd name="T46" fmla="*/ 52 w 275"/>
                  <a:gd name="T47" fmla="*/ 95 h 322"/>
                  <a:gd name="T48" fmla="*/ 76 w 275"/>
                  <a:gd name="T49" fmla="*/ 92 h 322"/>
                  <a:gd name="T50" fmla="*/ 83 w 275"/>
                  <a:gd name="T51" fmla="*/ 61 h 322"/>
                  <a:gd name="T52" fmla="*/ 107 w 275"/>
                  <a:gd name="T53" fmla="*/ 57 h 322"/>
                  <a:gd name="T54" fmla="*/ 126 w 275"/>
                  <a:gd name="T55" fmla="*/ 90 h 322"/>
                  <a:gd name="T56" fmla="*/ 244 w 275"/>
                  <a:gd name="T57" fmla="*/ 24 h 322"/>
                  <a:gd name="T58" fmla="*/ 244 w 275"/>
                  <a:gd name="T59" fmla="*/ 24 h 322"/>
                  <a:gd name="T60" fmla="*/ 275 w 275"/>
                  <a:gd name="T61" fmla="*/ 57 h 322"/>
                  <a:gd name="T62" fmla="*/ 251 w 275"/>
                  <a:gd name="T63" fmla="*/ 106 h 322"/>
                  <a:gd name="T64" fmla="*/ 204 w 275"/>
                  <a:gd name="T65" fmla="*/ 116 h 322"/>
                  <a:gd name="T66" fmla="*/ 156 w 275"/>
                  <a:gd name="T67" fmla="*/ 102 h 322"/>
                  <a:gd name="T68" fmla="*/ 154 w 275"/>
                  <a:gd name="T69" fmla="*/ 76 h 322"/>
                  <a:gd name="T70" fmla="*/ 130 w 275"/>
                  <a:gd name="T71" fmla="*/ 73 h 322"/>
                  <a:gd name="T72" fmla="*/ 112 w 275"/>
                  <a:gd name="T73" fmla="*/ 31 h 322"/>
                  <a:gd name="T74" fmla="*/ 164 w 275"/>
                  <a:gd name="T75" fmla="*/ 5 h 322"/>
                  <a:gd name="T76" fmla="*/ 187 w 275"/>
                  <a:gd name="T77" fmla="*/ 28 h 322"/>
                  <a:gd name="T78" fmla="*/ 201 w 275"/>
                  <a:gd name="T79" fmla="*/ 0 h 322"/>
                  <a:gd name="T80" fmla="*/ 244 w 275"/>
                  <a:gd name="T81" fmla="*/ 24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75" h="322">
                    <a:moveTo>
                      <a:pt x="232" y="244"/>
                    </a:moveTo>
                    <a:lnTo>
                      <a:pt x="232" y="244"/>
                    </a:lnTo>
                    <a:lnTo>
                      <a:pt x="197" y="272"/>
                    </a:lnTo>
                    <a:lnTo>
                      <a:pt x="168" y="256"/>
                    </a:lnTo>
                    <a:lnTo>
                      <a:pt x="178" y="237"/>
                    </a:lnTo>
                    <a:lnTo>
                      <a:pt x="168" y="211"/>
                    </a:lnTo>
                    <a:lnTo>
                      <a:pt x="201" y="196"/>
                    </a:lnTo>
                    <a:lnTo>
                      <a:pt x="209" y="225"/>
                    </a:lnTo>
                    <a:lnTo>
                      <a:pt x="232" y="244"/>
                    </a:lnTo>
                    <a:close/>
                    <a:moveTo>
                      <a:pt x="126" y="90"/>
                    </a:moveTo>
                    <a:lnTo>
                      <a:pt x="126" y="90"/>
                    </a:lnTo>
                    <a:lnTo>
                      <a:pt x="180" y="154"/>
                    </a:lnTo>
                    <a:lnTo>
                      <a:pt x="140" y="187"/>
                    </a:lnTo>
                    <a:lnTo>
                      <a:pt x="130" y="244"/>
                    </a:lnTo>
                    <a:lnTo>
                      <a:pt x="116" y="258"/>
                    </a:lnTo>
                    <a:lnTo>
                      <a:pt x="109" y="319"/>
                    </a:lnTo>
                    <a:lnTo>
                      <a:pt x="88" y="322"/>
                    </a:lnTo>
                    <a:lnTo>
                      <a:pt x="55" y="277"/>
                    </a:lnTo>
                    <a:lnTo>
                      <a:pt x="69" y="251"/>
                    </a:lnTo>
                    <a:lnTo>
                      <a:pt x="45" y="230"/>
                    </a:lnTo>
                    <a:lnTo>
                      <a:pt x="12" y="161"/>
                    </a:lnTo>
                    <a:lnTo>
                      <a:pt x="0" y="95"/>
                    </a:lnTo>
                    <a:lnTo>
                      <a:pt x="45" y="61"/>
                    </a:lnTo>
                    <a:lnTo>
                      <a:pt x="52" y="95"/>
                    </a:lnTo>
                    <a:lnTo>
                      <a:pt x="76" y="92"/>
                    </a:lnTo>
                    <a:lnTo>
                      <a:pt x="83" y="61"/>
                    </a:lnTo>
                    <a:lnTo>
                      <a:pt x="107" y="57"/>
                    </a:lnTo>
                    <a:lnTo>
                      <a:pt x="126" y="90"/>
                    </a:lnTo>
                    <a:close/>
                    <a:moveTo>
                      <a:pt x="244" y="24"/>
                    </a:moveTo>
                    <a:lnTo>
                      <a:pt x="244" y="24"/>
                    </a:lnTo>
                    <a:lnTo>
                      <a:pt x="275" y="57"/>
                    </a:lnTo>
                    <a:lnTo>
                      <a:pt x="251" y="106"/>
                    </a:lnTo>
                    <a:lnTo>
                      <a:pt x="204" y="116"/>
                    </a:lnTo>
                    <a:lnTo>
                      <a:pt x="156" y="102"/>
                    </a:lnTo>
                    <a:lnTo>
                      <a:pt x="154" y="76"/>
                    </a:lnTo>
                    <a:lnTo>
                      <a:pt x="130" y="73"/>
                    </a:lnTo>
                    <a:lnTo>
                      <a:pt x="112" y="31"/>
                    </a:lnTo>
                    <a:lnTo>
                      <a:pt x="164" y="5"/>
                    </a:lnTo>
                    <a:lnTo>
                      <a:pt x="187" y="28"/>
                    </a:lnTo>
                    <a:lnTo>
                      <a:pt x="201" y="0"/>
                    </a:lnTo>
                    <a:lnTo>
                      <a:pt x="244" y="24"/>
                    </a:lnTo>
                    <a:close/>
                  </a:path>
                </a:pathLst>
              </a:custGeom>
              <a:grpFill/>
              <a:ln w="3175" cap="rnd">
                <a:noFill/>
              </a:ln>
              <a:sp3d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040408"/>
                  </a:solidFill>
                  <a:effectLst/>
                  <a:uLnTx/>
                  <a:uFillTx/>
                  <a:latin typeface="SLB Sans Light" panose="02000503040000020004" pitchFamily="50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74" name="Freeform 289">
              <a:extLst>
                <a:ext uri="{FF2B5EF4-FFF2-40B4-BE49-F238E27FC236}">
                  <a16:creationId xmlns:a16="http://schemas.microsoft.com/office/drawing/2014/main" id="{E7AC73A5-0110-98D0-BDE4-FAB4514FC2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83044" y="3292188"/>
              <a:ext cx="101225" cy="74312"/>
            </a:xfrm>
            <a:custGeom>
              <a:avLst/>
              <a:gdLst>
                <a:gd name="T0" fmla="*/ 90 w 94"/>
                <a:gd name="T1" fmla="*/ 64 h 68"/>
                <a:gd name="T2" fmla="*/ 90 w 94"/>
                <a:gd name="T3" fmla="*/ 64 h 68"/>
                <a:gd name="T4" fmla="*/ 94 w 94"/>
                <a:gd name="T5" fmla="*/ 68 h 68"/>
                <a:gd name="T6" fmla="*/ 82 w 94"/>
                <a:gd name="T7" fmla="*/ 68 h 68"/>
                <a:gd name="T8" fmla="*/ 78 w 94"/>
                <a:gd name="T9" fmla="*/ 59 h 68"/>
                <a:gd name="T10" fmla="*/ 87 w 94"/>
                <a:gd name="T11" fmla="*/ 64 h 68"/>
                <a:gd name="T12" fmla="*/ 90 w 94"/>
                <a:gd name="T13" fmla="*/ 64 h 68"/>
                <a:gd name="T14" fmla="*/ 71 w 94"/>
                <a:gd name="T15" fmla="*/ 54 h 68"/>
                <a:gd name="T16" fmla="*/ 71 w 94"/>
                <a:gd name="T17" fmla="*/ 54 h 68"/>
                <a:gd name="T18" fmla="*/ 64 w 94"/>
                <a:gd name="T19" fmla="*/ 54 h 68"/>
                <a:gd name="T20" fmla="*/ 54 w 94"/>
                <a:gd name="T21" fmla="*/ 52 h 68"/>
                <a:gd name="T22" fmla="*/ 49 w 94"/>
                <a:gd name="T23" fmla="*/ 50 h 68"/>
                <a:gd name="T24" fmla="*/ 52 w 94"/>
                <a:gd name="T25" fmla="*/ 42 h 68"/>
                <a:gd name="T26" fmla="*/ 61 w 94"/>
                <a:gd name="T27" fmla="*/ 47 h 68"/>
                <a:gd name="T28" fmla="*/ 68 w 94"/>
                <a:gd name="T29" fmla="*/ 50 h 68"/>
                <a:gd name="T30" fmla="*/ 71 w 94"/>
                <a:gd name="T31" fmla="*/ 54 h 68"/>
                <a:gd name="T32" fmla="*/ 82 w 94"/>
                <a:gd name="T33" fmla="*/ 50 h 68"/>
                <a:gd name="T34" fmla="*/ 82 w 94"/>
                <a:gd name="T35" fmla="*/ 50 h 68"/>
                <a:gd name="T36" fmla="*/ 80 w 94"/>
                <a:gd name="T37" fmla="*/ 52 h 68"/>
                <a:gd name="T38" fmla="*/ 68 w 94"/>
                <a:gd name="T39" fmla="*/ 38 h 68"/>
                <a:gd name="T40" fmla="*/ 66 w 94"/>
                <a:gd name="T41" fmla="*/ 28 h 68"/>
                <a:gd name="T42" fmla="*/ 71 w 94"/>
                <a:gd name="T43" fmla="*/ 28 h 68"/>
                <a:gd name="T44" fmla="*/ 78 w 94"/>
                <a:gd name="T45" fmla="*/ 40 h 68"/>
                <a:gd name="T46" fmla="*/ 82 w 94"/>
                <a:gd name="T47" fmla="*/ 50 h 68"/>
                <a:gd name="T48" fmla="*/ 54 w 94"/>
                <a:gd name="T49" fmla="*/ 28 h 68"/>
                <a:gd name="T50" fmla="*/ 54 w 94"/>
                <a:gd name="T51" fmla="*/ 28 h 68"/>
                <a:gd name="T52" fmla="*/ 54 w 94"/>
                <a:gd name="T53" fmla="*/ 33 h 68"/>
                <a:gd name="T54" fmla="*/ 42 w 94"/>
                <a:gd name="T55" fmla="*/ 26 h 68"/>
                <a:gd name="T56" fmla="*/ 33 w 94"/>
                <a:gd name="T57" fmla="*/ 19 h 68"/>
                <a:gd name="T58" fmla="*/ 28 w 94"/>
                <a:gd name="T59" fmla="*/ 14 h 68"/>
                <a:gd name="T60" fmla="*/ 30 w 94"/>
                <a:gd name="T61" fmla="*/ 12 h 68"/>
                <a:gd name="T62" fmla="*/ 38 w 94"/>
                <a:gd name="T63" fmla="*/ 16 h 68"/>
                <a:gd name="T64" fmla="*/ 49 w 94"/>
                <a:gd name="T65" fmla="*/ 24 h 68"/>
                <a:gd name="T66" fmla="*/ 54 w 94"/>
                <a:gd name="T67" fmla="*/ 28 h 68"/>
                <a:gd name="T68" fmla="*/ 16 w 94"/>
                <a:gd name="T69" fmla="*/ 12 h 68"/>
                <a:gd name="T70" fmla="*/ 16 w 94"/>
                <a:gd name="T71" fmla="*/ 12 h 68"/>
                <a:gd name="T72" fmla="*/ 14 w 94"/>
                <a:gd name="T73" fmla="*/ 14 h 68"/>
                <a:gd name="T74" fmla="*/ 7 w 94"/>
                <a:gd name="T75" fmla="*/ 9 h 68"/>
                <a:gd name="T76" fmla="*/ 0 w 94"/>
                <a:gd name="T77" fmla="*/ 2 h 68"/>
                <a:gd name="T78" fmla="*/ 0 w 94"/>
                <a:gd name="T79" fmla="*/ 0 h 68"/>
                <a:gd name="T80" fmla="*/ 9 w 94"/>
                <a:gd name="T81" fmla="*/ 7 h 68"/>
                <a:gd name="T82" fmla="*/ 16 w 94"/>
                <a:gd name="T83" fmla="*/ 1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94" h="68">
                  <a:moveTo>
                    <a:pt x="90" y="64"/>
                  </a:moveTo>
                  <a:lnTo>
                    <a:pt x="90" y="64"/>
                  </a:lnTo>
                  <a:lnTo>
                    <a:pt x="94" y="68"/>
                  </a:lnTo>
                  <a:lnTo>
                    <a:pt x="82" y="68"/>
                  </a:lnTo>
                  <a:lnTo>
                    <a:pt x="78" y="59"/>
                  </a:lnTo>
                  <a:lnTo>
                    <a:pt x="87" y="64"/>
                  </a:lnTo>
                  <a:lnTo>
                    <a:pt x="90" y="64"/>
                  </a:lnTo>
                  <a:close/>
                  <a:moveTo>
                    <a:pt x="71" y="54"/>
                  </a:moveTo>
                  <a:lnTo>
                    <a:pt x="71" y="54"/>
                  </a:lnTo>
                  <a:lnTo>
                    <a:pt x="64" y="54"/>
                  </a:lnTo>
                  <a:lnTo>
                    <a:pt x="54" y="52"/>
                  </a:lnTo>
                  <a:lnTo>
                    <a:pt x="49" y="50"/>
                  </a:lnTo>
                  <a:lnTo>
                    <a:pt x="52" y="42"/>
                  </a:lnTo>
                  <a:lnTo>
                    <a:pt x="61" y="47"/>
                  </a:lnTo>
                  <a:lnTo>
                    <a:pt x="68" y="50"/>
                  </a:lnTo>
                  <a:lnTo>
                    <a:pt x="71" y="54"/>
                  </a:lnTo>
                  <a:close/>
                  <a:moveTo>
                    <a:pt x="82" y="50"/>
                  </a:moveTo>
                  <a:lnTo>
                    <a:pt x="82" y="50"/>
                  </a:lnTo>
                  <a:lnTo>
                    <a:pt x="80" y="52"/>
                  </a:lnTo>
                  <a:lnTo>
                    <a:pt x="68" y="38"/>
                  </a:lnTo>
                  <a:lnTo>
                    <a:pt x="66" y="28"/>
                  </a:lnTo>
                  <a:lnTo>
                    <a:pt x="71" y="28"/>
                  </a:lnTo>
                  <a:lnTo>
                    <a:pt x="78" y="40"/>
                  </a:lnTo>
                  <a:lnTo>
                    <a:pt x="82" y="50"/>
                  </a:lnTo>
                  <a:close/>
                  <a:moveTo>
                    <a:pt x="54" y="28"/>
                  </a:moveTo>
                  <a:lnTo>
                    <a:pt x="54" y="28"/>
                  </a:lnTo>
                  <a:lnTo>
                    <a:pt x="54" y="33"/>
                  </a:lnTo>
                  <a:lnTo>
                    <a:pt x="42" y="26"/>
                  </a:lnTo>
                  <a:lnTo>
                    <a:pt x="33" y="19"/>
                  </a:lnTo>
                  <a:lnTo>
                    <a:pt x="28" y="14"/>
                  </a:lnTo>
                  <a:lnTo>
                    <a:pt x="30" y="12"/>
                  </a:lnTo>
                  <a:lnTo>
                    <a:pt x="38" y="16"/>
                  </a:lnTo>
                  <a:lnTo>
                    <a:pt x="49" y="24"/>
                  </a:lnTo>
                  <a:lnTo>
                    <a:pt x="54" y="28"/>
                  </a:lnTo>
                  <a:close/>
                  <a:moveTo>
                    <a:pt x="16" y="12"/>
                  </a:moveTo>
                  <a:lnTo>
                    <a:pt x="16" y="12"/>
                  </a:lnTo>
                  <a:lnTo>
                    <a:pt x="14" y="14"/>
                  </a:lnTo>
                  <a:lnTo>
                    <a:pt x="7" y="9"/>
                  </a:lnTo>
                  <a:lnTo>
                    <a:pt x="0" y="2"/>
                  </a:lnTo>
                  <a:lnTo>
                    <a:pt x="0" y="0"/>
                  </a:lnTo>
                  <a:lnTo>
                    <a:pt x="9" y="7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75" name="Freeform 293">
              <a:extLst>
                <a:ext uri="{FF2B5EF4-FFF2-40B4-BE49-F238E27FC236}">
                  <a16:creationId xmlns:a16="http://schemas.microsoft.com/office/drawing/2014/main" id="{28360950-F1A0-D89A-2287-F091324FA62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3161" y="2919536"/>
              <a:ext cx="40920" cy="22949"/>
            </a:xfrm>
            <a:custGeom>
              <a:avLst/>
              <a:gdLst>
                <a:gd name="T0" fmla="*/ 24 w 38"/>
                <a:gd name="T1" fmla="*/ 7 h 21"/>
                <a:gd name="T2" fmla="*/ 24 w 38"/>
                <a:gd name="T3" fmla="*/ 7 h 21"/>
                <a:gd name="T4" fmla="*/ 26 w 38"/>
                <a:gd name="T5" fmla="*/ 9 h 21"/>
                <a:gd name="T6" fmla="*/ 33 w 38"/>
                <a:gd name="T7" fmla="*/ 7 h 21"/>
                <a:gd name="T8" fmla="*/ 36 w 38"/>
                <a:gd name="T9" fmla="*/ 9 h 21"/>
                <a:gd name="T10" fmla="*/ 38 w 38"/>
                <a:gd name="T11" fmla="*/ 12 h 21"/>
                <a:gd name="T12" fmla="*/ 36 w 38"/>
                <a:gd name="T13" fmla="*/ 19 h 21"/>
                <a:gd name="T14" fmla="*/ 36 w 38"/>
                <a:gd name="T15" fmla="*/ 21 h 21"/>
                <a:gd name="T16" fmla="*/ 26 w 38"/>
                <a:gd name="T17" fmla="*/ 21 h 21"/>
                <a:gd name="T18" fmla="*/ 19 w 38"/>
                <a:gd name="T19" fmla="*/ 19 h 21"/>
                <a:gd name="T20" fmla="*/ 14 w 38"/>
                <a:gd name="T21" fmla="*/ 17 h 21"/>
                <a:gd name="T22" fmla="*/ 5 w 38"/>
                <a:gd name="T23" fmla="*/ 14 h 21"/>
                <a:gd name="T24" fmla="*/ 0 w 38"/>
                <a:gd name="T25" fmla="*/ 12 h 21"/>
                <a:gd name="T26" fmla="*/ 0 w 38"/>
                <a:gd name="T27" fmla="*/ 9 h 21"/>
                <a:gd name="T28" fmla="*/ 5 w 38"/>
                <a:gd name="T29" fmla="*/ 5 h 21"/>
                <a:gd name="T30" fmla="*/ 9 w 38"/>
                <a:gd name="T31" fmla="*/ 2 h 21"/>
                <a:gd name="T32" fmla="*/ 7 w 38"/>
                <a:gd name="T33" fmla="*/ 2 h 21"/>
                <a:gd name="T34" fmla="*/ 12 w 38"/>
                <a:gd name="T35" fmla="*/ 0 h 21"/>
                <a:gd name="T36" fmla="*/ 17 w 38"/>
                <a:gd name="T37" fmla="*/ 2 h 21"/>
                <a:gd name="T38" fmla="*/ 19 w 38"/>
                <a:gd name="T39" fmla="*/ 5 h 21"/>
                <a:gd name="T40" fmla="*/ 24 w 38"/>
                <a:gd name="T41" fmla="*/ 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21">
                  <a:moveTo>
                    <a:pt x="24" y="7"/>
                  </a:moveTo>
                  <a:lnTo>
                    <a:pt x="24" y="7"/>
                  </a:lnTo>
                  <a:lnTo>
                    <a:pt x="26" y="9"/>
                  </a:lnTo>
                  <a:lnTo>
                    <a:pt x="33" y="7"/>
                  </a:lnTo>
                  <a:lnTo>
                    <a:pt x="36" y="9"/>
                  </a:lnTo>
                  <a:lnTo>
                    <a:pt x="38" y="12"/>
                  </a:lnTo>
                  <a:lnTo>
                    <a:pt x="36" y="19"/>
                  </a:lnTo>
                  <a:lnTo>
                    <a:pt x="36" y="21"/>
                  </a:lnTo>
                  <a:lnTo>
                    <a:pt x="26" y="21"/>
                  </a:lnTo>
                  <a:lnTo>
                    <a:pt x="19" y="19"/>
                  </a:lnTo>
                  <a:lnTo>
                    <a:pt x="14" y="17"/>
                  </a:lnTo>
                  <a:lnTo>
                    <a:pt x="5" y="14"/>
                  </a:lnTo>
                  <a:lnTo>
                    <a:pt x="0" y="12"/>
                  </a:lnTo>
                  <a:lnTo>
                    <a:pt x="0" y="9"/>
                  </a:lnTo>
                  <a:lnTo>
                    <a:pt x="5" y="5"/>
                  </a:lnTo>
                  <a:lnTo>
                    <a:pt x="9" y="2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19" y="5"/>
                  </a:lnTo>
                  <a:lnTo>
                    <a:pt x="24" y="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76" name="Freeform 298">
              <a:extLst>
                <a:ext uri="{FF2B5EF4-FFF2-40B4-BE49-F238E27FC236}">
                  <a16:creationId xmlns:a16="http://schemas.microsoft.com/office/drawing/2014/main" id="{F10468CB-6DD2-75D8-F834-95C000AA7A0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3735" y="2963250"/>
              <a:ext cx="177682" cy="243699"/>
            </a:xfrm>
            <a:custGeom>
              <a:avLst/>
              <a:gdLst>
                <a:gd name="T0" fmla="*/ 12 w 165"/>
                <a:gd name="T1" fmla="*/ 218 h 223"/>
                <a:gd name="T2" fmla="*/ 12 w 165"/>
                <a:gd name="T3" fmla="*/ 218 h 223"/>
                <a:gd name="T4" fmla="*/ 9 w 165"/>
                <a:gd name="T5" fmla="*/ 223 h 223"/>
                <a:gd name="T6" fmla="*/ 0 w 165"/>
                <a:gd name="T7" fmla="*/ 209 h 223"/>
                <a:gd name="T8" fmla="*/ 0 w 165"/>
                <a:gd name="T9" fmla="*/ 149 h 223"/>
                <a:gd name="T10" fmla="*/ 14 w 165"/>
                <a:gd name="T11" fmla="*/ 133 h 223"/>
                <a:gd name="T12" fmla="*/ 19 w 165"/>
                <a:gd name="T13" fmla="*/ 126 h 223"/>
                <a:gd name="T14" fmla="*/ 28 w 165"/>
                <a:gd name="T15" fmla="*/ 126 h 223"/>
                <a:gd name="T16" fmla="*/ 42 w 165"/>
                <a:gd name="T17" fmla="*/ 116 h 223"/>
                <a:gd name="T18" fmla="*/ 64 w 165"/>
                <a:gd name="T19" fmla="*/ 114 h 223"/>
                <a:gd name="T20" fmla="*/ 111 w 165"/>
                <a:gd name="T21" fmla="*/ 67 h 223"/>
                <a:gd name="T22" fmla="*/ 120 w 165"/>
                <a:gd name="T23" fmla="*/ 52 h 223"/>
                <a:gd name="T24" fmla="*/ 130 w 165"/>
                <a:gd name="T25" fmla="*/ 43 h 223"/>
                <a:gd name="T26" fmla="*/ 130 w 165"/>
                <a:gd name="T27" fmla="*/ 33 h 223"/>
                <a:gd name="T28" fmla="*/ 130 w 165"/>
                <a:gd name="T29" fmla="*/ 17 h 223"/>
                <a:gd name="T30" fmla="*/ 130 w 165"/>
                <a:gd name="T31" fmla="*/ 10 h 223"/>
                <a:gd name="T32" fmla="*/ 130 w 165"/>
                <a:gd name="T33" fmla="*/ 10 h 223"/>
                <a:gd name="T34" fmla="*/ 135 w 165"/>
                <a:gd name="T35" fmla="*/ 10 h 223"/>
                <a:gd name="T36" fmla="*/ 142 w 165"/>
                <a:gd name="T37" fmla="*/ 7 h 223"/>
                <a:gd name="T38" fmla="*/ 149 w 165"/>
                <a:gd name="T39" fmla="*/ 5 h 223"/>
                <a:gd name="T40" fmla="*/ 158 w 165"/>
                <a:gd name="T41" fmla="*/ 0 h 223"/>
                <a:gd name="T42" fmla="*/ 165 w 165"/>
                <a:gd name="T43" fmla="*/ 0 h 223"/>
                <a:gd name="T44" fmla="*/ 165 w 165"/>
                <a:gd name="T45" fmla="*/ 5 h 223"/>
                <a:gd name="T46" fmla="*/ 163 w 165"/>
                <a:gd name="T47" fmla="*/ 14 h 223"/>
                <a:gd name="T48" fmla="*/ 163 w 165"/>
                <a:gd name="T49" fmla="*/ 24 h 223"/>
                <a:gd name="T50" fmla="*/ 161 w 165"/>
                <a:gd name="T51" fmla="*/ 29 h 223"/>
                <a:gd name="T52" fmla="*/ 156 w 165"/>
                <a:gd name="T53" fmla="*/ 45 h 223"/>
                <a:gd name="T54" fmla="*/ 146 w 165"/>
                <a:gd name="T55" fmla="*/ 64 h 223"/>
                <a:gd name="T56" fmla="*/ 137 w 165"/>
                <a:gd name="T57" fmla="*/ 85 h 223"/>
                <a:gd name="T58" fmla="*/ 123 w 165"/>
                <a:gd name="T59" fmla="*/ 109 h 223"/>
                <a:gd name="T60" fmla="*/ 109 w 165"/>
                <a:gd name="T61" fmla="*/ 128 h 223"/>
                <a:gd name="T62" fmla="*/ 90 w 165"/>
                <a:gd name="T63" fmla="*/ 149 h 223"/>
                <a:gd name="T64" fmla="*/ 73 w 165"/>
                <a:gd name="T65" fmla="*/ 164 h 223"/>
                <a:gd name="T66" fmla="*/ 49 w 165"/>
                <a:gd name="T67" fmla="*/ 178 h 223"/>
                <a:gd name="T68" fmla="*/ 35 w 165"/>
                <a:gd name="T69" fmla="*/ 192 h 223"/>
                <a:gd name="T70" fmla="*/ 16 w 165"/>
                <a:gd name="T71" fmla="*/ 211 h 223"/>
                <a:gd name="T72" fmla="*/ 12 w 165"/>
                <a:gd name="T73" fmla="*/ 218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5" h="223">
                  <a:moveTo>
                    <a:pt x="12" y="218"/>
                  </a:moveTo>
                  <a:lnTo>
                    <a:pt x="12" y="218"/>
                  </a:lnTo>
                  <a:lnTo>
                    <a:pt x="9" y="223"/>
                  </a:lnTo>
                  <a:lnTo>
                    <a:pt x="0" y="209"/>
                  </a:lnTo>
                  <a:lnTo>
                    <a:pt x="0" y="149"/>
                  </a:lnTo>
                  <a:lnTo>
                    <a:pt x="14" y="133"/>
                  </a:lnTo>
                  <a:lnTo>
                    <a:pt x="19" y="126"/>
                  </a:lnTo>
                  <a:lnTo>
                    <a:pt x="28" y="126"/>
                  </a:lnTo>
                  <a:lnTo>
                    <a:pt x="42" y="116"/>
                  </a:lnTo>
                  <a:lnTo>
                    <a:pt x="64" y="114"/>
                  </a:lnTo>
                  <a:lnTo>
                    <a:pt x="111" y="67"/>
                  </a:lnTo>
                  <a:lnTo>
                    <a:pt x="120" y="52"/>
                  </a:lnTo>
                  <a:lnTo>
                    <a:pt x="130" y="43"/>
                  </a:lnTo>
                  <a:lnTo>
                    <a:pt x="130" y="33"/>
                  </a:lnTo>
                  <a:lnTo>
                    <a:pt x="130" y="17"/>
                  </a:lnTo>
                  <a:lnTo>
                    <a:pt x="130" y="10"/>
                  </a:lnTo>
                  <a:lnTo>
                    <a:pt x="130" y="10"/>
                  </a:lnTo>
                  <a:lnTo>
                    <a:pt x="135" y="10"/>
                  </a:lnTo>
                  <a:lnTo>
                    <a:pt x="142" y="7"/>
                  </a:lnTo>
                  <a:lnTo>
                    <a:pt x="149" y="5"/>
                  </a:lnTo>
                  <a:lnTo>
                    <a:pt x="158" y="0"/>
                  </a:lnTo>
                  <a:lnTo>
                    <a:pt x="165" y="0"/>
                  </a:lnTo>
                  <a:lnTo>
                    <a:pt x="165" y="5"/>
                  </a:lnTo>
                  <a:lnTo>
                    <a:pt x="163" y="14"/>
                  </a:lnTo>
                  <a:lnTo>
                    <a:pt x="163" y="24"/>
                  </a:lnTo>
                  <a:lnTo>
                    <a:pt x="161" y="29"/>
                  </a:lnTo>
                  <a:lnTo>
                    <a:pt x="156" y="45"/>
                  </a:lnTo>
                  <a:lnTo>
                    <a:pt x="146" y="64"/>
                  </a:lnTo>
                  <a:lnTo>
                    <a:pt x="137" y="85"/>
                  </a:lnTo>
                  <a:lnTo>
                    <a:pt x="123" y="109"/>
                  </a:lnTo>
                  <a:lnTo>
                    <a:pt x="109" y="128"/>
                  </a:lnTo>
                  <a:lnTo>
                    <a:pt x="90" y="149"/>
                  </a:lnTo>
                  <a:lnTo>
                    <a:pt x="73" y="164"/>
                  </a:lnTo>
                  <a:lnTo>
                    <a:pt x="49" y="178"/>
                  </a:lnTo>
                  <a:lnTo>
                    <a:pt x="35" y="192"/>
                  </a:lnTo>
                  <a:lnTo>
                    <a:pt x="16" y="211"/>
                  </a:lnTo>
                  <a:lnTo>
                    <a:pt x="12" y="218"/>
                  </a:lnTo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77" name="Freeform 301">
              <a:extLst>
                <a:ext uri="{FF2B5EF4-FFF2-40B4-BE49-F238E27FC236}">
                  <a16:creationId xmlns:a16="http://schemas.microsoft.com/office/drawing/2014/main" id="{2893441E-F7D9-70E8-2C64-1DC656F46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0973" y="3069253"/>
              <a:ext cx="71072" cy="75406"/>
            </a:xfrm>
            <a:custGeom>
              <a:avLst/>
              <a:gdLst>
                <a:gd name="T0" fmla="*/ 50 w 66"/>
                <a:gd name="T1" fmla="*/ 0 h 69"/>
                <a:gd name="T2" fmla="*/ 50 w 66"/>
                <a:gd name="T3" fmla="*/ 0 h 69"/>
                <a:gd name="T4" fmla="*/ 66 w 66"/>
                <a:gd name="T5" fmla="*/ 5 h 69"/>
                <a:gd name="T6" fmla="*/ 57 w 66"/>
                <a:gd name="T7" fmla="*/ 19 h 69"/>
                <a:gd name="T8" fmla="*/ 59 w 66"/>
                <a:gd name="T9" fmla="*/ 31 h 69"/>
                <a:gd name="T10" fmla="*/ 66 w 66"/>
                <a:gd name="T11" fmla="*/ 38 h 69"/>
                <a:gd name="T12" fmla="*/ 64 w 66"/>
                <a:gd name="T13" fmla="*/ 48 h 69"/>
                <a:gd name="T14" fmla="*/ 62 w 66"/>
                <a:gd name="T15" fmla="*/ 55 h 69"/>
                <a:gd name="T16" fmla="*/ 57 w 66"/>
                <a:gd name="T17" fmla="*/ 59 h 69"/>
                <a:gd name="T18" fmla="*/ 47 w 66"/>
                <a:gd name="T19" fmla="*/ 57 h 69"/>
                <a:gd name="T20" fmla="*/ 40 w 66"/>
                <a:gd name="T21" fmla="*/ 59 h 69"/>
                <a:gd name="T22" fmla="*/ 33 w 66"/>
                <a:gd name="T23" fmla="*/ 57 h 69"/>
                <a:gd name="T24" fmla="*/ 31 w 66"/>
                <a:gd name="T25" fmla="*/ 62 h 69"/>
                <a:gd name="T26" fmla="*/ 36 w 66"/>
                <a:gd name="T27" fmla="*/ 64 h 69"/>
                <a:gd name="T28" fmla="*/ 33 w 66"/>
                <a:gd name="T29" fmla="*/ 69 h 69"/>
                <a:gd name="T30" fmla="*/ 26 w 66"/>
                <a:gd name="T31" fmla="*/ 67 h 69"/>
                <a:gd name="T32" fmla="*/ 14 w 66"/>
                <a:gd name="T33" fmla="*/ 55 h 69"/>
                <a:gd name="T34" fmla="*/ 12 w 66"/>
                <a:gd name="T35" fmla="*/ 43 h 69"/>
                <a:gd name="T36" fmla="*/ 7 w 66"/>
                <a:gd name="T37" fmla="*/ 43 h 69"/>
                <a:gd name="T38" fmla="*/ 0 w 66"/>
                <a:gd name="T39" fmla="*/ 33 h 69"/>
                <a:gd name="T40" fmla="*/ 2 w 66"/>
                <a:gd name="T41" fmla="*/ 24 h 69"/>
                <a:gd name="T42" fmla="*/ 2 w 66"/>
                <a:gd name="T43" fmla="*/ 22 h 69"/>
                <a:gd name="T44" fmla="*/ 12 w 66"/>
                <a:gd name="T45" fmla="*/ 17 h 69"/>
                <a:gd name="T46" fmla="*/ 14 w 66"/>
                <a:gd name="T47" fmla="*/ 3 h 69"/>
                <a:gd name="T48" fmla="*/ 33 w 66"/>
                <a:gd name="T49" fmla="*/ 5 h 69"/>
                <a:gd name="T50" fmla="*/ 36 w 66"/>
                <a:gd name="T51" fmla="*/ 3 h 69"/>
                <a:gd name="T52" fmla="*/ 50 w 66"/>
                <a:gd name="T5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6" h="69">
                  <a:moveTo>
                    <a:pt x="50" y="0"/>
                  </a:moveTo>
                  <a:lnTo>
                    <a:pt x="50" y="0"/>
                  </a:lnTo>
                  <a:lnTo>
                    <a:pt x="66" y="5"/>
                  </a:lnTo>
                  <a:lnTo>
                    <a:pt x="57" y="19"/>
                  </a:lnTo>
                  <a:lnTo>
                    <a:pt x="59" y="31"/>
                  </a:lnTo>
                  <a:lnTo>
                    <a:pt x="66" y="38"/>
                  </a:lnTo>
                  <a:lnTo>
                    <a:pt x="64" y="48"/>
                  </a:lnTo>
                  <a:lnTo>
                    <a:pt x="62" y="55"/>
                  </a:lnTo>
                  <a:lnTo>
                    <a:pt x="57" y="59"/>
                  </a:lnTo>
                  <a:lnTo>
                    <a:pt x="47" y="57"/>
                  </a:lnTo>
                  <a:lnTo>
                    <a:pt x="40" y="59"/>
                  </a:lnTo>
                  <a:lnTo>
                    <a:pt x="33" y="57"/>
                  </a:lnTo>
                  <a:lnTo>
                    <a:pt x="31" y="62"/>
                  </a:lnTo>
                  <a:lnTo>
                    <a:pt x="36" y="64"/>
                  </a:lnTo>
                  <a:lnTo>
                    <a:pt x="33" y="69"/>
                  </a:lnTo>
                  <a:lnTo>
                    <a:pt x="26" y="67"/>
                  </a:lnTo>
                  <a:lnTo>
                    <a:pt x="14" y="55"/>
                  </a:lnTo>
                  <a:lnTo>
                    <a:pt x="12" y="43"/>
                  </a:lnTo>
                  <a:lnTo>
                    <a:pt x="7" y="43"/>
                  </a:lnTo>
                  <a:lnTo>
                    <a:pt x="0" y="33"/>
                  </a:lnTo>
                  <a:lnTo>
                    <a:pt x="2" y="24"/>
                  </a:lnTo>
                  <a:lnTo>
                    <a:pt x="2" y="22"/>
                  </a:lnTo>
                  <a:lnTo>
                    <a:pt x="12" y="17"/>
                  </a:lnTo>
                  <a:lnTo>
                    <a:pt x="14" y="3"/>
                  </a:lnTo>
                  <a:lnTo>
                    <a:pt x="33" y="5"/>
                  </a:lnTo>
                  <a:lnTo>
                    <a:pt x="36" y="3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78" name="Freeform 303">
              <a:extLst>
                <a:ext uri="{FF2B5EF4-FFF2-40B4-BE49-F238E27FC236}">
                  <a16:creationId xmlns:a16="http://schemas.microsoft.com/office/drawing/2014/main" id="{B9ADC85C-060D-8698-A5F2-60E9E6AA60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47198" y="2172047"/>
              <a:ext cx="100148" cy="46993"/>
            </a:xfrm>
            <a:custGeom>
              <a:avLst/>
              <a:gdLst>
                <a:gd name="T0" fmla="*/ 41 w 93"/>
                <a:gd name="T1" fmla="*/ 0 h 43"/>
                <a:gd name="T2" fmla="*/ 41 w 93"/>
                <a:gd name="T3" fmla="*/ 0 h 43"/>
                <a:gd name="T4" fmla="*/ 48 w 93"/>
                <a:gd name="T5" fmla="*/ 9 h 43"/>
                <a:gd name="T6" fmla="*/ 57 w 93"/>
                <a:gd name="T7" fmla="*/ 2 h 43"/>
                <a:gd name="T8" fmla="*/ 64 w 93"/>
                <a:gd name="T9" fmla="*/ 5 h 43"/>
                <a:gd name="T10" fmla="*/ 76 w 93"/>
                <a:gd name="T11" fmla="*/ 2 h 43"/>
                <a:gd name="T12" fmla="*/ 93 w 93"/>
                <a:gd name="T13" fmla="*/ 12 h 43"/>
                <a:gd name="T14" fmla="*/ 88 w 93"/>
                <a:gd name="T15" fmla="*/ 17 h 43"/>
                <a:gd name="T16" fmla="*/ 86 w 93"/>
                <a:gd name="T17" fmla="*/ 28 h 43"/>
                <a:gd name="T18" fmla="*/ 81 w 93"/>
                <a:gd name="T19" fmla="*/ 31 h 43"/>
                <a:gd name="T20" fmla="*/ 64 w 93"/>
                <a:gd name="T21" fmla="*/ 24 h 43"/>
                <a:gd name="T22" fmla="*/ 60 w 93"/>
                <a:gd name="T23" fmla="*/ 24 h 43"/>
                <a:gd name="T24" fmla="*/ 55 w 93"/>
                <a:gd name="T25" fmla="*/ 31 h 43"/>
                <a:gd name="T26" fmla="*/ 48 w 93"/>
                <a:gd name="T27" fmla="*/ 33 h 43"/>
                <a:gd name="T28" fmla="*/ 45 w 93"/>
                <a:gd name="T29" fmla="*/ 31 h 43"/>
                <a:gd name="T30" fmla="*/ 38 w 93"/>
                <a:gd name="T31" fmla="*/ 35 h 43"/>
                <a:gd name="T32" fmla="*/ 31 w 93"/>
                <a:gd name="T33" fmla="*/ 35 h 43"/>
                <a:gd name="T34" fmla="*/ 29 w 93"/>
                <a:gd name="T35" fmla="*/ 40 h 43"/>
                <a:gd name="T36" fmla="*/ 17 w 93"/>
                <a:gd name="T37" fmla="*/ 43 h 43"/>
                <a:gd name="T38" fmla="*/ 10 w 93"/>
                <a:gd name="T39" fmla="*/ 40 h 43"/>
                <a:gd name="T40" fmla="*/ 0 w 93"/>
                <a:gd name="T41" fmla="*/ 35 h 43"/>
                <a:gd name="T42" fmla="*/ 0 w 93"/>
                <a:gd name="T43" fmla="*/ 26 h 43"/>
                <a:gd name="T44" fmla="*/ 0 w 93"/>
                <a:gd name="T45" fmla="*/ 24 h 43"/>
                <a:gd name="T46" fmla="*/ 3 w 93"/>
                <a:gd name="T47" fmla="*/ 19 h 43"/>
                <a:gd name="T48" fmla="*/ 10 w 93"/>
                <a:gd name="T49" fmla="*/ 19 h 43"/>
                <a:gd name="T50" fmla="*/ 17 w 93"/>
                <a:gd name="T51" fmla="*/ 17 h 43"/>
                <a:gd name="T52" fmla="*/ 17 w 93"/>
                <a:gd name="T53" fmla="*/ 14 h 43"/>
                <a:gd name="T54" fmla="*/ 19 w 93"/>
                <a:gd name="T55" fmla="*/ 12 h 43"/>
                <a:gd name="T56" fmla="*/ 22 w 93"/>
                <a:gd name="T57" fmla="*/ 7 h 43"/>
                <a:gd name="T58" fmla="*/ 24 w 93"/>
                <a:gd name="T59" fmla="*/ 7 h 43"/>
                <a:gd name="T60" fmla="*/ 26 w 93"/>
                <a:gd name="T61" fmla="*/ 2 h 43"/>
                <a:gd name="T62" fmla="*/ 31 w 93"/>
                <a:gd name="T63" fmla="*/ 0 h 43"/>
                <a:gd name="T64" fmla="*/ 34 w 93"/>
                <a:gd name="T65" fmla="*/ 2 h 43"/>
                <a:gd name="T66" fmla="*/ 41 w 93"/>
                <a:gd name="T6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3" h="43">
                  <a:moveTo>
                    <a:pt x="41" y="0"/>
                  </a:moveTo>
                  <a:lnTo>
                    <a:pt x="41" y="0"/>
                  </a:lnTo>
                  <a:lnTo>
                    <a:pt x="48" y="9"/>
                  </a:lnTo>
                  <a:lnTo>
                    <a:pt x="57" y="2"/>
                  </a:lnTo>
                  <a:lnTo>
                    <a:pt x="64" y="5"/>
                  </a:lnTo>
                  <a:lnTo>
                    <a:pt x="76" y="2"/>
                  </a:lnTo>
                  <a:lnTo>
                    <a:pt x="93" y="12"/>
                  </a:lnTo>
                  <a:lnTo>
                    <a:pt x="88" y="17"/>
                  </a:lnTo>
                  <a:lnTo>
                    <a:pt x="86" y="28"/>
                  </a:lnTo>
                  <a:lnTo>
                    <a:pt x="81" y="31"/>
                  </a:lnTo>
                  <a:lnTo>
                    <a:pt x="64" y="24"/>
                  </a:lnTo>
                  <a:lnTo>
                    <a:pt x="60" y="24"/>
                  </a:lnTo>
                  <a:lnTo>
                    <a:pt x="55" y="31"/>
                  </a:lnTo>
                  <a:lnTo>
                    <a:pt x="48" y="33"/>
                  </a:lnTo>
                  <a:lnTo>
                    <a:pt x="45" y="31"/>
                  </a:lnTo>
                  <a:lnTo>
                    <a:pt x="38" y="35"/>
                  </a:lnTo>
                  <a:lnTo>
                    <a:pt x="31" y="35"/>
                  </a:lnTo>
                  <a:lnTo>
                    <a:pt x="29" y="40"/>
                  </a:lnTo>
                  <a:lnTo>
                    <a:pt x="17" y="43"/>
                  </a:lnTo>
                  <a:lnTo>
                    <a:pt x="10" y="40"/>
                  </a:lnTo>
                  <a:lnTo>
                    <a:pt x="0" y="35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3" y="19"/>
                  </a:lnTo>
                  <a:lnTo>
                    <a:pt x="10" y="19"/>
                  </a:lnTo>
                  <a:lnTo>
                    <a:pt x="17" y="17"/>
                  </a:lnTo>
                  <a:lnTo>
                    <a:pt x="17" y="14"/>
                  </a:lnTo>
                  <a:lnTo>
                    <a:pt x="19" y="12"/>
                  </a:lnTo>
                  <a:lnTo>
                    <a:pt x="22" y="7"/>
                  </a:lnTo>
                  <a:lnTo>
                    <a:pt x="24" y="7"/>
                  </a:lnTo>
                  <a:lnTo>
                    <a:pt x="26" y="2"/>
                  </a:lnTo>
                  <a:lnTo>
                    <a:pt x="31" y="0"/>
                  </a:lnTo>
                  <a:lnTo>
                    <a:pt x="34" y="2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79" name="Freeform 305">
              <a:extLst>
                <a:ext uri="{FF2B5EF4-FFF2-40B4-BE49-F238E27FC236}">
                  <a16:creationId xmlns:a16="http://schemas.microsoft.com/office/drawing/2014/main" id="{FBF15893-369D-92B4-A6CD-6E27AD74A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91201" y="2241987"/>
              <a:ext cx="51688" cy="36063"/>
            </a:xfrm>
            <a:custGeom>
              <a:avLst/>
              <a:gdLst>
                <a:gd name="T0" fmla="*/ 48 w 48"/>
                <a:gd name="T1" fmla="*/ 9 h 33"/>
                <a:gd name="T2" fmla="*/ 48 w 48"/>
                <a:gd name="T3" fmla="*/ 9 h 33"/>
                <a:gd name="T4" fmla="*/ 34 w 48"/>
                <a:gd name="T5" fmla="*/ 14 h 33"/>
                <a:gd name="T6" fmla="*/ 34 w 48"/>
                <a:gd name="T7" fmla="*/ 24 h 33"/>
                <a:gd name="T8" fmla="*/ 26 w 48"/>
                <a:gd name="T9" fmla="*/ 26 h 33"/>
                <a:gd name="T10" fmla="*/ 26 w 48"/>
                <a:gd name="T11" fmla="*/ 33 h 33"/>
                <a:gd name="T12" fmla="*/ 22 w 48"/>
                <a:gd name="T13" fmla="*/ 33 h 33"/>
                <a:gd name="T14" fmla="*/ 15 w 48"/>
                <a:gd name="T15" fmla="*/ 28 h 33"/>
                <a:gd name="T16" fmla="*/ 12 w 48"/>
                <a:gd name="T17" fmla="*/ 33 h 33"/>
                <a:gd name="T18" fmla="*/ 0 w 48"/>
                <a:gd name="T19" fmla="*/ 33 h 33"/>
                <a:gd name="T20" fmla="*/ 5 w 48"/>
                <a:gd name="T21" fmla="*/ 31 h 33"/>
                <a:gd name="T22" fmla="*/ 0 w 48"/>
                <a:gd name="T23" fmla="*/ 21 h 33"/>
                <a:gd name="T24" fmla="*/ 3 w 48"/>
                <a:gd name="T25" fmla="*/ 9 h 33"/>
                <a:gd name="T26" fmla="*/ 17 w 48"/>
                <a:gd name="T27" fmla="*/ 9 h 33"/>
                <a:gd name="T28" fmla="*/ 24 w 48"/>
                <a:gd name="T29" fmla="*/ 5 h 33"/>
                <a:gd name="T30" fmla="*/ 38 w 48"/>
                <a:gd name="T31" fmla="*/ 5 h 33"/>
                <a:gd name="T32" fmla="*/ 41 w 48"/>
                <a:gd name="T33" fmla="*/ 0 h 33"/>
                <a:gd name="T34" fmla="*/ 43 w 48"/>
                <a:gd name="T35" fmla="*/ 0 h 33"/>
                <a:gd name="T36" fmla="*/ 48 w 48"/>
                <a:gd name="T37" fmla="*/ 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33">
                  <a:moveTo>
                    <a:pt x="48" y="9"/>
                  </a:moveTo>
                  <a:lnTo>
                    <a:pt x="48" y="9"/>
                  </a:lnTo>
                  <a:lnTo>
                    <a:pt x="34" y="14"/>
                  </a:lnTo>
                  <a:lnTo>
                    <a:pt x="34" y="24"/>
                  </a:lnTo>
                  <a:lnTo>
                    <a:pt x="26" y="26"/>
                  </a:lnTo>
                  <a:lnTo>
                    <a:pt x="26" y="33"/>
                  </a:lnTo>
                  <a:lnTo>
                    <a:pt x="22" y="33"/>
                  </a:lnTo>
                  <a:lnTo>
                    <a:pt x="15" y="28"/>
                  </a:lnTo>
                  <a:lnTo>
                    <a:pt x="12" y="33"/>
                  </a:lnTo>
                  <a:lnTo>
                    <a:pt x="0" y="33"/>
                  </a:lnTo>
                  <a:lnTo>
                    <a:pt x="5" y="31"/>
                  </a:lnTo>
                  <a:lnTo>
                    <a:pt x="0" y="21"/>
                  </a:lnTo>
                  <a:lnTo>
                    <a:pt x="3" y="9"/>
                  </a:lnTo>
                  <a:lnTo>
                    <a:pt x="17" y="9"/>
                  </a:lnTo>
                  <a:lnTo>
                    <a:pt x="24" y="5"/>
                  </a:lnTo>
                  <a:lnTo>
                    <a:pt x="38" y="5"/>
                  </a:lnTo>
                  <a:lnTo>
                    <a:pt x="41" y="0"/>
                  </a:lnTo>
                  <a:lnTo>
                    <a:pt x="43" y="0"/>
                  </a:lnTo>
                  <a:lnTo>
                    <a:pt x="48" y="9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80" name="Freeform 307">
              <a:extLst>
                <a:ext uri="{FF2B5EF4-FFF2-40B4-BE49-F238E27FC236}">
                  <a16:creationId xmlns:a16="http://schemas.microsoft.com/office/drawing/2014/main" id="{F971AB03-BE1E-F62B-C529-775024CEBAA7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5972" y="1473733"/>
              <a:ext cx="223986" cy="530020"/>
            </a:xfrm>
            <a:custGeom>
              <a:avLst/>
              <a:gdLst>
                <a:gd name="T0" fmla="*/ 177 w 208"/>
                <a:gd name="T1" fmla="*/ 21 h 485"/>
                <a:gd name="T2" fmla="*/ 177 w 208"/>
                <a:gd name="T3" fmla="*/ 21 h 485"/>
                <a:gd name="T4" fmla="*/ 203 w 208"/>
                <a:gd name="T5" fmla="*/ 52 h 485"/>
                <a:gd name="T6" fmla="*/ 203 w 208"/>
                <a:gd name="T7" fmla="*/ 116 h 485"/>
                <a:gd name="T8" fmla="*/ 208 w 208"/>
                <a:gd name="T9" fmla="*/ 130 h 485"/>
                <a:gd name="T10" fmla="*/ 182 w 208"/>
                <a:gd name="T11" fmla="*/ 142 h 485"/>
                <a:gd name="T12" fmla="*/ 165 w 208"/>
                <a:gd name="T13" fmla="*/ 170 h 485"/>
                <a:gd name="T14" fmla="*/ 168 w 208"/>
                <a:gd name="T15" fmla="*/ 192 h 485"/>
                <a:gd name="T16" fmla="*/ 142 w 208"/>
                <a:gd name="T17" fmla="*/ 222 h 485"/>
                <a:gd name="T18" fmla="*/ 111 w 208"/>
                <a:gd name="T19" fmla="*/ 253 h 485"/>
                <a:gd name="T20" fmla="*/ 99 w 208"/>
                <a:gd name="T21" fmla="*/ 300 h 485"/>
                <a:gd name="T22" fmla="*/ 111 w 208"/>
                <a:gd name="T23" fmla="*/ 324 h 485"/>
                <a:gd name="T24" fmla="*/ 125 w 208"/>
                <a:gd name="T25" fmla="*/ 343 h 485"/>
                <a:gd name="T26" fmla="*/ 111 w 208"/>
                <a:gd name="T27" fmla="*/ 379 h 485"/>
                <a:gd name="T28" fmla="*/ 94 w 208"/>
                <a:gd name="T29" fmla="*/ 386 h 485"/>
                <a:gd name="T30" fmla="*/ 87 w 208"/>
                <a:gd name="T31" fmla="*/ 435 h 485"/>
                <a:gd name="T32" fmla="*/ 78 w 208"/>
                <a:gd name="T33" fmla="*/ 464 h 485"/>
                <a:gd name="T34" fmla="*/ 59 w 208"/>
                <a:gd name="T35" fmla="*/ 461 h 485"/>
                <a:gd name="T36" fmla="*/ 49 w 208"/>
                <a:gd name="T37" fmla="*/ 483 h 485"/>
                <a:gd name="T38" fmla="*/ 31 w 208"/>
                <a:gd name="T39" fmla="*/ 485 h 485"/>
                <a:gd name="T40" fmla="*/ 26 w 208"/>
                <a:gd name="T41" fmla="*/ 457 h 485"/>
                <a:gd name="T42" fmla="*/ 12 w 208"/>
                <a:gd name="T43" fmla="*/ 424 h 485"/>
                <a:gd name="T44" fmla="*/ 0 w 208"/>
                <a:gd name="T45" fmla="*/ 381 h 485"/>
                <a:gd name="T46" fmla="*/ 7 w 208"/>
                <a:gd name="T47" fmla="*/ 362 h 485"/>
                <a:gd name="T48" fmla="*/ 19 w 208"/>
                <a:gd name="T49" fmla="*/ 341 h 485"/>
                <a:gd name="T50" fmla="*/ 26 w 208"/>
                <a:gd name="T51" fmla="*/ 303 h 485"/>
                <a:gd name="T52" fmla="*/ 14 w 208"/>
                <a:gd name="T53" fmla="*/ 286 h 485"/>
                <a:gd name="T54" fmla="*/ 14 w 208"/>
                <a:gd name="T55" fmla="*/ 239 h 485"/>
                <a:gd name="T56" fmla="*/ 26 w 208"/>
                <a:gd name="T57" fmla="*/ 206 h 485"/>
                <a:gd name="T58" fmla="*/ 40 w 208"/>
                <a:gd name="T59" fmla="*/ 206 h 485"/>
                <a:gd name="T60" fmla="*/ 45 w 208"/>
                <a:gd name="T61" fmla="*/ 192 h 485"/>
                <a:gd name="T62" fmla="*/ 40 w 208"/>
                <a:gd name="T63" fmla="*/ 177 h 485"/>
                <a:gd name="T64" fmla="*/ 66 w 208"/>
                <a:gd name="T65" fmla="*/ 125 h 485"/>
                <a:gd name="T66" fmla="*/ 83 w 208"/>
                <a:gd name="T67" fmla="*/ 78 h 485"/>
                <a:gd name="T68" fmla="*/ 92 w 208"/>
                <a:gd name="T69" fmla="*/ 47 h 485"/>
                <a:gd name="T70" fmla="*/ 109 w 208"/>
                <a:gd name="T71" fmla="*/ 50 h 485"/>
                <a:gd name="T72" fmla="*/ 113 w 208"/>
                <a:gd name="T73" fmla="*/ 24 h 485"/>
                <a:gd name="T74" fmla="*/ 144 w 208"/>
                <a:gd name="T75" fmla="*/ 31 h 485"/>
                <a:gd name="T76" fmla="*/ 146 w 208"/>
                <a:gd name="T77" fmla="*/ 2 h 485"/>
                <a:gd name="T78" fmla="*/ 156 w 208"/>
                <a:gd name="T79" fmla="*/ 0 h 485"/>
                <a:gd name="T80" fmla="*/ 177 w 208"/>
                <a:gd name="T81" fmla="*/ 21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8" h="485">
                  <a:moveTo>
                    <a:pt x="177" y="21"/>
                  </a:moveTo>
                  <a:lnTo>
                    <a:pt x="177" y="21"/>
                  </a:lnTo>
                  <a:lnTo>
                    <a:pt x="203" y="52"/>
                  </a:lnTo>
                  <a:lnTo>
                    <a:pt x="203" y="116"/>
                  </a:lnTo>
                  <a:lnTo>
                    <a:pt x="208" y="130"/>
                  </a:lnTo>
                  <a:lnTo>
                    <a:pt x="182" y="142"/>
                  </a:lnTo>
                  <a:lnTo>
                    <a:pt x="165" y="170"/>
                  </a:lnTo>
                  <a:lnTo>
                    <a:pt x="168" y="192"/>
                  </a:lnTo>
                  <a:lnTo>
                    <a:pt x="142" y="222"/>
                  </a:lnTo>
                  <a:lnTo>
                    <a:pt x="111" y="253"/>
                  </a:lnTo>
                  <a:lnTo>
                    <a:pt x="99" y="300"/>
                  </a:lnTo>
                  <a:lnTo>
                    <a:pt x="111" y="324"/>
                  </a:lnTo>
                  <a:lnTo>
                    <a:pt x="125" y="343"/>
                  </a:lnTo>
                  <a:lnTo>
                    <a:pt x="111" y="379"/>
                  </a:lnTo>
                  <a:lnTo>
                    <a:pt x="94" y="386"/>
                  </a:lnTo>
                  <a:lnTo>
                    <a:pt x="87" y="435"/>
                  </a:lnTo>
                  <a:lnTo>
                    <a:pt x="78" y="464"/>
                  </a:lnTo>
                  <a:lnTo>
                    <a:pt x="59" y="461"/>
                  </a:lnTo>
                  <a:lnTo>
                    <a:pt x="49" y="483"/>
                  </a:lnTo>
                  <a:lnTo>
                    <a:pt x="31" y="485"/>
                  </a:lnTo>
                  <a:lnTo>
                    <a:pt x="26" y="457"/>
                  </a:lnTo>
                  <a:lnTo>
                    <a:pt x="12" y="424"/>
                  </a:lnTo>
                  <a:lnTo>
                    <a:pt x="0" y="381"/>
                  </a:lnTo>
                  <a:lnTo>
                    <a:pt x="7" y="362"/>
                  </a:lnTo>
                  <a:lnTo>
                    <a:pt x="19" y="341"/>
                  </a:lnTo>
                  <a:lnTo>
                    <a:pt x="26" y="303"/>
                  </a:lnTo>
                  <a:lnTo>
                    <a:pt x="14" y="286"/>
                  </a:lnTo>
                  <a:lnTo>
                    <a:pt x="14" y="239"/>
                  </a:lnTo>
                  <a:lnTo>
                    <a:pt x="26" y="206"/>
                  </a:lnTo>
                  <a:lnTo>
                    <a:pt x="40" y="206"/>
                  </a:lnTo>
                  <a:lnTo>
                    <a:pt x="45" y="192"/>
                  </a:lnTo>
                  <a:lnTo>
                    <a:pt x="40" y="177"/>
                  </a:lnTo>
                  <a:lnTo>
                    <a:pt x="66" y="125"/>
                  </a:lnTo>
                  <a:lnTo>
                    <a:pt x="83" y="78"/>
                  </a:lnTo>
                  <a:lnTo>
                    <a:pt x="92" y="47"/>
                  </a:lnTo>
                  <a:lnTo>
                    <a:pt x="109" y="50"/>
                  </a:lnTo>
                  <a:lnTo>
                    <a:pt x="113" y="24"/>
                  </a:lnTo>
                  <a:lnTo>
                    <a:pt x="144" y="31"/>
                  </a:lnTo>
                  <a:lnTo>
                    <a:pt x="146" y="2"/>
                  </a:lnTo>
                  <a:lnTo>
                    <a:pt x="156" y="0"/>
                  </a:lnTo>
                  <a:lnTo>
                    <a:pt x="177" y="21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81" name="Freeform 168">
              <a:extLst>
                <a:ext uri="{FF2B5EF4-FFF2-40B4-BE49-F238E27FC236}">
                  <a16:creationId xmlns:a16="http://schemas.microsoft.com/office/drawing/2014/main" id="{ECB8CA90-554B-FDA3-81DF-8CFFA0CC7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7337" y="3644078"/>
              <a:ext cx="25896" cy="34033"/>
            </a:xfrm>
            <a:custGeom>
              <a:avLst/>
              <a:gdLst>
                <a:gd name="connsiteX0" fmla="*/ 15908 w 54648"/>
                <a:gd name="connsiteY0" fmla="*/ 0 h 70772"/>
                <a:gd name="connsiteX1" fmla="*/ 27270 w 54648"/>
                <a:gd name="connsiteY1" fmla="*/ 0 h 70772"/>
                <a:gd name="connsiteX2" fmla="*/ 47722 w 54648"/>
                <a:gd name="connsiteY2" fmla="*/ 4545 h 70772"/>
                <a:gd name="connsiteX3" fmla="*/ 49107 w 54648"/>
                <a:gd name="connsiteY3" fmla="*/ 11467 h 70772"/>
                <a:gd name="connsiteX4" fmla="*/ 50103 w 54648"/>
                <a:gd name="connsiteY4" fmla="*/ 11688 h 70772"/>
                <a:gd name="connsiteX5" fmla="*/ 54648 w 54648"/>
                <a:gd name="connsiteY5" fmla="*/ 34413 h 70772"/>
                <a:gd name="connsiteX6" fmla="*/ 54648 w 54648"/>
                <a:gd name="connsiteY6" fmla="*/ 50320 h 70772"/>
                <a:gd name="connsiteX7" fmla="*/ 50103 w 54648"/>
                <a:gd name="connsiteY7" fmla="*/ 66227 h 70772"/>
                <a:gd name="connsiteX8" fmla="*/ 29651 w 54648"/>
                <a:gd name="connsiteY8" fmla="*/ 70772 h 70772"/>
                <a:gd name="connsiteX9" fmla="*/ 2381 w 54648"/>
                <a:gd name="connsiteY9" fmla="*/ 50320 h 70772"/>
                <a:gd name="connsiteX10" fmla="*/ 2381 w 54648"/>
                <a:gd name="connsiteY10" fmla="*/ 44963 h 70772"/>
                <a:gd name="connsiteX11" fmla="*/ 0 w 54648"/>
                <a:gd name="connsiteY11" fmla="*/ 43177 h 70772"/>
                <a:gd name="connsiteX12" fmla="*/ 0 w 54648"/>
                <a:gd name="connsiteY12" fmla="*/ 31815 h 70772"/>
                <a:gd name="connsiteX13" fmla="*/ 11363 w 54648"/>
                <a:gd name="connsiteY13" fmla="*/ 15907 h 70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4648" h="70772">
                  <a:moveTo>
                    <a:pt x="15908" y="0"/>
                  </a:moveTo>
                  <a:lnTo>
                    <a:pt x="27270" y="0"/>
                  </a:lnTo>
                  <a:lnTo>
                    <a:pt x="47722" y="4545"/>
                  </a:lnTo>
                  <a:lnTo>
                    <a:pt x="49107" y="11467"/>
                  </a:lnTo>
                  <a:lnTo>
                    <a:pt x="50103" y="11688"/>
                  </a:lnTo>
                  <a:lnTo>
                    <a:pt x="54648" y="34413"/>
                  </a:lnTo>
                  <a:lnTo>
                    <a:pt x="54648" y="50320"/>
                  </a:lnTo>
                  <a:lnTo>
                    <a:pt x="50103" y="66227"/>
                  </a:lnTo>
                  <a:lnTo>
                    <a:pt x="29651" y="70772"/>
                  </a:lnTo>
                  <a:lnTo>
                    <a:pt x="2381" y="50320"/>
                  </a:lnTo>
                  <a:lnTo>
                    <a:pt x="2381" y="44963"/>
                  </a:lnTo>
                  <a:lnTo>
                    <a:pt x="0" y="43177"/>
                  </a:lnTo>
                  <a:lnTo>
                    <a:pt x="0" y="31815"/>
                  </a:lnTo>
                  <a:lnTo>
                    <a:pt x="11363" y="1590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82" name="Freeform 313">
              <a:extLst>
                <a:ext uri="{FF2B5EF4-FFF2-40B4-BE49-F238E27FC236}">
                  <a16:creationId xmlns:a16="http://schemas.microsoft.com/office/drawing/2014/main" id="{588AB7A7-989B-2D23-4C57-BB1B044973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9047" y="2754521"/>
              <a:ext cx="180912" cy="291784"/>
            </a:xfrm>
            <a:custGeom>
              <a:avLst/>
              <a:gdLst>
                <a:gd name="T0" fmla="*/ 168 w 168"/>
                <a:gd name="T1" fmla="*/ 66 h 267"/>
                <a:gd name="T2" fmla="*/ 168 w 168"/>
                <a:gd name="T3" fmla="*/ 66 h 267"/>
                <a:gd name="T4" fmla="*/ 168 w 168"/>
                <a:gd name="T5" fmla="*/ 132 h 267"/>
                <a:gd name="T6" fmla="*/ 154 w 168"/>
                <a:gd name="T7" fmla="*/ 130 h 267"/>
                <a:gd name="T8" fmla="*/ 147 w 168"/>
                <a:gd name="T9" fmla="*/ 144 h 267"/>
                <a:gd name="T10" fmla="*/ 142 w 168"/>
                <a:gd name="T11" fmla="*/ 153 h 267"/>
                <a:gd name="T12" fmla="*/ 144 w 168"/>
                <a:gd name="T13" fmla="*/ 158 h 267"/>
                <a:gd name="T14" fmla="*/ 140 w 168"/>
                <a:gd name="T15" fmla="*/ 163 h 267"/>
                <a:gd name="T16" fmla="*/ 142 w 168"/>
                <a:gd name="T17" fmla="*/ 170 h 267"/>
                <a:gd name="T18" fmla="*/ 137 w 168"/>
                <a:gd name="T19" fmla="*/ 177 h 267"/>
                <a:gd name="T20" fmla="*/ 135 w 168"/>
                <a:gd name="T21" fmla="*/ 182 h 267"/>
                <a:gd name="T22" fmla="*/ 142 w 168"/>
                <a:gd name="T23" fmla="*/ 182 h 267"/>
                <a:gd name="T24" fmla="*/ 144 w 168"/>
                <a:gd name="T25" fmla="*/ 189 h 267"/>
                <a:gd name="T26" fmla="*/ 144 w 168"/>
                <a:gd name="T27" fmla="*/ 196 h 267"/>
                <a:gd name="T28" fmla="*/ 151 w 168"/>
                <a:gd name="T29" fmla="*/ 203 h 267"/>
                <a:gd name="T30" fmla="*/ 151 w 168"/>
                <a:gd name="T31" fmla="*/ 205 h 267"/>
                <a:gd name="T32" fmla="*/ 140 w 168"/>
                <a:gd name="T33" fmla="*/ 210 h 267"/>
                <a:gd name="T34" fmla="*/ 132 w 168"/>
                <a:gd name="T35" fmla="*/ 215 h 267"/>
                <a:gd name="T36" fmla="*/ 121 w 168"/>
                <a:gd name="T37" fmla="*/ 234 h 267"/>
                <a:gd name="T38" fmla="*/ 106 w 168"/>
                <a:gd name="T39" fmla="*/ 241 h 267"/>
                <a:gd name="T40" fmla="*/ 90 w 168"/>
                <a:gd name="T41" fmla="*/ 239 h 267"/>
                <a:gd name="T42" fmla="*/ 85 w 168"/>
                <a:gd name="T43" fmla="*/ 241 h 267"/>
                <a:gd name="T44" fmla="*/ 88 w 168"/>
                <a:gd name="T45" fmla="*/ 248 h 267"/>
                <a:gd name="T46" fmla="*/ 78 w 168"/>
                <a:gd name="T47" fmla="*/ 253 h 267"/>
                <a:gd name="T48" fmla="*/ 73 w 168"/>
                <a:gd name="T49" fmla="*/ 260 h 267"/>
                <a:gd name="T50" fmla="*/ 52 w 168"/>
                <a:gd name="T51" fmla="*/ 265 h 267"/>
                <a:gd name="T52" fmla="*/ 47 w 168"/>
                <a:gd name="T53" fmla="*/ 262 h 267"/>
                <a:gd name="T54" fmla="*/ 45 w 168"/>
                <a:gd name="T55" fmla="*/ 262 h 267"/>
                <a:gd name="T56" fmla="*/ 43 w 168"/>
                <a:gd name="T57" fmla="*/ 265 h 267"/>
                <a:gd name="T58" fmla="*/ 28 w 168"/>
                <a:gd name="T59" fmla="*/ 267 h 267"/>
                <a:gd name="T60" fmla="*/ 31 w 168"/>
                <a:gd name="T61" fmla="*/ 262 h 267"/>
                <a:gd name="T62" fmla="*/ 26 w 168"/>
                <a:gd name="T63" fmla="*/ 250 h 267"/>
                <a:gd name="T64" fmla="*/ 24 w 168"/>
                <a:gd name="T65" fmla="*/ 243 h 267"/>
                <a:gd name="T66" fmla="*/ 17 w 168"/>
                <a:gd name="T67" fmla="*/ 241 h 267"/>
                <a:gd name="T68" fmla="*/ 7 w 168"/>
                <a:gd name="T69" fmla="*/ 231 h 267"/>
                <a:gd name="T70" fmla="*/ 9 w 168"/>
                <a:gd name="T71" fmla="*/ 224 h 267"/>
                <a:gd name="T72" fmla="*/ 19 w 168"/>
                <a:gd name="T73" fmla="*/ 227 h 267"/>
                <a:gd name="T74" fmla="*/ 21 w 168"/>
                <a:gd name="T75" fmla="*/ 224 h 267"/>
                <a:gd name="T76" fmla="*/ 31 w 168"/>
                <a:gd name="T77" fmla="*/ 224 h 267"/>
                <a:gd name="T78" fmla="*/ 21 w 168"/>
                <a:gd name="T79" fmla="*/ 210 h 267"/>
                <a:gd name="T80" fmla="*/ 24 w 168"/>
                <a:gd name="T81" fmla="*/ 198 h 267"/>
                <a:gd name="T82" fmla="*/ 21 w 168"/>
                <a:gd name="T83" fmla="*/ 189 h 267"/>
                <a:gd name="T84" fmla="*/ 17 w 168"/>
                <a:gd name="T85" fmla="*/ 177 h 267"/>
                <a:gd name="T86" fmla="*/ 17 w 168"/>
                <a:gd name="T87" fmla="*/ 170 h 267"/>
                <a:gd name="T88" fmla="*/ 7 w 168"/>
                <a:gd name="T89" fmla="*/ 170 h 267"/>
                <a:gd name="T90" fmla="*/ 7 w 168"/>
                <a:gd name="T91" fmla="*/ 158 h 267"/>
                <a:gd name="T92" fmla="*/ 0 w 168"/>
                <a:gd name="T93" fmla="*/ 153 h 267"/>
                <a:gd name="T94" fmla="*/ 7 w 168"/>
                <a:gd name="T95" fmla="*/ 130 h 267"/>
                <a:gd name="T96" fmla="*/ 28 w 168"/>
                <a:gd name="T97" fmla="*/ 116 h 267"/>
                <a:gd name="T98" fmla="*/ 28 w 168"/>
                <a:gd name="T99" fmla="*/ 94 h 267"/>
                <a:gd name="T100" fmla="*/ 36 w 168"/>
                <a:gd name="T101" fmla="*/ 59 h 267"/>
                <a:gd name="T102" fmla="*/ 38 w 168"/>
                <a:gd name="T103" fmla="*/ 52 h 267"/>
                <a:gd name="T104" fmla="*/ 31 w 168"/>
                <a:gd name="T105" fmla="*/ 44 h 267"/>
                <a:gd name="T106" fmla="*/ 31 w 168"/>
                <a:gd name="T107" fmla="*/ 40 h 267"/>
                <a:gd name="T108" fmla="*/ 26 w 168"/>
                <a:gd name="T109" fmla="*/ 35 h 267"/>
                <a:gd name="T110" fmla="*/ 21 w 168"/>
                <a:gd name="T111" fmla="*/ 9 h 267"/>
                <a:gd name="T112" fmla="*/ 38 w 168"/>
                <a:gd name="T113" fmla="*/ 0 h 267"/>
                <a:gd name="T114" fmla="*/ 102 w 168"/>
                <a:gd name="T115" fmla="*/ 33 h 267"/>
                <a:gd name="T116" fmla="*/ 168 w 168"/>
                <a:gd name="T117" fmla="*/ 66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8" h="267">
                  <a:moveTo>
                    <a:pt x="168" y="66"/>
                  </a:moveTo>
                  <a:lnTo>
                    <a:pt x="168" y="66"/>
                  </a:lnTo>
                  <a:lnTo>
                    <a:pt x="168" y="132"/>
                  </a:lnTo>
                  <a:lnTo>
                    <a:pt x="154" y="130"/>
                  </a:lnTo>
                  <a:lnTo>
                    <a:pt x="147" y="144"/>
                  </a:lnTo>
                  <a:lnTo>
                    <a:pt x="142" y="153"/>
                  </a:lnTo>
                  <a:lnTo>
                    <a:pt x="144" y="158"/>
                  </a:lnTo>
                  <a:lnTo>
                    <a:pt x="140" y="163"/>
                  </a:lnTo>
                  <a:lnTo>
                    <a:pt x="142" y="170"/>
                  </a:lnTo>
                  <a:lnTo>
                    <a:pt x="137" y="177"/>
                  </a:lnTo>
                  <a:lnTo>
                    <a:pt x="135" y="182"/>
                  </a:lnTo>
                  <a:lnTo>
                    <a:pt x="142" y="182"/>
                  </a:lnTo>
                  <a:lnTo>
                    <a:pt x="144" y="189"/>
                  </a:lnTo>
                  <a:lnTo>
                    <a:pt x="144" y="196"/>
                  </a:lnTo>
                  <a:lnTo>
                    <a:pt x="151" y="203"/>
                  </a:lnTo>
                  <a:lnTo>
                    <a:pt x="151" y="205"/>
                  </a:lnTo>
                  <a:lnTo>
                    <a:pt x="140" y="210"/>
                  </a:lnTo>
                  <a:lnTo>
                    <a:pt x="132" y="215"/>
                  </a:lnTo>
                  <a:lnTo>
                    <a:pt x="121" y="234"/>
                  </a:lnTo>
                  <a:lnTo>
                    <a:pt x="106" y="241"/>
                  </a:lnTo>
                  <a:lnTo>
                    <a:pt x="90" y="239"/>
                  </a:lnTo>
                  <a:lnTo>
                    <a:pt x="85" y="241"/>
                  </a:lnTo>
                  <a:lnTo>
                    <a:pt x="88" y="248"/>
                  </a:lnTo>
                  <a:lnTo>
                    <a:pt x="78" y="253"/>
                  </a:lnTo>
                  <a:lnTo>
                    <a:pt x="73" y="260"/>
                  </a:lnTo>
                  <a:lnTo>
                    <a:pt x="52" y="265"/>
                  </a:lnTo>
                  <a:lnTo>
                    <a:pt x="47" y="262"/>
                  </a:lnTo>
                  <a:lnTo>
                    <a:pt x="45" y="262"/>
                  </a:lnTo>
                  <a:lnTo>
                    <a:pt x="43" y="265"/>
                  </a:lnTo>
                  <a:lnTo>
                    <a:pt x="28" y="267"/>
                  </a:lnTo>
                  <a:lnTo>
                    <a:pt x="31" y="262"/>
                  </a:lnTo>
                  <a:lnTo>
                    <a:pt x="26" y="250"/>
                  </a:lnTo>
                  <a:lnTo>
                    <a:pt x="24" y="243"/>
                  </a:lnTo>
                  <a:lnTo>
                    <a:pt x="17" y="241"/>
                  </a:lnTo>
                  <a:lnTo>
                    <a:pt x="7" y="231"/>
                  </a:lnTo>
                  <a:lnTo>
                    <a:pt x="9" y="224"/>
                  </a:lnTo>
                  <a:lnTo>
                    <a:pt x="19" y="227"/>
                  </a:lnTo>
                  <a:lnTo>
                    <a:pt x="21" y="224"/>
                  </a:lnTo>
                  <a:lnTo>
                    <a:pt x="31" y="224"/>
                  </a:lnTo>
                  <a:lnTo>
                    <a:pt x="21" y="210"/>
                  </a:lnTo>
                  <a:lnTo>
                    <a:pt x="24" y="198"/>
                  </a:lnTo>
                  <a:lnTo>
                    <a:pt x="21" y="189"/>
                  </a:lnTo>
                  <a:lnTo>
                    <a:pt x="17" y="177"/>
                  </a:lnTo>
                  <a:lnTo>
                    <a:pt x="17" y="170"/>
                  </a:lnTo>
                  <a:lnTo>
                    <a:pt x="7" y="170"/>
                  </a:lnTo>
                  <a:lnTo>
                    <a:pt x="7" y="158"/>
                  </a:lnTo>
                  <a:lnTo>
                    <a:pt x="0" y="153"/>
                  </a:lnTo>
                  <a:lnTo>
                    <a:pt x="7" y="130"/>
                  </a:lnTo>
                  <a:lnTo>
                    <a:pt x="28" y="116"/>
                  </a:lnTo>
                  <a:lnTo>
                    <a:pt x="28" y="94"/>
                  </a:lnTo>
                  <a:lnTo>
                    <a:pt x="36" y="59"/>
                  </a:lnTo>
                  <a:lnTo>
                    <a:pt x="38" y="52"/>
                  </a:lnTo>
                  <a:lnTo>
                    <a:pt x="31" y="44"/>
                  </a:lnTo>
                  <a:lnTo>
                    <a:pt x="31" y="40"/>
                  </a:lnTo>
                  <a:lnTo>
                    <a:pt x="26" y="35"/>
                  </a:lnTo>
                  <a:lnTo>
                    <a:pt x="21" y="9"/>
                  </a:lnTo>
                  <a:lnTo>
                    <a:pt x="38" y="0"/>
                  </a:lnTo>
                  <a:lnTo>
                    <a:pt x="102" y="33"/>
                  </a:lnTo>
                  <a:lnTo>
                    <a:pt x="168" y="66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83" name="Freeform 323">
              <a:extLst>
                <a:ext uri="{FF2B5EF4-FFF2-40B4-BE49-F238E27FC236}">
                  <a16:creationId xmlns:a16="http://schemas.microsoft.com/office/drawing/2014/main" id="{1FC6F9BA-E337-8989-725D-5CB7F66236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32771" y="3322788"/>
              <a:ext cx="40920" cy="18577"/>
            </a:xfrm>
            <a:custGeom>
              <a:avLst/>
              <a:gdLst>
                <a:gd name="T0" fmla="*/ 14 w 38"/>
                <a:gd name="T1" fmla="*/ 12 h 17"/>
                <a:gd name="T2" fmla="*/ 14 w 38"/>
                <a:gd name="T3" fmla="*/ 12 h 17"/>
                <a:gd name="T4" fmla="*/ 2 w 38"/>
                <a:gd name="T5" fmla="*/ 17 h 17"/>
                <a:gd name="T6" fmla="*/ 2 w 38"/>
                <a:gd name="T7" fmla="*/ 12 h 17"/>
                <a:gd name="T8" fmla="*/ 0 w 38"/>
                <a:gd name="T9" fmla="*/ 10 h 17"/>
                <a:gd name="T10" fmla="*/ 2 w 38"/>
                <a:gd name="T11" fmla="*/ 5 h 17"/>
                <a:gd name="T12" fmla="*/ 16 w 38"/>
                <a:gd name="T13" fmla="*/ 3 h 17"/>
                <a:gd name="T14" fmla="*/ 26 w 38"/>
                <a:gd name="T15" fmla="*/ 0 h 17"/>
                <a:gd name="T16" fmla="*/ 33 w 38"/>
                <a:gd name="T17" fmla="*/ 0 h 17"/>
                <a:gd name="T18" fmla="*/ 38 w 38"/>
                <a:gd name="T19" fmla="*/ 0 h 17"/>
                <a:gd name="T20" fmla="*/ 33 w 38"/>
                <a:gd name="T21" fmla="*/ 5 h 17"/>
                <a:gd name="T22" fmla="*/ 14 w 38"/>
                <a:gd name="T23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" h="17">
                  <a:moveTo>
                    <a:pt x="14" y="12"/>
                  </a:moveTo>
                  <a:lnTo>
                    <a:pt x="14" y="12"/>
                  </a:lnTo>
                  <a:lnTo>
                    <a:pt x="2" y="17"/>
                  </a:lnTo>
                  <a:lnTo>
                    <a:pt x="2" y="12"/>
                  </a:lnTo>
                  <a:lnTo>
                    <a:pt x="0" y="10"/>
                  </a:lnTo>
                  <a:lnTo>
                    <a:pt x="2" y="5"/>
                  </a:lnTo>
                  <a:lnTo>
                    <a:pt x="16" y="3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8" y="0"/>
                  </a:lnTo>
                  <a:lnTo>
                    <a:pt x="33" y="5"/>
                  </a:lnTo>
                  <a:lnTo>
                    <a:pt x="14" y="1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84" name="Freeform 325">
              <a:extLst>
                <a:ext uri="{FF2B5EF4-FFF2-40B4-BE49-F238E27FC236}">
                  <a16:creationId xmlns:a16="http://schemas.microsoft.com/office/drawing/2014/main" id="{6F8CA315-E26B-EF2B-2E86-375523877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8784594" y="2467109"/>
              <a:ext cx="68919" cy="149717"/>
            </a:xfrm>
            <a:custGeom>
              <a:avLst/>
              <a:gdLst>
                <a:gd name="T0" fmla="*/ 43 w 64"/>
                <a:gd name="T1" fmla="*/ 2 h 137"/>
                <a:gd name="T2" fmla="*/ 43 w 64"/>
                <a:gd name="T3" fmla="*/ 2 h 137"/>
                <a:gd name="T4" fmla="*/ 43 w 64"/>
                <a:gd name="T5" fmla="*/ 14 h 137"/>
                <a:gd name="T6" fmla="*/ 57 w 64"/>
                <a:gd name="T7" fmla="*/ 7 h 137"/>
                <a:gd name="T8" fmla="*/ 57 w 64"/>
                <a:gd name="T9" fmla="*/ 9 h 137"/>
                <a:gd name="T10" fmla="*/ 50 w 64"/>
                <a:gd name="T11" fmla="*/ 21 h 137"/>
                <a:gd name="T12" fmla="*/ 50 w 64"/>
                <a:gd name="T13" fmla="*/ 28 h 137"/>
                <a:gd name="T14" fmla="*/ 54 w 64"/>
                <a:gd name="T15" fmla="*/ 33 h 137"/>
                <a:gd name="T16" fmla="*/ 52 w 64"/>
                <a:gd name="T17" fmla="*/ 52 h 137"/>
                <a:gd name="T18" fmla="*/ 43 w 64"/>
                <a:gd name="T19" fmla="*/ 61 h 137"/>
                <a:gd name="T20" fmla="*/ 45 w 64"/>
                <a:gd name="T21" fmla="*/ 71 h 137"/>
                <a:gd name="T22" fmla="*/ 54 w 64"/>
                <a:gd name="T23" fmla="*/ 71 h 137"/>
                <a:gd name="T24" fmla="*/ 57 w 64"/>
                <a:gd name="T25" fmla="*/ 80 h 137"/>
                <a:gd name="T26" fmla="*/ 64 w 64"/>
                <a:gd name="T27" fmla="*/ 85 h 137"/>
                <a:gd name="T28" fmla="*/ 62 w 64"/>
                <a:gd name="T29" fmla="*/ 99 h 137"/>
                <a:gd name="T30" fmla="*/ 54 w 64"/>
                <a:gd name="T31" fmla="*/ 104 h 137"/>
                <a:gd name="T32" fmla="*/ 50 w 64"/>
                <a:gd name="T33" fmla="*/ 109 h 137"/>
                <a:gd name="T34" fmla="*/ 38 w 64"/>
                <a:gd name="T35" fmla="*/ 118 h 137"/>
                <a:gd name="T36" fmla="*/ 40 w 64"/>
                <a:gd name="T37" fmla="*/ 125 h 137"/>
                <a:gd name="T38" fmla="*/ 38 w 64"/>
                <a:gd name="T39" fmla="*/ 132 h 137"/>
                <a:gd name="T40" fmla="*/ 31 w 64"/>
                <a:gd name="T41" fmla="*/ 137 h 137"/>
                <a:gd name="T42" fmla="*/ 24 w 64"/>
                <a:gd name="T43" fmla="*/ 104 h 137"/>
                <a:gd name="T44" fmla="*/ 14 w 64"/>
                <a:gd name="T45" fmla="*/ 97 h 137"/>
                <a:gd name="T46" fmla="*/ 14 w 64"/>
                <a:gd name="T47" fmla="*/ 92 h 137"/>
                <a:gd name="T48" fmla="*/ 2 w 64"/>
                <a:gd name="T49" fmla="*/ 80 h 137"/>
                <a:gd name="T50" fmla="*/ 0 w 64"/>
                <a:gd name="T51" fmla="*/ 66 h 137"/>
                <a:gd name="T52" fmla="*/ 10 w 64"/>
                <a:gd name="T53" fmla="*/ 54 h 137"/>
                <a:gd name="T54" fmla="*/ 14 w 64"/>
                <a:gd name="T55" fmla="*/ 38 h 137"/>
                <a:gd name="T56" fmla="*/ 10 w 64"/>
                <a:gd name="T57" fmla="*/ 19 h 137"/>
                <a:gd name="T58" fmla="*/ 14 w 64"/>
                <a:gd name="T59" fmla="*/ 9 h 137"/>
                <a:gd name="T60" fmla="*/ 33 w 64"/>
                <a:gd name="T61" fmla="*/ 0 h 137"/>
                <a:gd name="T62" fmla="*/ 43 w 64"/>
                <a:gd name="T63" fmla="*/ 2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4" h="137">
                  <a:moveTo>
                    <a:pt x="43" y="2"/>
                  </a:moveTo>
                  <a:lnTo>
                    <a:pt x="43" y="2"/>
                  </a:lnTo>
                  <a:lnTo>
                    <a:pt x="43" y="14"/>
                  </a:lnTo>
                  <a:lnTo>
                    <a:pt x="57" y="7"/>
                  </a:lnTo>
                  <a:lnTo>
                    <a:pt x="57" y="9"/>
                  </a:lnTo>
                  <a:lnTo>
                    <a:pt x="50" y="21"/>
                  </a:lnTo>
                  <a:lnTo>
                    <a:pt x="50" y="28"/>
                  </a:lnTo>
                  <a:lnTo>
                    <a:pt x="54" y="33"/>
                  </a:lnTo>
                  <a:lnTo>
                    <a:pt x="52" y="52"/>
                  </a:lnTo>
                  <a:lnTo>
                    <a:pt x="43" y="61"/>
                  </a:lnTo>
                  <a:lnTo>
                    <a:pt x="45" y="71"/>
                  </a:lnTo>
                  <a:lnTo>
                    <a:pt x="54" y="71"/>
                  </a:lnTo>
                  <a:lnTo>
                    <a:pt x="57" y="80"/>
                  </a:lnTo>
                  <a:lnTo>
                    <a:pt x="64" y="85"/>
                  </a:lnTo>
                  <a:lnTo>
                    <a:pt x="62" y="99"/>
                  </a:lnTo>
                  <a:lnTo>
                    <a:pt x="54" y="104"/>
                  </a:lnTo>
                  <a:lnTo>
                    <a:pt x="50" y="109"/>
                  </a:lnTo>
                  <a:lnTo>
                    <a:pt x="38" y="118"/>
                  </a:lnTo>
                  <a:lnTo>
                    <a:pt x="40" y="125"/>
                  </a:lnTo>
                  <a:lnTo>
                    <a:pt x="38" y="132"/>
                  </a:lnTo>
                  <a:lnTo>
                    <a:pt x="31" y="137"/>
                  </a:lnTo>
                  <a:lnTo>
                    <a:pt x="24" y="104"/>
                  </a:lnTo>
                  <a:lnTo>
                    <a:pt x="14" y="97"/>
                  </a:lnTo>
                  <a:lnTo>
                    <a:pt x="14" y="92"/>
                  </a:lnTo>
                  <a:lnTo>
                    <a:pt x="2" y="80"/>
                  </a:lnTo>
                  <a:lnTo>
                    <a:pt x="0" y="66"/>
                  </a:lnTo>
                  <a:lnTo>
                    <a:pt x="10" y="54"/>
                  </a:lnTo>
                  <a:lnTo>
                    <a:pt x="14" y="38"/>
                  </a:lnTo>
                  <a:lnTo>
                    <a:pt x="10" y="19"/>
                  </a:lnTo>
                  <a:lnTo>
                    <a:pt x="14" y="9"/>
                  </a:lnTo>
                  <a:lnTo>
                    <a:pt x="33" y="0"/>
                  </a:lnTo>
                  <a:lnTo>
                    <a:pt x="43" y="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85" name="Freeform 327">
              <a:extLst>
                <a:ext uri="{FF2B5EF4-FFF2-40B4-BE49-F238E27FC236}">
                  <a16:creationId xmlns:a16="http://schemas.microsoft.com/office/drawing/2014/main" id="{BC67C082-3BE7-C0BC-5642-451127D6F8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07649" y="2357827"/>
              <a:ext cx="326289" cy="143160"/>
            </a:xfrm>
            <a:custGeom>
              <a:avLst/>
              <a:gdLst>
                <a:gd name="T0" fmla="*/ 175 w 303"/>
                <a:gd name="T1" fmla="*/ 19 h 131"/>
                <a:gd name="T2" fmla="*/ 218 w 303"/>
                <a:gd name="T3" fmla="*/ 24 h 131"/>
                <a:gd name="T4" fmla="*/ 251 w 303"/>
                <a:gd name="T5" fmla="*/ 15 h 131"/>
                <a:gd name="T6" fmla="*/ 284 w 303"/>
                <a:gd name="T7" fmla="*/ 24 h 131"/>
                <a:gd name="T8" fmla="*/ 284 w 303"/>
                <a:gd name="T9" fmla="*/ 41 h 131"/>
                <a:gd name="T10" fmla="*/ 303 w 303"/>
                <a:gd name="T11" fmla="*/ 52 h 131"/>
                <a:gd name="T12" fmla="*/ 296 w 303"/>
                <a:gd name="T13" fmla="*/ 83 h 131"/>
                <a:gd name="T14" fmla="*/ 301 w 303"/>
                <a:gd name="T15" fmla="*/ 105 h 131"/>
                <a:gd name="T16" fmla="*/ 289 w 303"/>
                <a:gd name="T17" fmla="*/ 102 h 131"/>
                <a:gd name="T18" fmla="*/ 263 w 303"/>
                <a:gd name="T19" fmla="*/ 105 h 131"/>
                <a:gd name="T20" fmla="*/ 237 w 303"/>
                <a:gd name="T21" fmla="*/ 107 h 131"/>
                <a:gd name="T22" fmla="*/ 204 w 303"/>
                <a:gd name="T23" fmla="*/ 114 h 131"/>
                <a:gd name="T24" fmla="*/ 178 w 303"/>
                <a:gd name="T25" fmla="*/ 116 h 131"/>
                <a:gd name="T26" fmla="*/ 171 w 303"/>
                <a:gd name="T27" fmla="*/ 123 h 131"/>
                <a:gd name="T28" fmla="*/ 164 w 303"/>
                <a:gd name="T29" fmla="*/ 131 h 131"/>
                <a:gd name="T30" fmla="*/ 164 w 303"/>
                <a:gd name="T31" fmla="*/ 114 h 131"/>
                <a:gd name="T32" fmla="*/ 140 w 303"/>
                <a:gd name="T33" fmla="*/ 112 h 131"/>
                <a:gd name="T34" fmla="*/ 105 w 303"/>
                <a:gd name="T35" fmla="*/ 126 h 131"/>
                <a:gd name="T36" fmla="*/ 74 w 303"/>
                <a:gd name="T37" fmla="*/ 114 h 131"/>
                <a:gd name="T38" fmla="*/ 60 w 303"/>
                <a:gd name="T39" fmla="*/ 126 h 131"/>
                <a:gd name="T40" fmla="*/ 26 w 303"/>
                <a:gd name="T41" fmla="*/ 114 h 131"/>
                <a:gd name="T42" fmla="*/ 5 w 303"/>
                <a:gd name="T43" fmla="*/ 83 h 131"/>
                <a:gd name="T44" fmla="*/ 0 w 303"/>
                <a:gd name="T45" fmla="*/ 57 h 131"/>
                <a:gd name="T46" fmla="*/ 45 w 303"/>
                <a:gd name="T47" fmla="*/ 36 h 131"/>
                <a:gd name="T48" fmla="*/ 83 w 303"/>
                <a:gd name="T49" fmla="*/ 24 h 131"/>
                <a:gd name="T50" fmla="*/ 121 w 303"/>
                <a:gd name="T51" fmla="*/ 5 h 131"/>
                <a:gd name="T52" fmla="*/ 175 w 303"/>
                <a:gd name="T53" fmla="*/ 19 h 131"/>
                <a:gd name="T54" fmla="*/ 17 w 303"/>
                <a:gd name="T55" fmla="*/ 31 h 131"/>
                <a:gd name="T56" fmla="*/ 0 w 303"/>
                <a:gd name="T57" fmla="*/ 34 h 131"/>
                <a:gd name="T58" fmla="*/ 3 w 303"/>
                <a:gd name="T59" fmla="*/ 26 h 131"/>
                <a:gd name="T60" fmla="*/ 0 w 303"/>
                <a:gd name="T61" fmla="*/ 7 h 131"/>
                <a:gd name="T62" fmla="*/ 31 w 303"/>
                <a:gd name="T63" fmla="*/ 5 h 131"/>
                <a:gd name="T64" fmla="*/ 48 w 303"/>
                <a:gd name="T65" fmla="*/ 19 h 131"/>
                <a:gd name="T66" fmla="*/ 24 w 303"/>
                <a:gd name="T67" fmla="*/ 2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3" h="131">
                  <a:moveTo>
                    <a:pt x="175" y="19"/>
                  </a:moveTo>
                  <a:lnTo>
                    <a:pt x="175" y="19"/>
                  </a:lnTo>
                  <a:lnTo>
                    <a:pt x="199" y="26"/>
                  </a:lnTo>
                  <a:lnTo>
                    <a:pt x="218" y="24"/>
                  </a:lnTo>
                  <a:lnTo>
                    <a:pt x="232" y="24"/>
                  </a:lnTo>
                  <a:lnTo>
                    <a:pt x="251" y="15"/>
                  </a:lnTo>
                  <a:lnTo>
                    <a:pt x="268" y="12"/>
                  </a:lnTo>
                  <a:lnTo>
                    <a:pt x="284" y="24"/>
                  </a:lnTo>
                  <a:lnTo>
                    <a:pt x="287" y="31"/>
                  </a:lnTo>
                  <a:lnTo>
                    <a:pt x="284" y="41"/>
                  </a:lnTo>
                  <a:lnTo>
                    <a:pt x="296" y="45"/>
                  </a:lnTo>
                  <a:lnTo>
                    <a:pt x="303" y="52"/>
                  </a:lnTo>
                  <a:lnTo>
                    <a:pt x="291" y="60"/>
                  </a:lnTo>
                  <a:lnTo>
                    <a:pt x="296" y="83"/>
                  </a:lnTo>
                  <a:lnTo>
                    <a:pt x="294" y="88"/>
                  </a:lnTo>
                  <a:lnTo>
                    <a:pt x="301" y="105"/>
                  </a:lnTo>
                  <a:lnTo>
                    <a:pt x="296" y="107"/>
                  </a:lnTo>
                  <a:lnTo>
                    <a:pt x="289" y="102"/>
                  </a:lnTo>
                  <a:lnTo>
                    <a:pt x="270" y="100"/>
                  </a:lnTo>
                  <a:lnTo>
                    <a:pt x="263" y="105"/>
                  </a:lnTo>
                  <a:lnTo>
                    <a:pt x="244" y="107"/>
                  </a:lnTo>
                  <a:lnTo>
                    <a:pt x="237" y="107"/>
                  </a:lnTo>
                  <a:lnTo>
                    <a:pt x="218" y="114"/>
                  </a:lnTo>
                  <a:lnTo>
                    <a:pt x="204" y="114"/>
                  </a:lnTo>
                  <a:lnTo>
                    <a:pt x="197" y="109"/>
                  </a:lnTo>
                  <a:lnTo>
                    <a:pt x="178" y="116"/>
                  </a:lnTo>
                  <a:lnTo>
                    <a:pt x="173" y="112"/>
                  </a:lnTo>
                  <a:lnTo>
                    <a:pt x="171" y="123"/>
                  </a:lnTo>
                  <a:lnTo>
                    <a:pt x="168" y="126"/>
                  </a:lnTo>
                  <a:lnTo>
                    <a:pt x="164" y="131"/>
                  </a:lnTo>
                  <a:lnTo>
                    <a:pt x="157" y="123"/>
                  </a:lnTo>
                  <a:lnTo>
                    <a:pt x="164" y="114"/>
                  </a:lnTo>
                  <a:lnTo>
                    <a:pt x="154" y="116"/>
                  </a:lnTo>
                  <a:lnTo>
                    <a:pt x="140" y="112"/>
                  </a:lnTo>
                  <a:lnTo>
                    <a:pt x="128" y="123"/>
                  </a:lnTo>
                  <a:lnTo>
                    <a:pt x="105" y="126"/>
                  </a:lnTo>
                  <a:lnTo>
                    <a:pt x="90" y="114"/>
                  </a:lnTo>
                  <a:lnTo>
                    <a:pt x="74" y="114"/>
                  </a:lnTo>
                  <a:lnTo>
                    <a:pt x="69" y="123"/>
                  </a:lnTo>
                  <a:lnTo>
                    <a:pt x="60" y="126"/>
                  </a:lnTo>
                  <a:lnTo>
                    <a:pt x="43" y="114"/>
                  </a:lnTo>
                  <a:lnTo>
                    <a:pt x="26" y="114"/>
                  </a:lnTo>
                  <a:lnTo>
                    <a:pt x="15" y="95"/>
                  </a:lnTo>
                  <a:lnTo>
                    <a:pt x="5" y="83"/>
                  </a:lnTo>
                  <a:lnTo>
                    <a:pt x="12" y="67"/>
                  </a:lnTo>
                  <a:lnTo>
                    <a:pt x="0" y="57"/>
                  </a:lnTo>
                  <a:lnTo>
                    <a:pt x="19" y="38"/>
                  </a:lnTo>
                  <a:lnTo>
                    <a:pt x="45" y="36"/>
                  </a:lnTo>
                  <a:lnTo>
                    <a:pt x="50" y="22"/>
                  </a:lnTo>
                  <a:lnTo>
                    <a:pt x="83" y="24"/>
                  </a:lnTo>
                  <a:lnTo>
                    <a:pt x="102" y="10"/>
                  </a:lnTo>
                  <a:lnTo>
                    <a:pt x="121" y="5"/>
                  </a:lnTo>
                  <a:lnTo>
                    <a:pt x="147" y="3"/>
                  </a:lnTo>
                  <a:lnTo>
                    <a:pt x="175" y="19"/>
                  </a:lnTo>
                  <a:close/>
                  <a:moveTo>
                    <a:pt x="17" y="31"/>
                  </a:moveTo>
                  <a:lnTo>
                    <a:pt x="17" y="31"/>
                  </a:lnTo>
                  <a:lnTo>
                    <a:pt x="5" y="43"/>
                  </a:lnTo>
                  <a:lnTo>
                    <a:pt x="0" y="34"/>
                  </a:lnTo>
                  <a:lnTo>
                    <a:pt x="0" y="29"/>
                  </a:lnTo>
                  <a:lnTo>
                    <a:pt x="3" y="26"/>
                  </a:lnTo>
                  <a:lnTo>
                    <a:pt x="10" y="12"/>
                  </a:lnTo>
                  <a:lnTo>
                    <a:pt x="0" y="7"/>
                  </a:lnTo>
                  <a:lnTo>
                    <a:pt x="17" y="0"/>
                  </a:lnTo>
                  <a:lnTo>
                    <a:pt x="31" y="5"/>
                  </a:lnTo>
                  <a:lnTo>
                    <a:pt x="34" y="12"/>
                  </a:lnTo>
                  <a:lnTo>
                    <a:pt x="48" y="19"/>
                  </a:lnTo>
                  <a:lnTo>
                    <a:pt x="45" y="24"/>
                  </a:lnTo>
                  <a:lnTo>
                    <a:pt x="24" y="24"/>
                  </a:lnTo>
                  <a:lnTo>
                    <a:pt x="17" y="31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86" name="Freeform 329">
              <a:extLst>
                <a:ext uri="{FF2B5EF4-FFF2-40B4-BE49-F238E27FC236}">
                  <a16:creationId xmlns:a16="http://schemas.microsoft.com/office/drawing/2014/main" id="{D906F514-AB26-B90A-EC79-63EE12CACA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48777" y="2715179"/>
              <a:ext cx="30153" cy="64476"/>
            </a:xfrm>
            <a:custGeom>
              <a:avLst/>
              <a:gdLst>
                <a:gd name="T0" fmla="*/ 16 w 28"/>
                <a:gd name="T1" fmla="*/ 45 h 59"/>
                <a:gd name="T2" fmla="*/ 16 w 28"/>
                <a:gd name="T3" fmla="*/ 45 h 59"/>
                <a:gd name="T4" fmla="*/ 9 w 28"/>
                <a:gd name="T5" fmla="*/ 59 h 59"/>
                <a:gd name="T6" fmla="*/ 0 w 28"/>
                <a:gd name="T7" fmla="*/ 45 h 59"/>
                <a:gd name="T8" fmla="*/ 0 w 28"/>
                <a:gd name="T9" fmla="*/ 31 h 59"/>
                <a:gd name="T10" fmla="*/ 9 w 28"/>
                <a:gd name="T11" fmla="*/ 14 h 59"/>
                <a:gd name="T12" fmla="*/ 21 w 28"/>
                <a:gd name="T13" fmla="*/ 0 h 59"/>
                <a:gd name="T14" fmla="*/ 28 w 28"/>
                <a:gd name="T15" fmla="*/ 7 h 59"/>
                <a:gd name="T16" fmla="*/ 26 w 28"/>
                <a:gd name="T17" fmla="*/ 17 h 59"/>
                <a:gd name="T18" fmla="*/ 16 w 28"/>
                <a:gd name="T19" fmla="*/ 45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59">
                  <a:moveTo>
                    <a:pt x="16" y="45"/>
                  </a:moveTo>
                  <a:lnTo>
                    <a:pt x="16" y="45"/>
                  </a:lnTo>
                  <a:lnTo>
                    <a:pt x="9" y="59"/>
                  </a:lnTo>
                  <a:lnTo>
                    <a:pt x="0" y="45"/>
                  </a:lnTo>
                  <a:lnTo>
                    <a:pt x="0" y="31"/>
                  </a:lnTo>
                  <a:lnTo>
                    <a:pt x="9" y="14"/>
                  </a:lnTo>
                  <a:lnTo>
                    <a:pt x="21" y="0"/>
                  </a:lnTo>
                  <a:lnTo>
                    <a:pt x="28" y="7"/>
                  </a:lnTo>
                  <a:lnTo>
                    <a:pt x="26" y="17"/>
                  </a:lnTo>
                  <a:lnTo>
                    <a:pt x="16" y="4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87" name="Freeform 335">
              <a:extLst>
                <a:ext uri="{FF2B5EF4-FFF2-40B4-BE49-F238E27FC236}">
                  <a16:creationId xmlns:a16="http://schemas.microsoft.com/office/drawing/2014/main" id="{F6876A49-0169-2BFB-C448-60A3636915C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39808" y="2094456"/>
              <a:ext cx="313366" cy="212007"/>
            </a:xfrm>
            <a:custGeom>
              <a:avLst/>
              <a:gdLst>
                <a:gd name="T0" fmla="*/ 189 w 291"/>
                <a:gd name="T1" fmla="*/ 0 h 194"/>
                <a:gd name="T2" fmla="*/ 194 w 291"/>
                <a:gd name="T3" fmla="*/ 19 h 194"/>
                <a:gd name="T4" fmla="*/ 208 w 291"/>
                <a:gd name="T5" fmla="*/ 28 h 194"/>
                <a:gd name="T6" fmla="*/ 215 w 291"/>
                <a:gd name="T7" fmla="*/ 45 h 194"/>
                <a:gd name="T8" fmla="*/ 248 w 291"/>
                <a:gd name="T9" fmla="*/ 50 h 194"/>
                <a:gd name="T10" fmla="*/ 267 w 291"/>
                <a:gd name="T11" fmla="*/ 61 h 194"/>
                <a:gd name="T12" fmla="*/ 291 w 291"/>
                <a:gd name="T13" fmla="*/ 76 h 194"/>
                <a:gd name="T14" fmla="*/ 288 w 291"/>
                <a:gd name="T15" fmla="*/ 102 h 194"/>
                <a:gd name="T16" fmla="*/ 269 w 291"/>
                <a:gd name="T17" fmla="*/ 111 h 194"/>
                <a:gd name="T18" fmla="*/ 262 w 291"/>
                <a:gd name="T19" fmla="*/ 130 h 194"/>
                <a:gd name="T20" fmla="*/ 236 w 291"/>
                <a:gd name="T21" fmla="*/ 140 h 194"/>
                <a:gd name="T22" fmla="*/ 208 w 291"/>
                <a:gd name="T23" fmla="*/ 149 h 194"/>
                <a:gd name="T24" fmla="*/ 217 w 291"/>
                <a:gd name="T25" fmla="*/ 170 h 194"/>
                <a:gd name="T26" fmla="*/ 231 w 291"/>
                <a:gd name="T27" fmla="*/ 175 h 194"/>
                <a:gd name="T28" fmla="*/ 191 w 291"/>
                <a:gd name="T29" fmla="*/ 194 h 194"/>
                <a:gd name="T30" fmla="*/ 184 w 291"/>
                <a:gd name="T31" fmla="*/ 177 h 194"/>
                <a:gd name="T32" fmla="*/ 170 w 291"/>
                <a:gd name="T33" fmla="*/ 166 h 194"/>
                <a:gd name="T34" fmla="*/ 182 w 291"/>
                <a:gd name="T35" fmla="*/ 154 h 194"/>
                <a:gd name="T36" fmla="*/ 156 w 291"/>
                <a:gd name="T37" fmla="*/ 140 h 194"/>
                <a:gd name="T38" fmla="*/ 132 w 291"/>
                <a:gd name="T39" fmla="*/ 154 h 194"/>
                <a:gd name="T40" fmla="*/ 113 w 291"/>
                <a:gd name="T41" fmla="*/ 168 h 194"/>
                <a:gd name="T42" fmla="*/ 99 w 291"/>
                <a:gd name="T43" fmla="*/ 168 h 194"/>
                <a:gd name="T44" fmla="*/ 106 w 291"/>
                <a:gd name="T45" fmla="*/ 156 h 194"/>
                <a:gd name="T46" fmla="*/ 108 w 291"/>
                <a:gd name="T47" fmla="*/ 144 h 194"/>
                <a:gd name="T48" fmla="*/ 113 w 291"/>
                <a:gd name="T49" fmla="*/ 147 h 194"/>
                <a:gd name="T50" fmla="*/ 127 w 291"/>
                <a:gd name="T51" fmla="*/ 144 h 194"/>
                <a:gd name="T52" fmla="*/ 127 w 291"/>
                <a:gd name="T53" fmla="*/ 140 h 194"/>
                <a:gd name="T54" fmla="*/ 118 w 291"/>
                <a:gd name="T55" fmla="*/ 123 h 194"/>
                <a:gd name="T56" fmla="*/ 113 w 291"/>
                <a:gd name="T57" fmla="*/ 111 h 194"/>
                <a:gd name="T58" fmla="*/ 99 w 291"/>
                <a:gd name="T59" fmla="*/ 104 h 194"/>
                <a:gd name="T60" fmla="*/ 75 w 291"/>
                <a:gd name="T61" fmla="*/ 99 h 194"/>
                <a:gd name="T62" fmla="*/ 66 w 291"/>
                <a:gd name="T63" fmla="*/ 104 h 194"/>
                <a:gd name="T64" fmla="*/ 49 w 291"/>
                <a:gd name="T65" fmla="*/ 111 h 194"/>
                <a:gd name="T66" fmla="*/ 37 w 291"/>
                <a:gd name="T67" fmla="*/ 109 h 194"/>
                <a:gd name="T68" fmla="*/ 16 w 291"/>
                <a:gd name="T69" fmla="*/ 106 h 194"/>
                <a:gd name="T70" fmla="*/ 9 w 291"/>
                <a:gd name="T71" fmla="*/ 104 h 194"/>
                <a:gd name="T72" fmla="*/ 2 w 291"/>
                <a:gd name="T73" fmla="*/ 88 h 194"/>
                <a:gd name="T74" fmla="*/ 11 w 291"/>
                <a:gd name="T75" fmla="*/ 83 h 194"/>
                <a:gd name="T76" fmla="*/ 21 w 291"/>
                <a:gd name="T77" fmla="*/ 52 h 194"/>
                <a:gd name="T78" fmla="*/ 30 w 291"/>
                <a:gd name="T79" fmla="*/ 43 h 194"/>
                <a:gd name="T80" fmla="*/ 30 w 291"/>
                <a:gd name="T81" fmla="*/ 19 h 194"/>
                <a:gd name="T82" fmla="*/ 52 w 291"/>
                <a:gd name="T83" fmla="*/ 9 h 194"/>
                <a:gd name="T84" fmla="*/ 87 w 291"/>
                <a:gd name="T85" fmla="*/ 19 h 194"/>
                <a:gd name="T86" fmla="*/ 104 w 291"/>
                <a:gd name="T87" fmla="*/ 24 h 194"/>
                <a:gd name="T88" fmla="*/ 115 w 291"/>
                <a:gd name="T89" fmla="*/ 24 h 194"/>
                <a:gd name="T90" fmla="*/ 137 w 291"/>
                <a:gd name="T91" fmla="*/ 26 h 194"/>
                <a:gd name="T92" fmla="*/ 142 w 291"/>
                <a:gd name="T93" fmla="*/ 7 h 194"/>
                <a:gd name="T94" fmla="*/ 163 w 291"/>
                <a:gd name="T95" fmla="*/ 7 h 194"/>
                <a:gd name="T96" fmla="*/ 172 w 291"/>
                <a:gd name="T97" fmla="*/ 0 h 194"/>
                <a:gd name="connsiteX0" fmla="*/ 6495 w 10000"/>
                <a:gd name="connsiteY0" fmla="*/ 0 h 10000"/>
                <a:gd name="connsiteX1" fmla="*/ 6495 w 10000"/>
                <a:gd name="connsiteY1" fmla="*/ 0 h 10000"/>
                <a:gd name="connsiteX2" fmla="*/ 6804 w 10000"/>
                <a:gd name="connsiteY2" fmla="*/ 722 h 10000"/>
                <a:gd name="connsiteX3" fmla="*/ 6667 w 10000"/>
                <a:gd name="connsiteY3" fmla="*/ 979 h 10000"/>
                <a:gd name="connsiteX4" fmla="*/ 6735 w 10000"/>
                <a:gd name="connsiteY4" fmla="*/ 1340 h 10000"/>
                <a:gd name="connsiteX5" fmla="*/ 7148 w 10000"/>
                <a:gd name="connsiteY5" fmla="*/ 1443 h 10000"/>
                <a:gd name="connsiteX6" fmla="*/ 7388 w 10000"/>
                <a:gd name="connsiteY6" fmla="*/ 2062 h 10000"/>
                <a:gd name="connsiteX7" fmla="*/ 7388 w 10000"/>
                <a:gd name="connsiteY7" fmla="*/ 2320 h 10000"/>
                <a:gd name="connsiteX8" fmla="*/ 8041 w 10000"/>
                <a:gd name="connsiteY8" fmla="*/ 2784 h 10000"/>
                <a:gd name="connsiteX9" fmla="*/ 8522 w 10000"/>
                <a:gd name="connsiteY9" fmla="*/ 2577 h 10000"/>
                <a:gd name="connsiteX10" fmla="*/ 8832 w 10000"/>
                <a:gd name="connsiteY10" fmla="*/ 3144 h 10000"/>
                <a:gd name="connsiteX11" fmla="*/ 9175 w 10000"/>
                <a:gd name="connsiteY11" fmla="*/ 3144 h 10000"/>
                <a:gd name="connsiteX12" fmla="*/ 10000 w 10000"/>
                <a:gd name="connsiteY12" fmla="*/ 3557 h 10000"/>
                <a:gd name="connsiteX13" fmla="*/ 10000 w 10000"/>
                <a:gd name="connsiteY13" fmla="*/ 3918 h 10000"/>
                <a:gd name="connsiteX14" fmla="*/ 9725 w 10000"/>
                <a:gd name="connsiteY14" fmla="*/ 4536 h 10000"/>
                <a:gd name="connsiteX15" fmla="*/ 9897 w 10000"/>
                <a:gd name="connsiteY15" fmla="*/ 5258 h 10000"/>
                <a:gd name="connsiteX16" fmla="*/ 9828 w 10000"/>
                <a:gd name="connsiteY16" fmla="*/ 5722 h 10000"/>
                <a:gd name="connsiteX17" fmla="*/ 9244 w 10000"/>
                <a:gd name="connsiteY17" fmla="*/ 5722 h 10000"/>
                <a:gd name="connsiteX18" fmla="*/ 9111 w 10000"/>
                <a:gd name="connsiteY18" fmla="*/ 6406 h 10000"/>
                <a:gd name="connsiteX19" fmla="*/ 9003 w 10000"/>
                <a:gd name="connsiteY19" fmla="*/ 6701 h 10000"/>
                <a:gd name="connsiteX20" fmla="*/ 8522 w 10000"/>
                <a:gd name="connsiteY20" fmla="*/ 6804 h 10000"/>
                <a:gd name="connsiteX21" fmla="*/ 8110 w 10000"/>
                <a:gd name="connsiteY21" fmla="*/ 7216 h 10000"/>
                <a:gd name="connsiteX22" fmla="*/ 7629 w 10000"/>
                <a:gd name="connsiteY22" fmla="*/ 7216 h 10000"/>
                <a:gd name="connsiteX23" fmla="*/ 7148 w 10000"/>
                <a:gd name="connsiteY23" fmla="*/ 7680 h 10000"/>
                <a:gd name="connsiteX24" fmla="*/ 7148 w 10000"/>
                <a:gd name="connsiteY24" fmla="*/ 8402 h 10000"/>
                <a:gd name="connsiteX25" fmla="*/ 7457 w 10000"/>
                <a:gd name="connsiteY25" fmla="*/ 8763 h 10000"/>
                <a:gd name="connsiteX26" fmla="*/ 8041 w 10000"/>
                <a:gd name="connsiteY26" fmla="*/ 8660 h 10000"/>
                <a:gd name="connsiteX27" fmla="*/ 7938 w 10000"/>
                <a:gd name="connsiteY27" fmla="*/ 9021 h 10000"/>
                <a:gd name="connsiteX28" fmla="*/ 7285 w 10000"/>
                <a:gd name="connsiteY28" fmla="*/ 9278 h 10000"/>
                <a:gd name="connsiteX29" fmla="*/ 6564 w 10000"/>
                <a:gd name="connsiteY29" fmla="*/ 10000 h 10000"/>
                <a:gd name="connsiteX30" fmla="*/ 6254 w 10000"/>
                <a:gd name="connsiteY30" fmla="*/ 9639 h 10000"/>
                <a:gd name="connsiteX31" fmla="*/ 6323 w 10000"/>
                <a:gd name="connsiteY31" fmla="*/ 9124 h 10000"/>
                <a:gd name="connsiteX32" fmla="*/ 5773 w 10000"/>
                <a:gd name="connsiteY32" fmla="*/ 8763 h 10000"/>
                <a:gd name="connsiteX33" fmla="*/ 5842 w 10000"/>
                <a:gd name="connsiteY33" fmla="*/ 8557 h 10000"/>
                <a:gd name="connsiteX34" fmla="*/ 6323 w 10000"/>
                <a:gd name="connsiteY34" fmla="*/ 8196 h 10000"/>
                <a:gd name="connsiteX35" fmla="*/ 6254 w 10000"/>
                <a:gd name="connsiteY35" fmla="*/ 7938 h 10000"/>
                <a:gd name="connsiteX36" fmla="*/ 5361 w 10000"/>
                <a:gd name="connsiteY36" fmla="*/ 7577 h 10000"/>
                <a:gd name="connsiteX37" fmla="*/ 5361 w 10000"/>
                <a:gd name="connsiteY37" fmla="*/ 7216 h 10000"/>
                <a:gd name="connsiteX38" fmla="*/ 4777 w 10000"/>
                <a:gd name="connsiteY38" fmla="*/ 7320 h 10000"/>
                <a:gd name="connsiteX39" fmla="*/ 4536 w 10000"/>
                <a:gd name="connsiteY39" fmla="*/ 7938 h 10000"/>
                <a:gd name="connsiteX40" fmla="*/ 4124 w 10000"/>
                <a:gd name="connsiteY40" fmla="*/ 8918 h 10000"/>
                <a:gd name="connsiteX41" fmla="*/ 3883 w 10000"/>
                <a:gd name="connsiteY41" fmla="*/ 8660 h 10000"/>
                <a:gd name="connsiteX42" fmla="*/ 3643 w 10000"/>
                <a:gd name="connsiteY42" fmla="*/ 8763 h 10000"/>
                <a:gd name="connsiteX43" fmla="*/ 3402 w 10000"/>
                <a:gd name="connsiteY43" fmla="*/ 8660 h 10000"/>
                <a:gd name="connsiteX44" fmla="*/ 3471 w 10000"/>
                <a:gd name="connsiteY44" fmla="*/ 8557 h 10000"/>
                <a:gd name="connsiteX45" fmla="*/ 3643 w 10000"/>
                <a:gd name="connsiteY45" fmla="*/ 8041 h 10000"/>
                <a:gd name="connsiteX46" fmla="*/ 3814 w 10000"/>
                <a:gd name="connsiteY46" fmla="*/ 7680 h 10000"/>
                <a:gd name="connsiteX47" fmla="*/ 3711 w 10000"/>
                <a:gd name="connsiteY47" fmla="*/ 7423 h 10000"/>
                <a:gd name="connsiteX48" fmla="*/ 3883 w 10000"/>
                <a:gd name="connsiteY48" fmla="*/ 7423 h 10000"/>
                <a:gd name="connsiteX49" fmla="*/ 3883 w 10000"/>
                <a:gd name="connsiteY49" fmla="*/ 7577 h 10000"/>
                <a:gd name="connsiteX50" fmla="*/ 4227 w 10000"/>
                <a:gd name="connsiteY50" fmla="*/ 7577 h 10000"/>
                <a:gd name="connsiteX51" fmla="*/ 4364 w 10000"/>
                <a:gd name="connsiteY51" fmla="*/ 7423 h 10000"/>
                <a:gd name="connsiteX52" fmla="*/ 4296 w 10000"/>
                <a:gd name="connsiteY52" fmla="*/ 7320 h 10000"/>
                <a:gd name="connsiteX53" fmla="*/ 4364 w 10000"/>
                <a:gd name="connsiteY53" fmla="*/ 7216 h 10000"/>
                <a:gd name="connsiteX54" fmla="*/ 4124 w 10000"/>
                <a:gd name="connsiteY54" fmla="*/ 6804 h 10000"/>
                <a:gd name="connsiteX55" fmla="*/ 4055 w 10000"/>
                <a:gd name="connsiteY55" fmla="*/ 6340 h 10000"/>
                <a:gd name="connsiteX56" fmla="*/ 3883 w 10000"/>
                <a:gd name="connsiteY56" fmla="*/ 6237 h 10000"/>
                <a:gd name="connsiteX57" fmla="*/ 3883 w 10000"/>
                <a:gd name="connsiteY57" fmla="*/ 5722 h 10000"/>
                <a:gd name="connsiteX58" fmla="*/ 3643 w 10000"/>
                <a:gd name="connsiteY58" fmla="*/ 5464 h 10000"/>
                <a:gd name="connsiteX59" fmla="*/ 3402 w 10000"/>
                <a:gd name="connsiteY59" fmla="*/ 5361 h 10000"/>
                <a:gd name="connsiteX60" fmla="*/ 2990 w 10000"/>
                <a:gd name="connsiteY60" fmla="*/ 5000 h 10000"/>
                <a:gd name="connsiteX61" fmla="*/ 2577 w 10000"/>
                <a:gd name="connsiteY61" fmla="*/ 5103 h 10000"/>
                <a:gd name="connsiteX62" fmla="*/ 2509 w 10000"/>
                <a:gd name="connsiteY62" fmla="*/ 5361 h 10000"/>
                <a:gd name="connsiteX63" fmla="*/ 2268 w 10000"/>
                <a:gd name="connsiteY63" fmla="*/ 5361 h 10000"/>
                <a:gd name="connsiteX64" fmla="*/ 2096 w 10000"/>
                <a:gd name="connsiteY64" fmla="*/ 5619 h 10000"/>
                <a:gd name="connsiteX65" fmla="*/ 1684 w 10000"/>
                <a:gd name="connsiteY65" fmla="*/ 5722 h 10000"/>
                <a:gd name="connsiteX66" fmla="*/ 1546 w 10000"/>
                <a:gd name="connsiteY66" fmla="*/ 5876 h 10000"/>
                <a:gd name="connsiteX67" fmla="*/ 1271 w 10000"/>
                <a:gd name="connsiteY67" fmla="*/ 5619 h 10000"/>
                <a:gd name="connsiteX68" fmla="*/ 893 w 10000"/>
                <a:gd name="connsiteY68" fmla="*/ 5619 h 10000"/>
                <a:gd name="connsiteX69" fmla="*/ 550 w 10000"/>
                <a:gd name="connsiteY69" fmla="*/ 5464 h 10000"/>
                <a:gd name="connsiteX70" fmla="*/ 309 w 10000"/>
                <a:gd name="connsiteY70" fmla="*/ 5722 h 10000"/>
                <a:gd name="connsiteX71" fmla="*/ 309 w 10000"/>
                <a:gd name="connsiteY71" fmla="*/ 5361 h 10000"/>
                <a:gd name="connsiteX72" fmla="*/ 0 w 10000"/>
                <a:gd name="connsiteY72" fmla="*/ 5000 h 10000"/>
                <a:gd name="connsiteX73" fmla="*/ 69 w 10000"/>
                <a:gd name="connsiteY73" fmla="*/ 4536 h 10000"/>
                <a:gd name="connsiteX74" fmla="*/ 241 w 10000"/>
                <a:gd name="connsiteY74" fmla="*/ 4278 h 10000"/>
                <a:gd name="connsiteX75" fmla="*/ 378 w 10000"/>
                <a:gd name="connsiteY75" fmla="*/ 4278 h 10000"/>
                <a:gd name="connsiteX76" fmla="*/ 241 w 10000"/>
                <a:gd name="connsiteY76" fmla="*/ 3660 h 10000"/>
                <a:gd name="connsiteX77" fmla="*/ 722 w 10000"/>
                <a:gd name="connsiteY77" fmla="*/ 2680 h 10000"/>
                <a:gd name="connsiteX78" fmla="*/ 962 w 10000"/>
                <a:gd name="connsiteY78" fmla="*/ 2423 h 10000"/>
                <a:gd name="connsiteX79" fmla="*/ 1031 w 10000"/>
                <a:gd name="connsiteY79" fmla="*/ 2216 h 10000"/>
                <a:gd name="connsiteX80" fmla="*/ 790 w 10000"/>
                <a:gd name="connsiteY80" fmla="*/ 979 h 10000"/>
                <a:gd name="connsiteX81" fmla="*/ 1031 w 10000"/>
                <a:gd name="connsiteY81" fmla="*/ 979 h 10000"/>
                <a:gd name="connsiteX82" fmla="*/ 1375 w 10000"/>
                <a:gd name="connsiteY82" fmla="*/ 619 h 10000"/>
                <a:gd name="connsiteX83" fmla="*/ 1787 w 10000"/>
                <a:gd name="connsiteY83" fmla="*/ 464 h 10000"/>
                <a:gd name="connsiteX84" fmla="*/ 2337 w 10000"/>
                <a:gd name="connsiteY84" fmla="*/ 619 h 10000"/>
                <a:gd name="connsiteX85" fmla="*/ 2990 w 10000"/>
                <a:gd name="connsiteY85" fmla="*/ 979 h 10000"/>
                <a:gd name="connsiteX86" fmla="*/ 3402 w 10000"/>
                <a:gd name="connsiteY86" fmla="*/ 979 h 10000"/>
                <a:gd name="connsiteX87" fmla="*/ 3574 w 10000"/>
                <a:gd name="connsiteY87" fmla="*/ 1237 h 10000"/>
                <a:gd name="connsiteX88" fmla="*/ 3814 w 10000"/>
                <a:gd name="connsiteY88" fmla="*/ 979 h 10000"/>
                <a:gd name="connsiteX89" fmla="*/ 3952 w 10000"/>
                <a:gd name="connsiteY89" fmla="*/ 1237 h 10000"/>
                <a:gd name="connsiteX90" fmla="*/ 4467 w 10000"/>
                <a:gd name="connsiteY90" fmla="*/ 1237 h 10000"/>
                <a:gd name="connsiteX91" fmla="*/ 4708 w 10000"/>
                <a:gd name="connsiteY91" fmla="*/ 1340 h 10000"/>
                <a:gd name="connsiteX92" fmla="*/ 4708 w 10000"/>
                <a:gd name="connsiteY92" fmla="*/ 619 h 10000"/>
                <a:gd name="connsiteX93" fmla="*/ 4880 w 10000"/>
                <a:gd name="connsiteY93" fmla="*/ 361 h 10000"/>
                <a:gd name="connsiteX94" fmla="*/ 5361 w 10000"/>
                <a:gd name="connsiteY94" fmla="*/ 258 h 10000"/>
                <a:gd name="connsiteX95" fmla="*/ 5601 w 10000"/>
                <a:gd name="connsiteY95" fmla="*/ 361 h 10000"/>
                <a:gd name="connsiteX96" fmla="*/ 5670 w 10000"/>
                <a:gd name="connsiteY96" fmla="*/ 0 h 10000"/>
                <a:gd name="connsiteX97" fmla="*/ 5911 w 10000"/>
                <a:gd name="connsiteY97" fmla="*/ 0 h 10000"/>
                <a:gd name="connsiteX98" fmla="*/ 6495 w 10000"/>
                <a:gd name="connsiteY98" fmla="*/ 0 h 10000"/>
                <a:gd name="connsiteX0" fmla="*/ 6495 w 10000"/>
                <a:gd name="connsiteY0" fmla="*/ 0 h 10000"/>
                <a:gd name="connsiteX1" fmla="*/ 6495 w 10000"/>
                <a:gd name="connsiteY1" fmla="*/ 0 h 10000"/>
                <a:gd name="connsiteX2" fmla="*/ 6804 w 10000"/>
                <a:gd name="connsiteY2" fmla="*/ 722 h 10000"/>
                <a:gd name="connsiteX3" fmla="*/ 6667 w 10000"/>
                <a:gd name="connsiteY3" fmla="*/ 979 h 10000"/>
                <a:gd name="connsiteX4" fmla="*/ 6735 w 10000"/>
                <a:gd name="connsiteY4" fmla="*/ 1340 h 10000"/>
                <a:gd name="connsiteX5" fmla="*/ 7148 w 10000"/>
                <a:gd name="connsiteY5" fmla="*/ 1443 h 10000"/>
                <a:gd name="connsiteX6" fmla="*/ 7388 w 10000"/>
                <a:gd name="connsiteY6" fmla="*/ 2062 h 10000"/>
                <a:gd name="connsiteX7" fmla="*/ 7388 w 10000"/>
                <a:gd name="connsiteY7" fmla="*/ 2320 h 10000"/>
                <a:gd name="connsiteX8" fmla="*/ 8041 w 10000"/>
                <a:gd name="connsiteY8" fmla="*/ 2784 h 10000"/>
                <a:gd name="connsiteX9" fmla="*/ 8522 w 10000"/>
                <a:gd name="connsiteY9" fmla="*/ 2577 h 10000"/>
                <a:gd name="connsiteX10" fmla="*/ 8832 w 10000"/>
                <a:gd name="connsiteY10" fmla="*/ 3144 h 10000"/>
                <a:gd name="connsiteX11" fmla="*/ 9175 w 10000"/>
                <a:gd name="connsiteY11" fmla="*/ 3144 h 10000"/>
                <a:gd name="connsiteX12" fmla="*/ 10000 w 10000"/>
                <a:gd name="connsiteY12" fmla="*/ 3557 h 10000"/>
                <a:gd name="connsiteX13" fmla="*/ 10000 w 10000"/>
                <a:gd name="connsiteY13" fmla="*/ 3918 h 10000"/>
                <a:gd name="connsiteX14" fmla="*/ 9725 w 10000"/>
                <a:gd name="connsiteY14" fmla="*/ 4536 h 10000"/>
                <a:gd name="connsiteX15" fmla="*/ 9897 w 10000"/>
                <a:gd name="connsiteY15" fmla="*/ 5258 h 10000"/>
                <a:gd name="connsiteX16" fmla="*/ 9828 w 10000"/>
                <a:gd name="connsiteY16" fmla="*/ 5722 h 10000"/>
                <a:gd name="connsiteX17" fmla="*/ 9424 w 10000"/>
                <a:gd name="connsiteY17" fmla="*/ 5830 h 10000"/>
                <a:gd name="connsiteX18" fmla="*/ 9111 w 10000"/>
                <a:gd name="connsiteY18" fmla="*/ 6406 h 10000"/>
                <a:gd name="connsiteX19" fmla="*/ 9003 w 10000"/>
                <a:gd name="connsiteY19" fmla="*/ 6701 h 10000"/>
                <a:gd name="connsiteX20" fmla="*/ 8522 w 10000"/>
                <a:gd name="connsiteY20" fmla="*/ 6804 h 10000"/>
                <a:gd name="connsiteX21" fmla="*/ 8110 w 10000"/>
                <a:gd name="connsiteY21" fmla="*/ 7216 h 10000"/>
                <a:gd name="connsiteX22" fmla="*/ 7629 w 10000"/>
                <a:gd name="connsiteY22" fmla="*/ 7216 h 10000"/>
                <a:gd name="connsiteX23" fmla="*/ 7148 w 10000"/>
                <a:gd name="connsiteY23" fmla="*/ 7680 h 10000"/>
                <a:gd name="connsiteX24" fmla="*/ 7148 w 10000"/>
                <a:gd name="connsiteY24" fmla="*/ 8402 h 10000"/>
                <a:gd name="connsiteX25" fmla="*/ 7457 w 10000"/>
                <a:gd name="connsiteY25" fmla="*/ 8763 h 10000"/>
                <a:gd name="connsiteX26" fmla="*/ 8041 w 10000"/>
                <a:gd name="connsiteY26" fmla="*/ 8660 h 10000"/>
                <a:gd name="connsiteX27" fmla="*/ 7938 w 10000"/>
                <a:gd name="connsiteY27" fmla="*/ 9021 h 10000"/>
                <a:gd name="connsiteX28" fmla="*/ 7285 w 10000"/>
                <a:gd name="connsiteY28" fmla="*/ 9278 h 10000"/>
                <a:gd name="connsiteX29" fmla="*/ 6564 w 10000"/>
                <a:gd name="connsiteY29" fmla="*/ 10000 h 10000"/>
                <a:gd name="connsiteX30" fmla="*/ 6254 w 10000"/>
                <a:gd name="connsiteY30" fmla="*/ 9639 h 10000"/>
                <a:gd name="connsiteX31" fmla="*/ 6323 w 10000"/>
                <a:gd name="connsiteY31" fmla="*/ 9124 h 10000"/>
                <a:gd name="connsiteX32" fmla="*/ 5773 w 10000"/>
                <a:gd name="connsiteY32" fmla="*/ 8763 h 10000"/>
                <a:gd name="connsiteX33" fmla="*/ 5842 w 10000"/>
                <a:gd name="connsiteY33" fmla="*/ 8557 h 10000"/>
                <a:gd name="connsiteX34" fmla="*/ 6323 w 10000"/>
                <a:gd name="connsiteY34" fmla="*/ 8196 h 10000"/>
                <a:gd name="connsiteX35" fmla="*/ 6254 w 10000"/>
                <a:gd name="connsiteY35" fmla="*/ 7938 h 10000"/>
                <a:gd name="connsiteX36" fmla="*/ 5361 w 10000"/>
                <a:gd name="connsiteY36" fmla="*/ 7577 h 10000"/>
                <a:gd name="connsiteX37" fmla="*/ 5361 w 10000"/>
                <a:gd name="connsiteY37" fmla="*/ 7216 h 10000"/>
                <a:gd name="connsiteX38" fmla="*/ 4777 w 10000"/>
                <a:gd name="connsiteY38" fmla="*/ 7320 h 10000"/>
                <a:gd name="connsiteX39" fmla="*/ 4536 w 10000"/>
                <a:gd name="connsiteY39" fmla="*/ 7938 h 10000"/>
                <a:gd name="connsiteX40" fmla="*/ 4124 w 10000"/>
                <a:gd name="connsiteY40" fmla="*/ 8918 h 10000"/>
                <a:gd name="connsiteX41" fmla="*/ 3883 w 10000"/>
                <a:gd name="connsiteY41" fmla="*/ 8660 h 10000"/>
                <a:gd name="connsiteX42" fmla="*/ 3643 w 10000"/>
                <a:gd name="connsiteY42" fmla="*/ 8763 h 10000"/>
                <a:gd name="connsiteX43" fmla="*/ 3402 w 10000"/>
                <a:gd name="connsiteY43" fmla="*/ 8660 h 10000"/>
                <a:gd name="connsiteX44" fmla="*/ 3471 w 10000"/>
                <a:gd name="connsiteY44" fmla="*/ 8557 h 10000"/>
                <a:gd name="connsiteX45" fmla="*/ 3643 w 10000"/>
                <a:gd name="connsiteY45" fmla="*/ 8041 h 10000"/>
                <a:gd name="connsiteX46" fmla="*/ 3814 w 10000"/>
                <a:gd name="connsiteY46" fmla="*/ 7680 h 10000"/>
                <a:gd name="connsiteX47" fmla="*/ 3711 w 10000"/>
                <a:gd name="connsiteY47" fmla="*/ 7423 h 10000"/>
                <a:gd name="connsiteX48" fmla="*/ 3883 w 10000"/>
                <a:gd name="connsiteY48" fmla="*/ 7423 h 10000"/>
                <a:gd name="connsiteX49" fmla="*/ 3883 w 10000"/>
                <a:gd name="connsiteY49" fmla="*/ 7577 h 10000"/>
                <a:gd name="connsiteX50" fmla="*/ 4227 w 10000"/>
                <a:gd name="connsiteY50" fmla="*/ 7577 h 10000"/>
                <a:gd name="connsiteX51" fmla="*/ 4364 w 10000"/>
                <a:gd name="connsiteY51" fmla="*/ 7423 h 10000"/>
                <a:gd name="connsiteX52" fmla="*/ 4296 w 10000"/>
                <a:gd name="connsiteY52" fmla="*/ 7320 h 10000"/>
                <a:gd name="connsiteX53" fmla="*/ 4364 w 10000"/>
                <a:gd name="connsiteY53" fmla="*/ 7216 h 10000"/>
                <a:gd name="connsiteX54" fmla="*/ 4124 w 10000"/>
                <a:gd name="connsiteY54" fmla="*/ 6804 h 10000"/>
                <a:gd name="connsiteX55" fmla="*/ 4055 w 10000"/>
                <a:gd name="connsiteY55" fmla="*/ 6340 h 10000"/>
                <a:gd name="connsiteX56" fmla="*/ 3883 w 10000"/>
                <a:gd name="connsiteY56" fmla="*/ 6237 h 10000"/>
                <a:gd name="connsiteX57" fmla="*/ 3883 w 10000"/>
                <a:gd name="connsiteY57" fmla="*/ 5722 h 10000"/>
                <a:gd name="connsiteX58" fmla="*/ 3643 w 10000"/>
                <a:gd name="connsiteY58" fmla="*/ 5464 h 10000"/>
                <a:gd name="connsiteX59" fmla="*/ 3402 w 10000"/>
                <a:gd name="connsiteY59" fmla="*/ 5361 h 10000"/>
                <a:gd name="connsiteX60" fmla="*/ 2990 w 10000"/>
                <a:gd name="connsiteY60" fmla="*/ 5000 h 10000"/>
                <a:gd name="connsiteX61" fmla="*/ 2577 w 10000"/>
                <a:gd name="connsiteY61" fmla="*/ 5103 h 10000"/>
                <a:gd name="connsiteX62" fmla="*/ 2509 w 10000"/>
                <a:gd name="connsiteY62" fmla="*/ 5361 h 10000"/>
                <a:gd name="connsiteX63" fmla="*/ 2268 w 10000"/>
                <a:gd name="connsiteY63" fmla="*/ 5361 h 10000"/>
                <a:gd name="connsiteX64" fmla="*/ 2096 w 10000"/>
                <a:gd name="connsiteY64" fmla="*/ 5619 h 10000"/>
                <a:gd name="connsiteX65" fmla="*/ 1684 w 10000"/>
                <a:gd name="connsiteY65" fmla="*/ 5722 h 10000"/>
                <a:gd name="connsiteX66" fmla="*/ 1546 w 10000"/>
                <a:gd name="connsiteY66" fmla="*/ 5876 h 10000"/>
                <a:gd name="connsiteX67" fmla="*/ 1271 w 10000"/>
                <a:gd name="connsiteY67" fmla="*/ 5619 h 10000"/>
                <a:gd name="connsiteX68" fmla="*/ 893 w 10000"/>
                <a:gd name="connsiteY68" fmla="*/ 5619 h 10000"/>
                <a:gd name="connsiteX69" fmla="*/ 550 w 10000"/>
                <a:gd name="connsiteY69" fmla="*/ 5464 h 10000"/>
                <a:gd name="connsiteX70" fmla="*/ 309 w 10000"/>
                <a:gd name="connsiteY70" fmla="*/ 5722 h 10000"/>
                <a:gd name="connsiteX71" fmla="*/ 309 w 10000"/>
                <a:gd name="connsiteY71" fmla="*/ 5361 h 10000"/>
                <a:gd name="connsiteX72" fmla="*/ 0 w 10000"/>
                <a:gd name="connsiteY72" fmla="*/ 5000 h 10000"/>
                <a:gd name="connsiteX73" fmla="*/ 69 w 10000"/>
                <a:gd name="connsiteY73" fmla="*/ 4536 h 10000"/>
                <a:gd name="connsiteX74" fmla="*/ 241 w 10000"/>
                <a:gd name="connsiteY74" fmla="*/ 4278 h 10000"/>
                <a:gd name="connsiteX75" fmla="*/ 378 w 10000"/>
                <a:gd name="connsiteY75" fmla="*/ 4278 h 10000"/>
                <a:gd name="connsiteX76" fmla="*/ 241 w 10000"/>
                <a:gd name="connsiteY76" fmla="*/ 3660 h 10000"/>
                <a:gd name="connsiteX77" fmla="*/ 722 w 10000"/>
                <a:gd name="connsiteY77" fmla="*/ 2680 h 10000"/>
                <a:gd name="connsiteX78" fmla="*/ 962 w 10000"/>
                <a:gd name="connsiteY78" fmla="*/ 2423 h 10000"/>
                <a:gd name="connsiteX79" fmla="*/ 1031 w 10000"/>
                <a:gd name="connsiteY79" fmla="*/ 2216 h 10000"/>
                <a:gd name="connsiteX80" fmla="*/ 790 w 10000"/>
                <a:gd name="connsiteY80" fmla="*/ 979 h 10000"/>
                <a:gd name="connsiteX81" fmla="*/ 1031 w 10000"/>
                <a:gd name="connsiteY81" fmla="*/ 979 h 10000"/>
                <a:gd name="connsiteX82" fmla="*/ 1375 w 10000"/>
                <a:gd name="connsiteY82" fmla="*/ 619 h 10000"/>
                <a:gd name="connsiteX83" fmla="*/ 1787 w 10000"/>
                <a:gd name="connsiteY83" fmla="*/ 464 h 10000"/>
                <a:gd name="connsiteX84" fmla="*/ 2337 w 10000"/>
                <a:gd name="connsiteY84" fmla="*/ 619 h 10000"/>
                <a:gd name="connsiteX85" fmla="*/ 2990 w 10000"/>
                <a:gd name="connsiteY85" fmla="*/ 979 h 10000"/>
                <a:gd name="connsiteX86" fmla="*/ 3402 w 10000"/>
                <a:gd name="connsiteY86" fmla="*/ 979 h 10000"/>
                <a:gd name="connsiteX87" fmla="*/ 3574 w 10000"/>
                <a:gd name="connsiteY87" fmla="*/ 1237 h 10000"/>
                <a:gd name="connsiteX88" fmla="*/ 3814 w 10000"/>
                <a:gd name="connsiteY88" fmla="*/ 979 h 10000"/>
                <a:gd name="connsiteX89" fmla="*/ 3952 w 10000"/>
                <a:gd name="connsiteY89" fmla="*/ 1237 h 10000"/>
                <a:gd name="connsiteX90" fmla="*/ 4467 w 10000"/>
                <a:gd name="connsiteY90" fmla="*/ 1237 h 10000"/>
                <a:gd name="connsiteX91" fmla="*/ 4708 w 10000"/>
                <a:gd name="connsiteY91" fmla="*/ 1340 h 10000"/>
                <a:gd name="connsiteX92" fmla="*/ 4708 w 10000"/>
                <a:gd name="connsiteY92" fmla="*/ 619 h 10000"/>
                <a:gd name="connsiteX93" fmla="*/ 4880 w 10000"/>
                <a:gd name="connsiteY93" fmla="*/ 361 h 10000"/>
                <a:gd name="connsiteX94" fmla="*/ 5361 w 10000"/>
                <a:gd name="connsiteY94" fmla="*/ 258 h 10000"/>
                <a:gd name="connsiteX95" fmla="*/ 5601 w 10000"/>
                <a:gd name="connsiteY95" fmla="*/ 361 h 10000"/>
                <a:gd name="connsiteX96" fmla="*/ 5670 w 10000"/>
                <a:gd name="connsiteY96" fmla="*/ 0 h 10000"/>
                <a:gd name="connsiteX97" fmla="*/ 5911 w 10000"/>
                <a:gd name="connsiteY97" fmla="*/ 0 h 10000"/>
                <a:gd name="connsiteX98" fmla="*/ 6495 w 10000"/>
                <a:gd name="connsiteY98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10000" h="10000">
                  <a:moveTo>
                    <a:pt x="6495" y="0"/>
                  </a:moveTo>
                  <a:lnTo>
                    <a:pt x="6495" y="0"/>
                  </a:lnTo>
                  <a:lnTo>
                    <a:pt x="6804" y="722"/>
                  </a:lnTo>
                  <a:lnTo>
                    <a:pt x="6667" y="979"/>
                  </a:lnTo>
                  <a:cubicBezTo>
                    <a:pt x="6690" y="1099"/>
                    <a:pt x="6712" y="1220"/>
                    <a:pt x="6735" y="1340"/>
                  </a:cubicBezTo>
                  <a:lnTo>
                    <a:pt x="7148" y="1443"/>
                  </a:lnTo>
                  <a:lnTo>
                    <a:pt x="7388" y="2062"/>
                  </a:lnTo>
                  <a:lnTo>
                    <a:pt x="7388" y="2320"/>
                  </a:lnTo>
                  <a:lnTo>
                    <a:pt x="8041" y="2784"/>
                  </a:lnTo>
                  <a:lnTo>
                    <a:pt x="8522" y="2577"/>
                  </a:lnTo>
                  <a:lnTo>
                    <a:pt x="8832" y="3144"/>
                  </a:lnTo>
                  <a:lnTo>
                    <a:pt x="9175" y="3144"/>
                  </a:lnTo>
                  <a:lnTo>
                    <a:pt x="10000" y="3557"/>
                  </a:lnTo>
                  <a:lnTo>
                    <a:pt x="10000" y="3918"/>
                  </a:lnTo>
                  <a:lnTo>
                    <a:pt x="9725" y="4536"/>
                  </a:lnTo>
                  <a:cubicBezTo>
                    <a:pt x="9782" y="4777"/>
                    <a:pt x="9840" y="5017"/>
                    <a:pt x="9897" y="5258"/>
                  </a:cubicBezTo>
                  <a:cubicBezTo>
                    <a:pt x="9874" y="5413"/>
                    <a:pt x="9851" y="5567"/>
                    <a:pt x="9828" y="5722"/>
                  </a:cubicBezTo>
                  <a:lnTo>
                    <a:pt x="9424" y="5830"/>
                  </a:lnTo>
                  <a:cubicBezTo>
                    <a:pt x="9380" y="6058"/>
                    <a:pt x="9155" y="6178"/>
                    <a:pt x="9111" y="6406"/>
                  </a:cubicBezTo>
                  <a:lnTo>
                    <a:pt x="9003" y="6701"/>
                  </a:lnTo>
                  <a:lnTo>
                    <a:pt x="8522" y="6804"/>
                  </a:lnTo>
                  <a:lnTo>
                    <a:pt x="8110" y="7216"/>
                  </a:lnTo>
                  <a:lnTo>
                    <a:pt x="7629" y="7216"/>
                  </a:lnTo>
                  <a:lnTo>
                    <a:pt x="7148" y="7680"/>
                  </a:lnTo>
                  <a:lnTo>
                    <a:pt x="7148" y="8402"/>
                  </a:lnTo>
                  <a:lnTo>
                    <a:pt x="7457" y="8763"/>
                  </a:lnTo>
                  <a:lnTo>
                    <a:pt x="8041" y="8660"/>
                  </a:lnTo>
                  <a:cubicBezTo>
                    <a:pt x="8007" y="8780"/>
                    <a:pt x="7972" y="8901"/>
                    <a:pt x="7938" y="9021"/>
                  </a:cubicBezTo>
                  <a:lnTo>
                    <a:pt x="7285" y="9278"/>
                  </a:lnTo>
                  <a:lnTo>
                    <a:pt x="6564" y="10000"/>
                  </a:lnTo>
                  <a:lnTo>
                    <a:pt x="6254" y="9639"/>
                  </a:lnTo>
                  <a:cubicBezTo>
                    <a:pt x="6277" y="9467"/>
                    <a:pt x="6300" y="9296"/>
                    <a:pt x="6323" y="9124"/>
                  </a:cubicBezTo>
                  <a:lnTo>
                    <a:pt x="5773" y="8763"/>
                  </a:lnTo>
                  <a:cubicBezTo>
                    <a:pt x="5796" y="8694"/>
                    <a:pt x="5819" y="8626"/>
                    <a:pt x="5842" y="8557"/>
                  </a:cubicBezTo>
                  <a:lnTo>
                    <a:pt x="6323" y="8196"/>
                  </a:lnTo>
                  <a:lnTo>
                    <a:pt x="6254" y="7938"/>
                  </a:lnTo>
                  <a:lnTo>
                    <a:pt x="5361" y="7577"/>
                  </a:lnTo>
                  <a:lnTo>
                    <a:pt x="5361" y="7216"/>
                  </a:lnTo>
                  <a:lnTo>
                    <a:pt x="4777" y="7320"/>
                  </a:lnTo>
                  <a:cubicBezTo>
                    <a:pt x="4697" y="7526"/>
                    <a:pt x="4616" y="7732"/>
                    <a:pt x="4536" y="7938"/>
                  </a:cubicBezTo>
                  <a:lnTo>
                    <a:pt x="4124" y="8918"/>
                  </a:lnTo>
                  <a:lnTo>
                    <a:pt x="3883" y="8660"/>
                  </a:lnTo>
                  <a:lnTo>
                    <a:pt x="3643" y="8763"/>
                  </a:lnTo>
                  <a:lnTo>
                    <a:pt x="3402" y="8660"/>
                  </a:lnTo>
                  <a:cubicBezTo>
                    <a:pt x="3425" y="8626"/>
                    <a:pt x="3448" y="8591"/>
                    <a:pt x="3471" y="8557"/>
                  </a:cubicBezTo>
                  <a:cubicBezTo>
                    <a:pt x="3528" y="8385"/>
                    <a:pt x="3586" y="8213"/>
                    <a:pt x="3643" y="8041"/>
                  </a:cubicBezTo>
                  <a:lnTo>
                    <a:pt x="3814" y="7680"/>
                  </a:lnTo>
                  <a:cubicBezTo>
                    <a:pt x="3780" y="7594"/>
                    <a:pt x="3745" y="7509"/>
                    <a:pt x="3711" y="7423"/>
                  </a:cubicBezTo>
                  <a:lnTo>
                    <a:pt x="3883" y="7423"/>
                  </a:lnTo>
                  <a:lnTo>
                    <a:pt x="3883" y="7577"/>
                  </a:lnTo>
                  <a:lnTo>
                    <a:pt x="4227" y="7577"/>
                  </a:lnTo>
                  <a:cubicBezTo>
                    <a:pt x="4273" y="7526"/>
                    <a:pt x="4318" y="7474"/>
                    <a:pt x="4364" y="7423"/>
                  </a:cubicBezTo>
                  <a:cubicBezTo>
                    <a:pt x="4341" y="7389"/>
                    <a:pt x="4319" y="7354"/>
                    <a:pt x="4296" y="7320"/>
                  </a:cubicBezTo>
                  <a:lnTo>
                    <a:pt x="4364" y="7216"/>
                  </a:lnTo>
                  <a:lnTo>
                    <a:pt x="4124" y="6804"/>
                  </a:lnTo>
                  <a:cubicBezTo>
                    <a:pt x="4101" y="6649"/>
                    <a:pt x="4078" y="6495"/>
                    <a:pt x="4055" y="6340"/>
                  </a:cubicBezTo>
                  <a:lnTo>
                    <a:pt x="3883" y="6237"/>
                  </a:lnTo>
                  <a:lnTo>
                    <a:pt x="3883" y="5722"/>
                  </a:lnTo>
                  <a:lnTo>
                    <a:pt x="3643" y="5464"/>
                  </a:lnTo>
                  <a:lnTo>
                    <a:pt x="3402" y="5361"/>
                  </a:lnTo>
                  <a:lnTo>
                    <a:pt x="2990" y="5000"/>
                  </a:lnTo>
                  <a:lnTo>
                    <a:pt x="2577" y="5103"/>
                  </a:lnTo>
                  <a:cubicBezTo>
                    <a:pt x="2554" y="5189"/>
                    <a:pt x="2532" y="5275"/>
                    <a:pt x="2509" y="5361"/>
                  </a:cubicBezTo>
                  <a:lnTo>
                    <a:pt x="2268" y="5361"/>
                  </a:lnTo>
                  <a:lnTo>
                    <a:pt x="2096" y="5619"/>
                  </a:lnTo>
                  <a:lnTo>
                    <a:pt x="1684" y="5722"/>
                  </a:lnTo>
                  <a:lnTo>
                    <a:pt x="1546" y="5876"/>
                  </a:lnTo>
                  <a:lnTo>
                    <a:pt x="1271" y="5619"/>
                  </a:lnTo>
                  <a:lnTo>
                    <a:pt x="893" y="5619"/>
                  </a:lnTo>
                  <a:lnTo>
                    <a:pt x="550" y="5464"/>
                  </a:lnTo>
                  <a:lnTo>
                    <a:pt x="309" y="5722"/>
                  </a:lnTo>
                  <a:lnTo>
                    <a:pt x="309" y="5361"/>
                  </a:lnTo>
                  <a:lnTo>
                    <a:pt x="0" y="5000"/>
                  </a:lnTo>
                  <a:cubicBezTo>
                    <a:pt x="23" y="4845"/>
                    <a:pt x="46" y="4691"/>
                    <a:pt x="69" y="4536"/>
                  </a:cubicBezTo>
                  <a:lnTo>
                    <a:pt x="241" y="4278"/>
                  </a:lnTo>
                  <a:lnTo>
                    <a:pt x="378" y="4278"/>
                  </a:lnTo>
                  <a:cubicBezTo>
                    <a:pt x="332" y="4072"/>
                    <a:pt x="287" y="3866"/>
                    <a:pt x="241" y="3660"/>
                  </a:cubicBezTo>
                  <a:lnTo>
                    <a:pt x="722" y="2680"/>
                  </a:lnTo>
                  <a:lnTo>
                    <a:pt x="962" y="2423"/>
                  </a:lnTo>
                  <a:lnTo>
                    <a:pt x="1031" y="2216"/>
                  </a:lnTo>
                  <a:cubicBezTo>
                    <a:pt x="951" y="1804"/>
                    <a:pt x="870" y="1391"/>
                    <a:pt x="790" y="979"/>
                  </a:cubicBezTo>
                  <a:lnTo>
                    <a:pt x="1031" y="979"/>
                  </a:lnTo>
                  <a:lnTo>
                    <a:pt x="1375" y="619"/>
                  </a:lnTo>
                  <a:lnTo>
                    <a:pt x="1787" y="464"/>
                  </a:lnTo>
                  <a:lnTo>
                    <a:pt x="2337" y="619"/>
                  </a:lnTo>
                  <a:lnTo>
                    <a:pt x="2990" y="979"/>
                  </a:lnTo>
                  <a:lnTo>
                    <a:pt x="3402" y="979"/>
                  </a:lnTo>
                  <a:lnTo>
                    <a:pt x="3574" y="1237"/>
                  </a:lnTo>
                  <a:lnTo>
                    <a:pt x="3814" y="979"/>
                  </a:lnTo>
                  <a:lnTo>
                    <a:pt x="3952" y="1237"/>
                  </a:lnTo>
                  <a:lnTo>
                    <a:pt x="4467" y="1237"/>
                  </a:lnTo>
                  <a:lnTo>
                    <a:pt x="4708" y="1340"/>
                  </a:lnTo>
                  <a:lnTo>
                    <a:pt x="4708" y="619"/>
                  </a:lnTo>
                  <a:lnTo>
                    <a:pt x="4880" y="361"/>
                  </a:lnTo>
                  <a:lnTo>
                    <a:pt x="5361" y="258"/>
                  </a:lnTo>
                  <a:lnTo>
                    <a:pt x="5601" y="361"/>
                  </a:lnTo>
                  <a:cubicBezTo>
                    <a:pt x="5624" y="241"/>
                    <a:pt x="5647" y="120"/>
                    <a:pt x="5670" y="0"/>
                  </a:cubicBezTo>
                  <a:lnTo>
                    <a:pt x="5911" y="0"/>
                  </a:lnTo>
                  <a:lnTo>
                    <a:pt x="6495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88" name="Freeform 337">
              <a:extLst>
                <a:ext uri="{FF2B5EF4-FFF2-40B4-BE49-F238E27FC236}">
                  <a16:creationId xmlns:a16="http://schemas.microsoft.com/office/drawing/2014/main" id="{6424029C-216D-3229-C80C-E209445C67F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5589" y="3731501"/>
              <a:ext cx="89379" cy="101633"/>
            </a:xfrm>
            <a:custGeom>
              <a:avLst/>
              <a:gdLst>
                <a:gd name="T0" fmla="*/ 22 w 83"/>
                <a:gd name="T1" fmla="*/ 0 h 93"/>
                <a:gd name="T2" fmla="*/ 22 w 83"/>
                <a:gd name="T3" fmla="*/ 0 h 93"/>
                <a:gd name="T4" fmla="*/ 41 w 83"/>
                <a:gd name="T5" fmla="*/ 14 h 93"/>
                <a:gd name="T6" fmla="*/ 45 w 83"/>
                <a:gd name="T7" fmla="*/ 14 h 93"/>
                <a:gd name="T8" fmla="*/ 62 w 83"/>
                <a:gd name="T9" fmla="*/ 26 h 93"/>
                <a:gd name="T10" fmla="*/ 74 w 83"/>
                <a:gd name="T11" fmla="*/ 36 h 93"/>
                <a:gd name="T12" fmla="*/ 83 w 83"/>
                <a:gd name="T13" fmla="*/ 50 h 93"/>
                <a:gd name="T14" fmla="*/ 76 w 83"/>
                <a:gd name="T15" fmla="*/ 59 h 93"/>
                <a:gd name="T16" fmla="*/ 81 w 83"/>
                <a:gd name="T17" fmla="*/ 69 h 93"/>
                <a:gd name="T18" fmla="*/ 74 w 83"/>
                <a:gd name="T19" fmla="*/ 81 h 93"/>
                <a:gd name="T20" fmla="*/ 57 w 83"/>
                <a:gd name="T21" fmla="*/ 93 h 93"/>
                <a:gd name="T22" fmla="*/ 43 w 83"/>
                <a:gd name="T23" fmla="*/ 88 h 93"/>
                <a:gd name="T24" fmla="*/ 36 w 83"/>
                <a:gd name="T25" fmla="*/ 90 h 93"/>
                <a:gd name="T26" fmla="*/ 19 w 83"/>
                <a:gd name="T27" fmla="*/ 83 h 93"/>
                <a:gd name="T28" fmla="*/ 10 w 83"/>
                <a:gd name="T29" fmla="*/ 83 h 93"/>
                <a:gd name="T30" fmla="*/ 0 w 83"/>
                <a:gd name="T31" fmla="*/ 74 h 93"/>
                <a:gd name="T32" fmla="*/ 0 w 83"/>
                <a:gd name="T33" fmla="*/ 59 h 93"/>
                <a:gd name="T34" fmla="*/ 5 w 83"/>
                <a:gd name="T35" fmla="*/ 55 h 93"/>
                <a:gd name="T36" fmla="*/ 5 w 83"/>
                <a:gd name="T37" fmla="*/ 36 h 93"/>
                <a:gd name="T38" fmla="*/ 10 w 83"/>
                <a:gd name="T39" fmla="*/ 17 h 93"/>
                <a:gd name="T40" fmla="*/ 12 w 83"/>
                <a:gd name="T41" fmla="*/ 3 h 93"/>
                <a:gd name="T42" fmla="*/ 22 w 83"/>
                <a:gd name="T4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3" h="93">
                  <a:moveTo>
                    <a:pt x="22" y="0"/>
                  </a:moveTo>
                  <a:lnTo>
                    <a:pt x="22" y="0"/>
                  </a:lnTo>
                  <a:lnTo>
                    <a:pt x="41" y="14"/>
                  </a:lnTo>
                  <a:lnTo>
                    <a:pt x="45" y="14"/>
                  </a:lnTo>
                  <a:lnTo>
                    <a:pt x="62" y="26"/>
                  </a:lnTo>
                  <a:lnTo>
                    <a:pt x="74" y="36"/>
                  </a:lnTo>
                  <a:lnTo>
                    <a:pt x="83" y="50"/>
                  </a:lnTo>
                  <a:lnTo>
                    <a:pt x="76" y="59"/>
                  </a:lnTo>
                  <a:lnTo>
                    <a:pt x="81" y="69"/>
                  </a:lnTo>
                  <a:lnTo>
                    <a:pt x="74" y="81"/>
                  </a:lnTo>
                  <a:lnTo>
                    <a:pt x="57" y="93"/>
                  </a:lnTo>
                  <a:lnTo>
                    <a:pt x="43" y="88"/>
                  </a:lnTo>
                  <a:lnTo>
                    <a:pt x="36" y="90"/>
                  </a:lnTo>
                  <a:lnTo>
                    <a:pt x="19" y="83"/>
                  </a:lnTo>
                  <a:lnTo>
                    <a:pt x="10" y="83"/>
                  </a:lnTo>
                  <a:lnTo>
                    <a:pt x="0" y="74"/>
                  </a:lnTo>
                  <a:lnTo>
                    <a:pt x="0" y="59"/>
                  </a:lnTo>
                  <a:lnTo>
                    <a:pt x="5" y="55"/>
                  </a:lnTo>
                  <a:lnTo>
                    <a:pt x="5" y="36"/>
                  </a:lnTo>
                  <a:lnTo>
                    <a:pt x="10" y="17"/>
                  </a:lnTo>
                  <a:lnTo>
                    <a:pt x="12" y="3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89" name="Freeform 339">
              <a:extLst>
                <a:ext uri="{FF2B5EF4-FFF2-40B4-BE49-F238E27FC236}">
                  <a16:creationId xmlns:a16="http://schemas.microsoft.com/office/drawing/2014/main" id="{309A7D30-4A09-CF88-6FDA-0D26FA9AB1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59560" y="1356801"/>
              <a:ext cx="1826348" cy="1482959"/>
            </a:xfrm>
            <a:custGeom>
              <a:avLst/>
              <a:gdLst>
                <a:gd name="T0" fmla="*/ 258 w 1696"/>
                <a:gd name="T1" fmla="*/ 1338 h 1357"/>
                <a:gd name="T2" fmla="*/ 274 w 1696"/>
                <a:gd name="T3" fmla="*/ 1347 h 1357"/>
                <a:gd name="T4" fmla="*/ 246 w 1696"/>
                <a:gd name="T5" fmla="*/ 1323 h 1357"/>
                <a:gd name="T6" fmla="*/ 253 w 1696"/>
                <a:gd name="T7" fmla="*/ 1326 h 1357"/>
                <a:gd name="T8" fmla="*/ 241 w 1696"/>
                <a:gd name="T9" fmla="*/ 1316 h 1357"/>
                <a:gd name="T10" fmla="*/ 222 w 1696"/>
                <a:gd name="T11" fmla="*/ 1307 h 1357"/>
                <a:gd name="T12" fmla="*/ 194 w 1696"/>
                <a:gd name="T13" fmla="*/ 1300 h 1357"/>
                <a:gd name="T14" fmla="*/ 1244 w 1696"/>
                <a:gd name="T15" fmla="*/ 748 h 1357"/>
                <a:gd name="T16" fmla="*/ 1336 w 1696"/>
                <a:gd name="T17" fmla="*/ 784 h 1357"/>
                <a:gd name="T18" fmla="*/ 1410 w 1696"/>
                <a:gd name="T19" fmla="*/ 819 h 1357"/>
                <a:gd name="T20" fmla="*/ 1445 w 1696"/>
                <a:gd name="T21" fmla="*/ 845 h 1357"/>
                <a:gd name="T22" fmla="*/ 1443 w 1696"/>
                <a:gd name="T23" fmla="*/ 926 h 1357"/>
                <a:gd name="T24" fmla="*/ 1507 w 1696"/>
                <a:gd name="T25" fmla="*/ 883 h 1357"/>
                <a:gd name="T26" fmla="*/ 1622 w 1696"/>
                <a:gd name="T27" fmla="*/ 852 h 1357"/>
                <a:gd name="T28" fmla="*/ 1677 w 1696"/>
                <a:gd name="T29" fmla="*/ 798 h 1357"/>
                <a:gd name="T30" fmla="*/ 1637 w 1696"/>
                <a:gd name="T31" fmla="*/ 895 h 1357"/>
                <a:gd name="T32" fmla="*/ 1637 w 1696"/>
                <a:gd name="T33" fmla="*/ 931 h 1357"/>
                <a:gd name="T34" fmla="*/ 1594 w 1696"/>
                <a:gd name="T35" fmla="*/ 950 h 1357"/>
                <a:gd name="T36" fmla="*/ 1563 w 1696"/>
                <a:gd name="T37" fmla="*/ 978 h 1357"/>
                <a:gd name="T38" fmla="*/ 1554 w 1696"/>
                <a:gd name="T39" fmla="*/ 1004 h 1357"/>
                <a:gd name="T40" fmla="*/ 1551 w 1696"/>
                <a:gd name="T41" fmla="*/ 1025 h 1357"/>
                <a:gd name="T42" fmla="*/ 1499 w 1696"/>
                <a:gd name="T43" fmla="*/ 1099 h 1357"/>
                <a:gd name="T44" fmla="*/ 1476 w 1696"/>
                <a:gd name="T45" fmla="*/ 1196 h 1357"/>
                <a:gd name="T46" fmla="*/ 1457 w 1696"/>
                <a:gd name="T47" fmla="*/ 1234 h 1357"/>
                <a:gd name="T48" fmla="*/ 1402 w 1696"/>
                <a:gd name="T49" fmla="*/ 1167 h 1357"/>
                <a:gd name="T50" fmla="*/ 1334 w 1696"/>
                <a:gd name="T51" fmla="*/ 1160 h 1357"/>
                <a:gd name="T52" fmla="*/ 1282 w 1696"/>
                <a:gd name="T53" fmla="*/ 1167 h 1357"/>
                <a:gd name="T54" fmla="*/ 1204 w 1696"/>
                <a:gd name="T55" fmla="*/ 1219 h 1357"/>
                <a:gd name="T56" fmla="*/ 1159 w 1696"/>
                <a:gd name="T57" fmla="*/ 1193 h 1357"/>
                <a:gd name="T58" fmla="*/ 1085 w 1696"/>
                <a:gd name="T59" fmla="*/ 1158 h 1357"/>
                <a:gd name="T60" fmla="*/ 984 w 1696"/>
                <a:gd name="T61" fmla="*/ 1134 h 1357"/>
                <a:gd name="T62" fmla="*/ 863 w 1696"/>
                <a:gd name="T63" fmla="*/ 1087 h 1357"/>
                <a:gd name="T64" fmla="*/ 797 w 1696"/>
                <a:gd name="T65" fmla="*/ 1013 h 1357"/>
                <a:gd name="T66" fmla="*/ 764 w 1696"/>
                <a:gd name="T67" fmla="*/ 902 h 1357"/>
                <a:gd name="T68" fmla="*/ 787 w 1696"/>
                <a:gd name="T69" fmla="*/ 781 h 1357"/>
                <a:gd name="T70" fmla="*/ 951 w 1696"/>
                <a:gd name="T71" fmla="*/ 758 h 1357"/>
                <a:gd name="T72" fmla="*/ 1244 w 1696"/>
                <a:gd name="T73" fmla="*/ 748 h 1357"/>
                <a:gd name="T74" fmla="*/ 291 w 1696"/>
                <a:gd name="T75" fmla="*/ 521 h 1357"/>
                <a:gd name="T76" fmla="*/ 99 w 1696"/>
                <a:gd name="T77" fmla="*/ 455 h 1357"/>
                <a:gd name="T78" fmla="*/ 99 w 1696"/>
                <a:gd name="T79" fmla="*/ 455 h 1357"/>
                <a:gd name="T80" fmla="*/ 35 w 1696"/>
                <a:gd name="T81" fmla="*/ 351 h 1357"/>
                <a:gd name="T82" fmla="*/ 269 w 1696"/>
                <a:gd name="T83" fmla="*/ 12 h 1357"/>
                <a:gd name="T84" fmla="*/ 390 w 1696"/>
                <a:gd name="T85" fmla="*/ 57 h 1357"/>
                <a:gd name="T86" fmla="*/ 497 w 1696"/>
                <a:gd name="T87" fmla="*/ 443 h 1357"/>
                <a:gd name="T88" fmla="*/ 605 w 1696"/>
                <a:gd name="T89" fmla="*/ 488 h 1357"/>
                <a:gd name="T90" fmla="*/ 643 w 1696"/>
                <a:gd name="T91" fmla="*/ 587 h 1357"/>
                <a:gd name="T92" fmla="*/ 499 w 1696"/>
                <a:gd name="T93" fmla="*/ 462 h 1357"/>
                <a:gd name="T94" fmla="*/ 357 w 1696"/>
                <a:gd name="T95" fmla="*/ 462 h 1357"/>
                <a:gd name="T96" fmla="*/ 310 w 1696"/>
                <a:gd name="T97" fmla="*/ 450 h 1357"/>
                <a:gd name="T98" fmla="*/ 215 w 1696"/>
                <a:gd name="T99" fmla="*/ 573 h 1357"/>
                <a:gd name="T100" fmla="*/ 128 w 1696"/>
                <a:gd name="T101" fmla="*/ 602 h 1357"/>
                <a:gd name="T102" fmla="*/ 229 w 1696"/>
                <a:gd name="T103" fmla="*/ 505 h 1357"/>
                <a:gd name="T104" fmla="*/ 168 w 1696"/>
                <a:gd name="T105" fmla="*/ 495 h 1357"/>
                <a:gd name="T106" fmla="*/ 104 w 1696"/>
                <a:gd name="T107" fmla="*/ 417 h 1357"/>
                <a:gd name="T108" fmla="*/ 165 w 1696"/>
                <a:gd name="T109" fmla="*/ 334 h 1357"/>
                <a:gd name="T110" fmla="*/ 132 w 1696"/>
                <a:gd name="T111" fmla="*/ 294 h 1357"/>
                <a:gd name="T112" fmla="*/ 128 w 1696"/>
                <a:gd name="T113" fmla="*/ 235 h 1357"/>
                <a:gd name="T114" fmla="*/ 118 w 1696"/>
                <a:gd name="T115" fmla="*/ 116 h 1357"/>
                <a:gd name="T116" fmla="*/ 269 w 1696"/>
                <a:gd name="T117" fmla="*/ 12 h 1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96" h="1357">
                  <a:moveTo>
                    <a:pt x="262" y="1352"/>
                  </a:moveTo>
                  <a:lnTo>
                    <a:pt x="262" y="1352"/>
                  </a:lnTo>
                  <a:lnTo>
                    <a:pt x="260" y="1357"/>
                  </a:lnTo>
                  <a:lnTo>
                    <a:pt x="255" y="1352"/>
                  </a:lnTo>
                  <a:lnTo>
                    <a:pt x="255" y="1347"/>
                  </a:lnTo>
                  <a:lnTo>
                    <a:pt x="253" y="1342"/>
                  </a:lnTo>
                  <a:lnTo>
                    <a:pt x="253" y="1340"/>
                  </a:lnTo>
                  <a:lnTo>
                    <a:pt x="258" y="1338"/>
                  </a:lnTo>
                  <a:lnTo>
                    <a:pt x="255" y="1335"/>
                  </a:lnTo>
                  <a:lnTo>
                    <a:pt x="255" y="1333"/>
                  </a:lnTo>
                  <a:lnTo>
                    <a:pt x="258" y="1333"/>
                  </a:lnTo>
                  <a:lnTo>
                    <a:pt x="265" y="1335"/>
                  </a:lnTo>
                  <a:lnTo>
                    <a:pt x="267" y="1335"/>
                  </a:lnTo>
                  <a:lnTo>
                    <a:pt x="269" y="1340"/>
                  </a:lnTo>
                  <a:lnTo>
                    <a:pt x="274" y="1345"/>
                  </a:lnTo>
                  <a:lnTo>
                    <a:pt x="274" y="1347"/>
                  </a:lnTo>
                  <a:lnTo>
                    <a:pt x="267" y="1350"/>
                  </a:lnTo>
                  <a:lnTo>
                    <a:pt x="262" y="1352"/>
                  </a:lnTo>
                  <a:lnTo>
                    <a:pt x="262" y="1352"/>
                  </a:lnTo>
                  <a:lnTo>
                    <a:pt x="262" y="1352"/>
                  </a:lnTo>
                  <a:close/>
                  <a:moveTo>
                    <a:pt x="253" y="1326"/>
                  </a:moveTo>
                  <a:lnTo>
                    <a:pt x="253" y="1326"/>
                  </a:lnTo>
                  <a:lnTo>
                    <a:pt x="248" y="1328"/>
                  </a:lnTo>
                  <a:lnTo>
                    <a:pt x="246" y="1323"/>
                  </a:lnTo>
                  <a:lnTo>
                    <a:pt x="243" y="1321"/>
                  </a:lnTo>
                  <a:lnTo>
                    <a:pt x="243" y="1321"/>
                  </a:lnTo>
                  <a:lnTo>
                    <a:pt x="243" y="1319"/>
                  </a:lnTo>
                  <a:lnTo>
                    <a:pt x="251" y="1321"/>
                  </a:lnTo>
                  <a:lnTo>
                    <a:pt x="253" y="1323"/>
                  </a:lnTo>
                  <a:lnTo>
                    <a:pt x="253" y="1326"/>
                  </a:lnTo>
                  <a:lnTo>
                    <a:pt x="253" y="1326"/>
                  </a:lnTo>
                  <a:lnTo>
                    <a:pt x="253" y="1326"/>
                  </a:lnTo>
                  <a:close/>
                  <a:moveTo>
                    <a:pt x="241" y="1316"/>
                  </a:moveTo>
                  <a:lnTo>
                    <a:pt x="241" y="1316"/>
                  </a:lnTo>
                  <a:lnTo>
                    <a:pt x="241" y="1319"/>
                  </a:lnTo>
                  <a:lnTo>
                    <a:pt x="234" y="1316"/>
                  </a:lnTo>
                  <a:lnTo>
                    <a:pt x="234" y="1316"/>
                  </a:lnTo>
                  <a:lnTo>
                    <a:pt x="241" y="1316"/>
                  </a:lnTo>
                  <a:lnTo>
                    <a:pt x="241" y="1316"/>
                  </a:lnTo>
                  <a:lnTo>
                    <a:pt x="241" y="1316"/>
                  </a:lnTo>
                  <a:close/>
                  <a:moveTo>
                    <a:pt x="227" y="1314"/>
                  </a:moveTo>
                  <a:lnTo>
                    <a:pt x="227" y="1314"/>
                  </a:lnTo>
                  <a:lnTo>
                    <a:pt x="227" y="1314"/>
                  </a:lnTo>
                  <a:lnTo>
                    <a:pt x="225" y="1314"/>
                  </a:lnTo>
                  <a:lnTo>
                    <a:pt x="220" y="1314"/>
                  </a:lnTo>
                  <a:lnTo>
                    <a:pt x="217" y="1312"/>
                  </a:lnTo>
                  <a:lnTo>
                    <a:pt x="217" y="1309"/>
                  </a:lnTo>
                  <a:lnTo>
                    <a:pt x="222" y="1307"/>
                  </a:lnTo>
                  <a:lnTo>
                    <a:pt x="225" y="1309"/>
                  </a:lnTo>
                  <a:lnTo>
                    <a:pt x="227" y="1314"/>
                  </a:lnTo>
                  <a:lnTo>
                    <a:pt x="227" y="1314"/>
                  </a:lnTo>
                  <a:lnTo>
                    <a:pt x="227" y="1314"/>
                  </a:lnTo>
                  <a:close/>
                  <a:moveTo>
                    <a:pt x="201" y="1302"/>
                  </a:moveTo>
                  <a:lnTo>
                    <a:pt x="201" y="1302"/>
                  </a:lnTo>
                  <a:lnTo>
                    <a:pt x="199" y="1305"/>
                  </a:lnTo>
                  <a:lnTo>
                    <a:pt x="194" y="1300"/>
                  </a:lnTo>
                  <a:lnTo>
                    <a:pt x="194" y="1300"/>
                  </a:lnTo>
                  <a:lnTo>
                    <a:pt x="196" y="1297"/>
                  </a:lnTo>
                  <a:lnTo>
                    <a:pt x="201" y="1297"/>
                  </a:lnTo>
                  <a:lnTo>
                    <a:pt x="201" y="1302"/>
                  </a:lnTo>
                  <a:lnTo>
                    <a:pt x="201" y="1302"/>
                  </a:lnTo>
                  <a:lnTo>
                    <a:pt x="201" y="1302"/>
                  </a:lnTo>
                  <a:close/>
                  <a:moveTo>
                    <a:pt x="1244" y="748"/>
                  </a:moveTo>
                  <a:lnTo>
                    <a:pt x="1244" y="748"/>
                  </a:lnTo>
                  <a:lnTo>
                    <a:pt x="1249" y="763"/>
                  </a:lnTo>
                  <a:lnTo>
                    <a:pt x="1253" y="767"/>
                  </a:lnTo>
                  <a:lnTo>
                    <a:pt x="1265" y="767"/>
                  </a:lnTo>
                  <a:lnTo>
                    <a:pt x="1282" y="772"/>
                  </a:lnTo>
                  <a:lnTo>
                    <a:pt x="1296" y="779"/>
                  </a:lnTo>
                  <a:lnTo>
                    <a:pt x="1310" y="777"/>
                  </a:lnTo>
                  <a:lnTo>
                    <a:pt x="1329" y="784"/>
                  </a:lnTo>
                  <a:lnTo>
                    <a:pt x="1336" y="784"/>
                  </a:lnTo>
                  <a:lnTo>
                    <a:pt x="1350" y="777"/>
                  </a:lnTo>
                  <a:lnTo>
                    <a:pt x="1365" y="784"/>
                  </a:lnTo>
                  <a:lnTo>
                    <a:pt x="1381" y="793"/>
                  </a:lnTo>
                  <a:lnTo>
                    <a:pt x="1393" y="803"/>
                  </a:lnTo>
                  <a:lnTo>
                    <a:pt x="1405" y="810"/>
                  </a:lnTo>
                  <a:lnTo>
                    <a:pt x="1407" y="815"/>
                  </a:lnTo>
                  <a:lnTo>
                    <a:pt x="1412" y="817"/>
                  </a:lnTo>
                  <a:lnTo>
                    <a:pt x="1410" y="819"/>
                  </a:lnTo>
                  <a:lnTo>
                    <a:pt x="1414" y="822"/>
                  </a:lnTo>
                  <a:lnTo>
                    <a:pt x="1419" y="819"/>
                  </a:lnTo>
                  <a:lnTo>
                    <a:pt x="1419" y="824"/>
                  </a:lnTo>
                  <a:lnTo>
                    <a:pt x="1424" y="829"/>
                  </a:lnTo>
                  <a:lnTo>
                    <a:pt x="1426" y="829"/>
                  </a:lnTo>
                  <a:lnTo>
                    <a:pt x="1428" y="831"/>
                  </a:lnTo>
                  <a:lnTo>
                    <a:pt x="1426" y="834"/>
                  </a:lnTo>
                  <a:lnTo>
                    <a:pt x="1445" y="845"/>
                  </a:lnTo>
                  <a:lnTo>
                    <a:pt x="1447" y="867"/>
                  </a:lnTo>
                  <a:lnTo>
                    <a:pt x="1452" y="886"/>
                  </a:lnTo>
                  <a:lnTo>
                    <a:pt x="1445" y="897"/>
                  </a:lnTo>
                  <a:lnTo>
                    <a:pt x="1438" y="912"/>
                  </a:lnTo>
                  <a:lnTo>
                    <a:pt x="1436" y="919"/>
                  </a:lnTo>
                  <a:lnTo>
                    <a:pt x="1436" y="919"/>
                  </a:lnTo>
                  <a:lnTo>
                    <a:pt x="1436" y="923"/>
                  </a:lnTo>
                  <a:lnTo>
                    <a:pt x="1443" y="926"/>
                  </a:lnTo>
                  <a:lnTo>
                    <a:pt x="1445" y="926"/>
                  </a:lnTo>
                  <a:lnTo>
                    <a:pt x="1464" y="914"/>
                  </a:lnTo>
                  <a:lnTo>
                    <a:pt x="1481" y="912"/>
                  </a:lnTo>
                  <a:lnTo>
                    <a:pt x="1502" y="902"/>
                  </a:lnTo>
                  <a:lnTo>
                    <a:pt x="1504" y="900"/>
                  </a:lnTo>
                  <a:lnTo>
                    <a:pt x="1502" y="893"/>
                  </a:lnTo>
                  <a:lnTo>
                    <a:pt x="1499" y="888"/>
                  </a:lnTo>
                  <a:lnTo>
                    <a:pt x="1507" y="883"/>
                  </a:lnTo>
                  <a:lnTo>
                    <a:pt x="1521" y="883"/>
                  </a:lnTo>
                  <a:lnTo>
                    <a:pt x="1537" y="883"/>
                  </a:lnTo>
                  <a:lnTo>
                    <a:pt x="1542" y="874"/>
                  </a:lnTo>
                  <a:lnTo>
                    <a:pt x="1544" y="874"/>
                  </a:lnTo>
                  <a:lnTo>
                    <a:pt x="1561" y="857"/>
                  </a:lnTo>
                  <a:lnTo>
                    <a:pt x="1568" y="852"/>
                  </a:lnTo>
                  <a:lnTo>
                    <a:pt x="1592" y="852"/>
                  </a:lnTo>
                  <a:lnTo>
                    <a:pt x="1622" y="852"/>
                  </a:lnTo>
                  <a:lnTo>
                    <a:pt x="1625" y="848"/>
                  </a:lnTo>
                  <a:lnTo>
                    <a:pt x="1630" y="845"/>
                  </a:lnTo>
                  <a:lnTo>
                    <a:pt x="1637" y="843"/>
                  </a:lnTo>
                  <a:lnTo>
                    <a:pt x="1644" y="831"/>
                  </a:lnTo>
                  <a:lnTo>
                    <a:pt x="1646" y="815"/>
                  </a:lnTo>
                  <a:lnTo>
                    <a:pt x="1660" y="796"/>
                  </a:lnTo>
                  <a:lnTo>
                    <a:pt x="1665" y="803"/>
                  </a:lnTo>
                  <a:lnTo>
                    <a:pt x="1677" y="798"/>
                  </a:lnTo>
                  <a:lnTo>
                    <a:pt x="1682" y="805"/>
                  </a:lnTo>
                  <a:lnTo>
                    <a:pt x="1682" y="838"/>
                  </a:lnTo>
                  <a:lnTo>
                    <a:pt x="1693" y="850"/>
                  </a:lnTo>
                  <a:lnTo>
                    <a:pt x="1696" y="857"/>
                  </a:lnTo>
                  <a:lnTo>
                    <a:pt x="1679" y="869"/>
                  </a:lnTo>
                  <a:lnTo>
                    <a:pt x="1663" y="876"/>
                  </a:lnTo>
                  <a:lnTo>
                    <a:pt x="1646" y="883"/>
                  </a:lnTo>
                  <a:lnTo>
                    <a:pt x="1637" y="895"/>
                  </a:lnTo>
                  <a:lnTo>
                    <a:pt x="1634" y="900"/>
                  </a:lnTo>
                  <a:lnTo>
                    <a:pt x="1634" y="912"/>
                  </a:lnTo>
                  <a:lnTo>
                    <a:pt x="1639" y="923"/>
                  </a:lnTo>
                  <a:lnTo>
                    <a:pt x="1646" y="923"/>
                  </a:lnTo>
                  <a:lnTo>
                    <a:pt x="1644" y="916"/>
                  </a:lnTo>
                  <a:lnTo>
                    <a:pt x="1648" y="921"/>
                  </a:lnTo>
                  <a:lnTo>
                    <a:pt x="1648" y="928"/>
                  </a:lnTo>
                  <a:lnTo>
                    <a:pt x="1637" y="931"/>
                  </a:lnTo>
                  <a:lnTo>
                    <a:pt x="1630" y="931"/>
                  </a:lnTo>
                  <a:lnTo>
                    <a:pt x="1618" y="935"/>
                  </a:lnTo>
                  <a:lnTo>
                    <a:pt x="1611" y="935"/>
                  </a:lnTo>
                  <a:lnTo>
                    <a:pt x="1601" y="935"/>
                  </a:lnTo>
                  <a:lnTo>
                    <a:pt x="1587" y="942"/>
                  </a:lnTo>
                  <a:lnTo>
                    <a:pt x="1611" y="938"/>
                  </a:lnTo>
                  <a:lnTo>
                    <a:pt x="1615" y="942"/>
                  </a:lnTo>
                  <a:lnTo>
                    <a:pt x="1594" y="950"/>
                  </a:lnTo>
                  <a:lnTo>
                    <a:pt x="1582" y="950"/>
                  </a:lnTo>
                  <a:lnTo>
                    <a:pt x="1585" y="947"/>
                  </a:lnTo>
                  <a:lnTo>
                    <a:pt x="1577" y="952"/>
                  </a:lnTo>
                  <a:lnTo>
                    <a:pt x="1585" y="954"/>
                  </a:lnTo>
                  <a:lnTo>
                    <a:pt x="1580" y="968"/>
                  </a:lnTo>
                  <a:lnTo>
                    <a:pt x="1568" y="985"/>
                  </a:lnTo>
                  <a:lnTo>
                    <a:pt x="1566" y="978"/>
                  </a:lnTo>
                  <a:lnTo>
                    <a:pt x="1563" y="978"/>
                  </a:lnTo>
                  <a:lnTo>
                    <a:pt x="1559" y="973"/>
                  </a:lnTo>
                  <a:lnTo>
                    <a:pt x="1561" y="983"/>
                  </a:lnTo>
                  <a:lnTo>
                    <a:pt x="1566" y="987"/>
                  </a:lnTo>
                  <a:lnTo>
                    <a:pt x="1566" y="997"/>
                  </a:lnTo>
                  <a:lnTo>
                    <a:pt x="1561" y="1004"/>
                  </a:lnTo>
                  <a:lnTo>
                    <a:pt x="1551" y="1021"/>
                  </a:lnTo>
                  <a:lnTo>
                    <a:pt x="1549" y="1018"/>
                  </a:lnTo>
                  <a:lnTo>
                    <a:pt x="1554" y="1004"/>
                  </a:lnTo>
                  <a:lnTo>
                    <a:pt x="1547" y="997"/>
                  </a:lnTo>
                  <a:lnTo>
                    <a:pt x="1544" y="980"/>
                  </a:lnTo>
                  <a:lnTo>
                    <a:pt x="1542" y="990"/>
                  </a:lnTo>
                  <a:lnTo>
                    <a:pt x="1544" y="1002"/>
                  </a:lnTo>
                  <a:lnTo>
                    <a:pt x="1533" y="999"/>
                  </a:lnTo>
                  <a:lnTo>
                    <a:pt x="1544" y="1006"/>
                  </a:lnTo>
                  <a:lnTo>
                    <a:pt x="1547" y="1025"/>
                  </a:lnTo>
                  <a:lnTo>
                    <a:pt x="1551" y="1025"/>
                  </a:lnTo>
                  <a:lnTo>
                    <a:pt x="1551" y="1032"/>
                  </a:lnTo>
                  <a:lnTo>
                    <a:pt x="1554" y="1054"/>
                  </a:lnTo>
                  <a:lnTo>
                    <a:pt x="1544" y="1068"/>
                  </a:lnTo>
                  <a:lnTo>
                    <a:pt x="1528" y="1073"/>
                  </a:lnTo>
                  <a:lnTo>
                    <a:pt x="1516" y="1084"/>
                  </a:lnTo>
                  <a:lnTo>
                    <a:pt x="1509" y="1084"/>
                  </a:lnTo>
                  <a:lnTo>
                    <a:pt x="1502" y="1094"/>
                  </a:lnTo>
                  <a:lnTo>
                    <a:pt x="1499" y="1099"/>
                  </a:lnTo>
                  <a:lnTo>
                    <a:pt x="1481" y="1113"/>
                  </a:lnTo>
                  <a:lnTo>
                    <a:pt x="1471" y="1120"/>
                  </a:lnTo>
                  <a:lnTo>
                    <a:pt x="1464" y="1132"/>
                  </a:lnTo>
                  <a:lnTo>
                    <a:pt x="1462" y="1146"/>
                  </a:lnTo>
                  <a:lnTo>
                    <a:pt x="1464" y="1158"/>
                  </a:lnTo>
                  <a:lnTo>
                    <a:pt x="1469" y="1174"/>
                  </a:lnTo>
                  <a:lnTo>
                    <a:pt x="1476" y="1189"/>
                  </a:lnTo>
                  <a:lnTo>
                    <a:pt x="1476" y="1196"/>
                  </a:lnTo>
                  <a:lnTo>
                    <a:pt x="1485" y="1217"/>
                  </a:lnTo>
                  <a:lnTo>
                    <a:pt x="1483" y="1229"/>
                  </a:lnTo>
                  <a:lnTo>
                    <a:pt x="1483" y="1236"/>
                  </a:lnTo>
                  <a:lnTo>
                    <a:pt x="1478" y="1245"/>
                  </a:lnTo>
                  <a:lnTo>
                    <a:pt x="1473" y="1248"/>
                  </a:lnTo>
                  <a:lnTo>
                    <a:pt x="1466" y="1245"/>
                  </a:lnTo>
                  <a:lnTo>
                    <a:pt x="1464" y="1238"/>
                  </a:lnTo>
                  <a:lnTo>
                    <a:pt x="1457" y="1234"/>
                  </a:lnTo>
                  <a:lnTo>
                    <a:pt x="1450" y="1219"/>
                  </a:lnTo>
                  <a:lnTo>
                    <a:pt x="1440" y="1205"/>
                  </a:lnTo>
                  <a:lnTo>
                    <a:pt x="1438" y="1198"/>
                  </a:lnTo>
                  <a:lnTo>
                    <a:pt x="1443" y="1186"/>
                  </a:lnTo>
                  <a:lnTo>
                    <a:pt x="1438" y="1177"/>
                  </a:lnTo>
                  <a:lnTo>
                    <a:pt x="1424" y="1160"/>
                  </a:lnTo>
                  <a:lnTo>
                    <a:pt x="1419" y="1158"/>
                  </a:lnTo>
                  <a:lnTo>
                    <a:pt x="1402" y="1167"/>
                  </a:lnTo>
                  <a:lnTo>
                    <a:pt x="1400" y="1165"/>
                  </a:lnTo>
                  <a:lnTo>
                    <a:pt x="1393" y="1155"/>
                  </a:lnTo>
                  <a:lnTo>
                    <a:pt x="1381" y="1151"/>
                  </a:lnTo>
                  <a:lnTo>
                    <a:pt x="1362" y="1153"/>
                  </a:lnTo>
                  <a:lnTo>
                    <a:pt x="1348" y="1151"/>
                  </a:lnTo>
                  <a:lnTo>
                    <a:pt x="1336" y="1153"/>
                  </a:lnTo>
                  <a:lnTo>
                    <a:pt x="1329" y="1155"/>
                  </a:lnTo>
                  <a:lnTo>
                    <a:pt x="1334" y="1160"/>
                  </a:lnTo>
                  <a:lnTo>
                    <a:pt x="1331" y="1167"/>
                  </a:lnTo>
                  <a:lnTo>
                    <a:pt x="1336" y="1172"/>
                  </a:lnTo>
                  <a:lnTo>
                    <a:pt x="1334" y="1174"/>
                  </a:lnTo>
                  <a:lnTo>
                    <a:pt x="1327" y="1172"/>
                  </a:lnTo>
                  <a:lnTo>
                    <a:pt x="1320" y="1174"/>
                  </a:lnTo>
                  <a:lnTo>
                    <a:pt x="1310" y="1174"/>
                  </a:lnTo>
                  <a:lnTo>
                    <a:pt x="1296" y="1165"/>
                  </a:lnTo>
                  <a:lnTo>
                    <a:pt x="1282" y="1167"/>
                  </a:lnTo>
                  <a:lnTo>
                    <a:pt x="1270" y="1163"/>
                  </a:lnTo>
                  <a:lnTo>
                    <a:pt x="1261" y="1165"/>
                  </a:lnTo>
                  <a:lnTo>
                    <a:pt x="1246" y="1167"/>
                  </a:lnTo>
                  <a:lnTo>
                    <a:pt x="1232" y="1181"/>
                  </a:lnTo>
                  <a:lnTo>
                    <a:pt x="1216" y="1191"/>
                  </a:lnTo>
                  <a:lnTo>
                    <a:pt x="1208" y="1198"/>
                  </a:lnTo>
                  <a:lnTo>
                    <a:pt x="1204" y="1208"/>
                  </a:lnTo>
                  <a:lnTo>
                    <a:pt x="1204" y="1219"/>
                  </a:lnTo>
                  <a:lnTo>
                    <a:pt x="1204" y="1229"/>
                  </a:lnTo>
                  <a:lnTo>
                    <a:pt x="1208" y="1234"/>
                  </a:lnTo>
                  <a:lnTo>
                    <a:pt x="1201" y="1234"/>
                  </a:lnTo>
                  <a:lnTo>
                    <a:pt x="1190" y="1231"/>
                  </a:lnTo>
                  <a:lnTo>
                    <a:pt x="1178" y="1226"/>
                  </a:lnTo>
                  <a:lnTo>
                    <a:pt x="1173" y="1217"/>
                  </a:lnTo>
                  <a:lnTo>
                    <a:pt x="1168" y="1205"/>
                  </a:lnTo>
                  <a:lnTo>
                    <a:pt x="1159" y="1193"/>
                  </a:lnTo>
                  <a:lnTo>
                    <a:pt x="1154" y="1184"/>
                  </a:lnTo>
                  <a:lnTo>
                    <a:pt x="1147" y="1170"/>
                  </a:lnTo>
                  <a:lnTo>
                    <a:pt x="1135" y="1163"/>
                  </a:lnTo>
                  <a:lnTo>
                    <a:pt x="1121" y="1165"/>
                  </a:lnTo>
                  <a:lnTo>
                    <a:pt x="1112" y="1179"/>
                  </a:lnTo>
                  <a:lnTo>
                    <a:pt x="1097" y="1172"/>
                  </a:lnTo>
                  <a:lnTo>
                    <a:pt x="1090" y="1167"/>
                  </a:lnTo>
                  <a:lnTo>
                    <a:pt x="1085" y="1158"/>
                  </a:lnTo>
                  <a:lnTo>
                    <a:pt x="1081" y="1146"/>
                  </a:lnTo>
                  <a:lnTo>
                    <a:pt x="1069" y="1139"/>
                  </a:lnTo>
                  <a:lnTo>
                    <a:pt x="1062" y="1132"/>
                  </a:lnTo>
                  <a:lnTo>
                    <a:pt x="1055" y="1127"/>
                  </a:lnTo>
                  <a:lnTo>
                    <a:pt x="1029" y="1127"/>
                  </a:lnTo>
                  <a:lnTo>
                    <a:pt x="1029" y="1134"/>
                  </a:lnTo>
                  <a:lnTo>
                    <a:pt x="1015" y="1134"/>
                  </a:lnTo>
                  <a:lnTo>
                    <a:pt x="984" y="1134"/>
                  </a:lnTo>
                  <a:lnTo>
                    <a:pt x="946" y="1120"/>
                  </a:lnTo>
                  <a:lnTo>
                    <a:pt x="922" y="1110"/>
                  </a:lnTo>
                  <a:lnTo>
                    <a:pt x="922" y="1108"/>
                  </a:lnTo>
                  <a:lnTo>
                    <a:pt x="903" y="1110"/>
                  </a:lnTo>
                  <a:lnTo>
                    <a:pt x="884" y="1110"/>
                  </a:lnTo>
                  <a:lnTo>
                    <a:pt x="882" y="1101"/>
                  </a:lnTo>
                  <a:lnTo>
                    <a:pt x="870" y="1089"/>
                  </a:lnTo>
                  <a:lnTo>
                    <a:pt x="863" y="1087"/>
                  </a:lnTo>
                  <a:lnTo>
                    <a:pt x="861" y="1082"/>
                  </a:lnTo>
                  <a:lnTo>
                    <a:pt x="851" y="1082"/>
                  </a:lnTo>
                  <a:lnTo>
                    <a:pt x="847" y="1077"/>
                  </a:lnTo>
                  <a:lnTo>
                    <a:pt x="832" y="1075"/>
                  </a:lnTo>
                  <a:lnTo>
                    <a:pt x="828" y="1073"/>
                  </a:lnTo>
                  <a:lnTo>
                    <a:pt x="825" y="1061"/>
                  </a:lnTo>
                  <a:lnTo>
                    <a:pt x="809" y="1042"/>
                  </a:lnTo>
                  <a:lnTo>
                    <a:pt x="797" y="1013"/>
                  </a:lnTo>
                  <a:lnTo>
                    <a:pt x="797" y="1009"/>
                  </a:lnTo>
                  <a:lnTo>
                    <a:pt x="790" y="1002"/>
                  </a:lnTo>
                  <a:lnTo>
                    <a:pt x="776" y="985"/>
                  </a:lnTo>
                  <a:lnTo>
                    <a:pt x="773" y="966"/>
                  </a:lnTo>
                  <a:lnTo>
                    <a:pt x="766" y="957"/>
                  </a:lnTo>
                  <a:lnTo>
                    <a:pt x="769" y="938"/>
                  </a:lnTo>
                  <a:lnTo>
                    <a:pt x="769" y="919"/>
                  </a:lnTo>
                  <a:lnTo>
                    <a:pt x="764" y="902"/>
                  </a:lnTo>
                  <a:lnTo>
                    <a:pt x="771" y="883"/>
                  </a:lnTo>
                  <a:lnTo>
                    <a:pt x="771" y="862"/>
                  </a:lnTo>
                  <a:lnTo>
                    <a:pt x="773" y="841"/>
                  </a:lnTo>
                  <a:lnTo>
                    <a:pt x="771" y="810"/>
                  </a:lnTo>
                  <a:lnTo>
                    <a:pt x="766" y="789"/>
                  </a:lnTo>
                  <a:lnTo>
                    <a:pt x="761" y="779"/>
                  </a:lnTo>
                  <a:lnTo>
                    <a:pt x="764" y="774"/>
                  </a:lnTo>
                  <a:lnTo>
                    <a:pt x="787" y="781"/>
                  </a:lnTo>
                  <a:lnTo>
                    <a:pt x="795" y="805"/>
                  </a:lnTo>
                  <a:lnTo>
                    <a:pt x="799" y="798"/>
                  </a:lnTo>
                  <a:lnTo>
                    <a:pt x="797" y="779"/>
                  </a:lnTo>
                  <a:lnTo>
                    <a:pt x="792" y="758"/>
                  </a:lnTo>
                  <a:lnTo>
                    <a:pt x="837" y="758"/>
                  </a:lnTo>
                  <a:lnTo>
                    <a:pt x="884" y="758"/>
                  </a:lnTo>
                  <a:lnTo>
                    <a:pt x="901" y="758"/>
                  </a:lnTo>
                  <a:lnTo>
                    <a:pt x="951" y="758"/>
                  </a:lnTo>
                  <a:lnTo>
                    <a:pt x="998" y="758"/>
                  </a:lnTo>
                  <a:lnTo>
                    <a:pt x="1048" y="758"/>
                  </a:lnTo>
                  <a:lnTo>
                    <a:pt x="1097" y="758"/>
                  </a:lnTo>
                  <a:lnTo>
                    <a:pt x="1152" y="758"/>
                  </a:lnTo>
                  <a:lnTo>
                    <a:pt x="1206" y="758"/>
                  </a:lnTo>
                  <a:lnTo>
                    <a:pt x="1239" y="758"/>
                  </a:lnTo>
                  <a:lnTo>
                    <a:pt x="1239" y="748"/>
                  </a:lnTo>
                  <a:lnTo>
                    <a:pt x="1244" y="748"/>
                  </a:lnTo>
                  <a:lnTo>
                    <a:pt x="1244" y="748"/>
                  </a:lnTo>
                  <a:lnTo>
                    <a:pt x="1244" y="748"/>
                  </a:lnTo>
                  <a:close/>
                  <a:moveTo>
                    <a:pt x="303" y="540"/>
                  </a:moveTo>
                  <a:lnTo>
                    <a:pt x="303" y="540"/>
                  </a:lnTo>
                  <a:lnTo>
                    <a:pt x="286" y="552"/>
                  </a:lnTo>
                  <a:lnTo>
                    <a:pt x="279" y="545"/>
                  </a:lnTo>
                  <a:lnTo>
                    <a:pt x="277" y="531"/>
                  </a:lnTo>
                  <a:lnTo>
                    <a:pt x="291" y="521"/>
                  </a:lnTo>
                  <a:lnTo>
                    <a:pt x="300" y="516"/>
                  </a:lnTo>
                  <a:lnTo>
                    <a:pt x="310" y="516"/>
                  </a:lnTo>
                  <a:lnTo>
                    <a:pt x="317" y="526"/>
                  </a:lnTo>
                  <a:lnTo>
                    <a:pt x="303" y="540"/>
                  </a:lnTo>
                  <a:lnTo>
                    <a:pt x="303" y="540"/>
                  </a:lnTo>
                  <a:lnTo>
                    <a:pt x="303" y="540"/>
                  </a:lnTo>
                  <a:close/>
                  <a:moveTo>
                    <a:pt x="99" y="455"/>
                  </a:moveTo>
                  <a:lnTo>
                    <a:pt x="99" y="455"/>
                  </a:lnTo>
                  <a:lnTo>
                    <a:pt x="90" y="460"/>
                  </a:lnTo>
                  <a:lnTo>
                    <a:pt x="78" y="455"/>
                  </a:lnTo>
                  <a:lnTo>
                    <a:pt x="68" y="445"/>
                  </a:lnTo>
                  <a:lnTo>
                    <a:pt x="85" y="441"/>
                  </a:lnTo>
                  <a:lnTo>
                    <a:pt x="97" y="443"/>
                  </a:lnTo>
                  <a:lnTo>
                    <a:pt x="99" y="455"/>
                  </a:lnTo>
                  <a:lnTo>
                    <a:pt x="99" y="455"/>
                  </a:lnTo>
                  <a:lnTo>
                    <a:pt x="99" y="455"/>
                  </a:lnTo>
                  <a:close/>
                  <a:moveTo>
                    <a:pt x="0" y="322"/>
                  </a:moveTo>
                  <a:lnTo>
                    <a:pt x="0" y="322"/>
                  </a:lnTo>
                  <a:lnTo>
                    <a:pt x="9" y="329"/>
                  </a:lnTo>
                  <a:lnTo>
                    <a:pt x="19" y="327"/>
                  </a:lnTo>
                  <a:lnTo>
                    <a:pt x="33" y="336"/>
                  </a:lnTo>
                  <a:lnTo>
                    <a:pt x="49" y="341"/>
                  </a:lnTo>
                  <a:lnTo>
                    <a:pt x="47" y="344"/>
                  </a:lnTo>
                  <a:lnTo>
                    <a:pt x="35" y="351"/>
                  </a:lnTo>
                  <a:lnTo>
                    <a:pt x="23" y="344"/>
                  </a:lnTo>
                  <a:lnTo>
                    <a:pt x="16" y="339"/>
                  </a:lnTo>
                  <a:lnTo>
                    <a:pt x="2" y="341"/>
                  </a:lnTo>
                  <a:lnTo>
                    <a:pt x="0" y="336"/>
                  </a:lnTo>
                  <a:lnTo>
                    <a:pt x="0" y="322"/>
                  </a:lnTo>
                  <a:lnTo>
                    <a:pt x="0" y="322"/>
                  </a:lnTo>
                  <a:lnTo>
                    <a:pt x="0" y="322"/>
                  </a:lnTo>
                  <a:close/>
                  <a:moveTo>
                    <a:pt x="269" y="12"/>
                  </a:moveTo>
                  <a:lnTo>
                    <a:pt x="269" y="12"/>
                  </a:lnTo>
                  <a:lnTo>
                    <a:pt x="281" y="33"/>
                  </a:lnTo>
                  <a:lnTo>
                    <a:pt x="288" y="24"/>
                  </a:lnTo>
                  <a:lnTo>
                    <a:pt x="317" y="26"/>
                  </a:lnTo>
                  <a:lnTo>
                    <a:pt x="314" y="38"/>
                  </a:lnTo>
                  <a:lnTo>
                    <a:pt x="340" y="48"/>
                  </a:lnTo>
                  <a:lnTo>
                    <a:pt x="357" y="41"/>
                  </a:lnTo>
                  <a:lnTo>
                    <a:pt x="390" y="57"/>
                  </a:lnTo>
                  <a:lnTo>
                    <a:pt x="421" y="62"/>
                  </a:lnTo>
                  <a:lnTo>
                    <a:pt x="433" y="67"/>
                  </a:lnTo>
                  <a:lnTo>
                    <a:pt x="456" y="60"/>
                  </a:lnTo>
                  <a:lnTo>
                    <a:pt x="480" y="74"/>
                  </a:lnTo>
                  <a:lnTo>
                    <a:pt x="497" y="81"/>
                  </a:lnTo>
                  <a:lnTo>
                    <a:pt x="497" y="81"/>
                  </a:lnTo>
                  <a:lnTo>
                    <a:pt x="497" y="239"/>
                  </a:lnTo>
                  <a:lnTo>
                    <a:pt x="497" y="443"/>
                  </a:lnTo>
                  <a:lnTo>
                    <a:pt x="513" y="443"/>
                  </a:lnTo>
                  <a:lnTo>
                    <a:pt x="530" y="452"/>
                  </a:lnTo>
                  <a:lnTo>
                    <a:pt x="541" y="467"/>
                  </a:lnTo>
                  <a:lnTo>
                    <a:pt x="556" y="488"/>
                  </a:lnTo>
                  <a:lnTo>
                    <a:pt x="570" y="469"/>
                  </a:lnTo>
                  <a:lnTo>
                    <a:pt x="586" y="460"/>
                  </a:lnTo>
                  <a:lnTo>
                    <a:pt x="596" y="474"/>
                  </a:lnTo>
                  <a:lnTo>
                    <a:pt x="605" y="488"/>
                  </a:lnTo>
                  <a:lnTo>
                    <a:pt x="622" y="502"/>
                  </a:lnTo>
                  <a:lnTo>
                    <a:pt x="631" y="523"/>
                  </a:lnTo>
                  <a:lnTo>
                    <a:pt x="648" y="559"/>
                  </a:lnTo>
                  <a:lnTo>
                    <a:pt x="676" y="576"/>
                  </a:lnTo>
                  <a:lnTo>
                    <a:pt x="676" y="594"/>
                  </a:lnTo>
                  <a:lnTo>
                    <a:pt x="667" y="606"/>
                  </a:lnTo>
                  <a:lnTo>
                    <a:pt x="657" y="597"/>
                  </a:lnTo>
                  <a:lnTo>
                    <a:pt x="643" y="587"/>
                  </a:lnTo>
                  <a:lnTo>
                    <a:pt x="638" y="564"/>
                  </a:lnTo>
                  <a:lnTo>
                    <a:pt x="617" y="538"/>
                  </a:lnTo>
                  <a:lnTo>
                    <a:pt x="608" y="512"/>
                  </a:lnTo>
                  <a:lnTo>
                    <a:pt x="594" y="509"/>
                  </a:lnTo>
                  <a:lnTo>
                    <a:pt x="567" y="509"/>
                  </a:lnTo>
                  <a:lnTo>
                    <a:pt x="549" y="500"/>
                  </a:lnTo>
                  <a:lnTo>
                    <a:pt x="515" y="467"/>
                  </a:lnTo>
                  <a:lnTo>
                    <a:pt x="499" y="462"/>
                  </a:lnTo>
                  <a:lnTo>
                    <a:pt x="471" y="450"/>
                  </a:lnTo>
                  <a:lnTo>
                    <a:pt x="449" y="452"/>
                  </a:lnTo>
                  <a:lnTo>
                    <a:pt x="416" y="438"/>
                  </a:lnTo>
                  <a:lnTo>
                    <a:pt x="400" y="424"/>
                  </a:lnTo>
                  <a:lnTo>
                    <a:pt x="381" y="431"/>
                  </a:lnTo>
                  <a:lnTo>
                    <a:pt x="385" y="452"/>
                  </a:lnTo>
                  <a:lnTo>
                    <a:pt x="374" y="455"/>
                  </a:lnTo>
                  <a:lnTo>
                    <a:pt x="357" y="462"/>
                  </a:lnTo>
                  <a:lnTo>
                    <a:pt x="340" y="474"/>
                  </a:lnTo>
                  <a:lnTo>
                    <a:pt x="324" y="478"/>
                  </a:lnTo>
                  <a:lnTo>
                    <a:pt x="322" y="460"/>
                  </a:lnTo>
                  <a:lnTo>
                    <a:pt x="329" y="429"/>
                  </a:lnTo>
                  <a:lnTo>
                    <a:pt x="345" y="417"/>
                  </a:lnTo>
                  <a:lnTo>
                    <a:pt x="340" y="410"/>
                  </a:lnTo>
                  <a:lnTo>
                    <a:pt x="322" y="429"/>
                  </a:lnTo>
                  <a:lnTo>
                    <a:pt x="310" y="450"/>
                  </a:lnTo>
                  <a:lnTo>
                    <a:pt x="286" y="474"/>
                  </a:lnTo>
                  <a:lnTo>
                    <a:pt x="298" y="488"/>
                  </a:lnTo>
                  <a:lnTo>
                    <a:pt x="284" y="509"/>
                  </a:lnTo>
                  <a:lnTo>
                    <a:pt x="265" y="523"/>
                  </a:lnTo>
                  <a:lnTo>
                    <a:pt x="251" y="533"/>
                  </a:lnTo>
                  <a:lnTo>
                    <a:pt x="246" y="545"/>
                  </a:lnTo>
                  <a:lnTo>
                    <a:pt x="220" y="559"/>
                  </a:lnTo>
                  <a:lnTo>
                    <a:pt x="215" y="573"/>
                  </a:lnTo>
                  <a:lnTo>
                    <a:pt x="196" y="585"/>
                  </a:lnTo>
                  <a:lnTo>
                    <a:pt x="184" y="583"/>
                  </a:lnTo>
                  <a:lnTo>
                    <a:pt x="170" y="592"/>
                  </a:lnTo>
                  <a:lnTo>
                    <a:pt x="154" y="602"/>
                  </a:lnTo>
                  <a:lnTo>
                    <a:pt x="139" y="611"/>
                  </a:lnTo>
                  <a:lnTo>
                    <a:pt x="113" y="618"/>
                  </a:lnTo>
                  <a:lnTo>
                    <a:pt x="109" y="613"/>
                  </a:lnTo>
                  <a:lnTo>
                    <a:pt x="128" y="602"/>
                  </a:lnTo>
                  <a:lnTo>
                    <a:pt x="142" y="592"/>
                  </a:lnTo>
                  <a:lnTo>
                    <a:pt x="161" y="578"/>
                  </a:lnTo>
                  <a:lnTo>
                    <a:pt x="180" y="573"/>
                  </a:lnTo>
                  <a:lnTo>
                    <a:pt x="189" y="561"/>
                  </a:lnTo>
                  <a:lnTo>
                    <a:pt x="210" y="545"/>
                  </a:lnTo>
                  <a:lnTo>
                    <a:pt x="215" y="538"/>
                  </a:lnTo>
                  <a:lnTo>
                    <a:pt x="227" y="528"/>
                  </a:lnTo>
                  <a:lnTo>
                    <a:pt x="229" y="505"/>
                  </a:lnTo>
                  <a:lnTo>
                    <a:pt x="236" y="486"/>
                  </a:lnTo>
                  <a:lnTo>
                    <a:pt x="220" y="495"/>
                  </a:lnTo>
                  <a:lnTo>
                    <a:pt x="213" y="490"/>
                  </a:lnTo>
                  <a:lnTo>
                    <a:pt x="206" y="502"/>
                  </a:lnTo>
                  <a:lnTo>
                    <a:pt x="194" y="486"/>
                  </a:lnTo>
                  <a:lnTo>
                    <a:pt x="189" y="497"/>
                  </a:lnTo>
                  <a:lnTo>
                    <a:pt x="184" y="481"/>
                  </a:lnTo>
                  <a:lnTo>
                    <a:pt x="168" y="495"/>
                  </a:lnTo>
                  <a:lnTo>
                    <a:pt x="158" y="495"/>
                  </a:lnTo>
                  <a:lnTo>
                    <a:pt x="156" y="474"/>
                  </a:lnTo>
                  <a:lnTo>
                    <a:pt x="158" y="464"/>
                  </a:lnTo>
                  <a:lnTo>
                    <a:pt x="149" y="452"/>
                  </a:lnTo>
                  <a:lnTo>
                    <a:pt x="128" y="460"/>
                  </a:lnTo>
                  <a:lnTo>
                    <a:pt x="113" y="443"/>
                  </a:lnTo>
                  <a:lnTo>
                    <a:pt x="104" y="436"/>
                  </a:lnTo>
                  <a:lnTo>
                    <a:pt x="104" y="417"/>
                  </a:lnTo>
                  <a:lnTo>
                    <a:pt x="90" y="403"/>
                  </a:lnTo>
                  <a:lnTo>
                    <a:pt x="97" y="384"/>
                  </a:lnTo>
                  <a:lnTo>
                    <a:pt x="111" y="365"/>
                  </a:lnTo>
                  <a:lnTo>
                    <a:pt x="116" y="346"/>
                  </a:lnTo>
                  <a:lnTo>
                    <a:pt x="130" y="344"/>
                  </a:lnTo>
                  <a:lnTo>
                    <a:pt x="139" y="348"/>
                  </a:lnTo>
                  <a:lnTo>
                    <a:pt x="154" y="332"/>
                  </a:lnTo>
                  <a:lnTo>
                    <a:pt x="165" y="334"/>
                  </a:lnTo>
                  <a:lnTo>
                    <a:pt x="177" y="325"/>
                  </a:lnTo>
                  <a:lnTo>
                    <a:pt x="175" y="306"/>
                  </a:lnTo>
                  <a:lnTo>
                    <a:pt x="165" y="301"/>
                  </a:lnTo>
                  <a:lnTo>
                    <a:pt x="177" y="284"/>
                  </a:lnTo>
                  <a:lnTo>
                    <a:pt x="168" y="287"/>
                  </a:lnTo>
                  <a:lnTo>
                    <a:pt x="149" y="294"/>
                  </a:lnTo>
                  <a:lnTo>
                    <a:pt x="144" y="303"/>
                  </a:lnTo>
                  <a:lnTo>
                    <a:pt x="132" y="294"/>
                  </a:lnTo>
                  <a:lnTo>
                    <a:pt x="109" y="299"/>
                  </a:lnTo>
                  <a:lnTo>
                    <a:pt x="85" y="289"/>
                  </a:lnTo>
                  <a:lnTo>
                    <a:pt x="78" y="275"/>
                  </a:lnTo>
                  <a:lnTo>
                    <a:pt x="59" y="251"/>
                  </a:lnTo>
                  <a:lnTo>
                    <a:pt x="80" y="235"/>
                  </a:lnTo>
                  <a:lnTo>
                    <a:pt x="118" y="216"/>
                  </a:lnTo>
                  <a:lnTo>
                    <a:pt x="130" y="216"/>
                  </a:lnTo>
                  <a:lnTo>
                    <a:pt x="128" y="235"/>
                  </a:lnTo>
                  <a:lnTo>
                    <a:pt x="163" y="235"/>
                  </a:lnTo>
                  <a:lnTo>
                    <a:pt x="149" y="209"/>
                  </a:lnTo>
                  <a:lnTo>
                    <a:pt x="130" y="194"/>
                  </a:lnTo>
                  <a:lnTo>
                    <a:pt x="118" y="173"/>
                  </a:lnTo>
                  <a:lnTo>
                    <a:pt x="102" y="154"/>
                  </a:lnTo>
                  <a:lnTo>
                    <a:pt x="80" y="140"/>
                  </a:lnTo>
                  <a:lnTo>
                    <a:pt x="87" y="119"/>
                  </a:lnTo>
                  <a:lnTo>
                    <a:pt x="118" y="116"/>
                  </a:lnTo>
                  <a:lnTo>
                    <a:pt x="139" y="95"/>
                  </a:lnTo>
                  <a:lnTo>
                    <a:pt x="142" y="74"/>
                  </a:lnTo>
                  <a:lnTo>
                    <a:pt x="158" y="52"/>
                  </a:lnTo>
                  <a:lnTo>
                    <a:pt x="175" y="45"/>
                  </a:lnTo>
                  <a:lnTo>
                    <a:pt x="206" y="24"/>
                  </a:lnTo>
                  <a:lnTo>
                    <a:pt x="220" y="26"/>
                  </a:lnTo>
                  <a:lnTo>
                    <a:pt x="246" y="0"/>
                  </a:lnTo>
                  <a:lnTo>
                    <a:pt x="269" y="12"/>
                  </a:lnTo>
                  <a:lnTo>
                    <a:pt x="269" y="12"/>
                  </a:lnTo>
                  <a:lnTo>
                    <a:pt x="269" y="1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90" name="Freeform 342">
              <a:extLst>
                <a:ext uri="{FF2B5EF4-FFF2-40B4-BE49-F238E27FC236}">
                  <a16:creationId xmlns:a16="http://schemas.microsoft.com/office/drawing/2014/main" id="{E92FF3B5-5161-DFFD-10D2-A76F70FEFE4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6065" y="2961064"/>
              <a:ext cx="234754" cy="204357"/>
            </a:xfrm>
            <a:custGeom>
              <a:avLst/>
              <a:gdLst>
                <a:gd name="T0" fmla="*/ 83 w 218"/>
                <a:gd name="T1" fmla="*/ 26 h 187"/>
                <a:gd name="T2" fmla="*/ 114 w 218"/>
                <a:gd name="T3" fmla="*/ 26 h 187"/>
                <a:gd name="T4" fmla="*/ 135 w 218"/>
                <a:gd name="T5" fmla="*/ 35 h 187"/>
                <a:gd name="T6" fmla="*/ 144 w 218"/>
                <a:gd name="T7" fmla="*/ 26 h 187"/>
                <a:gd name="T8" fmla="*/ 185 w 218"/>
                <a:gd name="T9" fmla="*/ 24 h 187"/>
                <a:gd name="T10" fmla="*/ 175 w 218"/>
                <a:gd name="T11" fmla="*/ 35 h 187"/>
                <a:gd name="T12" fmla="*/ 201 w 218"/>
                <a:gd name="T13" fmla="*/ 45 h 187"/>
                <a:gd name="T14" fmla="*/ 213 w 218"/>
                <a:gd name="T15" fmla="*/ 59 h 187"/>
                <a:gd name="T16" fmla="*/ 206 w 218"/>
                <a:gd name="T17" fmla="*/ 71 h 187"/>
                <a:gd name="T18" fmla="*/ 211 w 218"/>
                <a:gd name="T19" fmla="*/ 83 h 187"/>
                <a:gd name="T20" fmla="*/ 196 w 218"/>
                <a:gd name="T21" fmla="*/ 90 h 187"/>
                <a:gd name="T22" fmla="*/ 192 w 218"/>
                <a:gd name="T23" fmla="*/ 102 h 187"/>
                <a:gd name="T24" fmla="*/ 206 w 218"/>
                <a:gd name="T25" fmla="*/ 118 h 187"/>
                <a:gd name="T26" fmla="*/ 182 w 218"/>
                <a:gd name="T27" fmla="*/ 130 h 187"/>
                <a:gd name="T28" fmla="*/ 166 w 218"/>
                <a:gd name="T29" fmla="*/ 137 h 187"/>
                <a:gd name="T30" fmla="*/ 140 w 218"/>
                <a:gd name="T31" fmla="*/ 130 h 187"/>
                <a:gd name="T32" fmla="*/ 144 w 218"/>
                <a:gd name="T33" fmla="*/ 137 h 187"/>
                <a:gd name="T34" fmla="*/ 144 w 218"/>
                <a:gd name="T35" fmla="*/ 156 h 187"/>
                <a:gd name="T36" fmla="*/ 161 w 218"/>
                <a:gd name="T37" fmla="*/ 161 h 187"/>
                <a:gd name="T38" fmla="*/ 147 w 218"/>
                <a:gd name="T39" fmla="*/ 175 h 187"/>
                <a:gd name="T40" fmla="*/ 128 w 218"/>
                <a:gd name="T41" fmla="*/ 180 h 187"/>
                <a:gd name="T42" fmla="*/ 114 w 218"/>
                <a:gd name="T43" fmla="*/ 187 h 187"/>
                <a:gd name="T44" fmla="*/ 99 w 218"/>
                <a:gd name="T45" fmla="*/ 161 h 187"/>
                <a:gd name="T46" fmla="*/ 88 w 218"/>
                <a:gd name="T47" fmla="*/ 151 h 187"/>
                <a:gd name="T48" fmla="*/ 97 w 218"/>
                <a:gd name="T49" fmla="*/ 140 h 187"/>
                <a:gd name="T50" fmla="*/ 88 w 218"/>
                <a:gd name="T51" fmla="*/ 125 h 187"/>
                <a:gd name="T52" fmla="*/ 92 w 218"/>
                <a:gd name="T53" fmla="*/ 109 h 187"/>
                <a:gd name="T54" fmla="*/ 90 w 218"/>
                <a:gd name="T55" fmla="*/ 97 h 187"/>
                <a:gd name="T56" fmla="*/ 69 w 218"/>
                <a:gd name="T57" fmla="*/ 97 h 187"/>
                <a:gd name="T58" fmla="*/ 52 w 218"/>
                <a:gd name="T59" fmla="*/ 85 h 187"/>
                <a:gd name="T60" fmla="*/ 21 w 218"/>
                <a:gd name="T61" fmla="*/ 85 h 187"/>
                <a:gd name="T62" fmla="*/ 14 w 218"/>
                <a:gd name="T63" fmla="*/ 78 h 187"/>
                <a:gd name="T64" fmla="*/ 14 w 218"/>
                <a:gd name="T65" fmla="*/ 69 h 187"/>
                <a:gd name="T66" fmla="*/ 10 w 218"/>
                <a:gd name="T67" fmla="*/ 59 h 187"/>
                <a:gd name="T68" fmla="*/ 0 w 218"/>
                <a:gd name="T69" fmla="*/ 50 h 187"/>
                <a:gd name="T70" fmla="*/ 7 w 218"/>
                <a:gd name="T71" fmla="*/ 28 h 187"/>
                <a:gd name="T72" fmla="*/ 17 w 218"/>
                <a:gd name="T73" fmla="*/ 16 h 187"/>
                <a:gd name="T74" fmla="*/ 31 w 218"/>
                <a:gd name="T75" fmla="*/ 7 h 187"/>
                <a:gd name="T76" fmla="*/ 21 w 218"/>
                <a:gd name="T77" fmla="*/ 12 h 187"/>
                <a:gd name="T78" fmla="*/ 26 w 218"/>
                <a:gd name="T79" fmla="*/ 28 h 187"/>
                <a:gd name="T80" fmla="*/ 26 w 218"/>
                <a:gd name="T81" fmla="*/ 50 h 187"/>
                <a:gd name="T82" fmla="*/ 36 w 218"/>
                <a:gd name="T83" fmla="*/ 38 h 187"/>
                <a:gd name="T84" fmla="*/ 31 w 218"/>
                <a:gd name="T85" fmla="*/ 19 h 187"/>
                <a:gd name="T86" fmla="*/ 47 w 218"/>
                <a:gd name="T87" fmla="*/ 5 h 187"/>
                <a:gd name="T88" fmla="*/ 59 w 218"/>
                <a:gd name="T89" fmla="*/ 12 h 187"/>
                <a:gd name="T90" fmla="*/ 83 w 218"/>
                <a:gd name="T91" fmla="*/ 21 h 187"/>
                <a:gd name="T92" fmla="*/ 83 w 218"/>
                <a:gd name="T93" fmla="*/ 26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8" h="187">
                  <a:moveTo>
                    <a:pt x="83" y="26"/>
                  </a:moveTo>
                  <a:lnTo>
                    <a:pt x="83" y="26"/>
                  </a:lnTo>
                  <a:lnTo>
                    <a:pt x="97" y="26"/>
                  </a:lnTo>
                  <a:lnTo>
                    <a:pt x="114" y="26"/>
                  </a:lnTo>
                  <a:lnTo>
                    <a:pt x="123" y="33"/>
                  </a:lnTo>
                  <a:lnTo>
                    <a:pt x="135" y="35"/>
                  </a:lnTo>
                  <a:lnTo>
                    <a:pt x="144" y="28"/>
                  </a:lnTo>
                  <a:lnTo>
                    <a:pt x="144" y="26"/>
                  </a:lnTo>
                  <a:lnTo>
                    <a:pt x="166" y="24"/>
                  </a:lnTo>
                  <a:lnTo>
                    <a:pt x="185" y="24"/>
                  </a:lnTo>
                  <a:lnTo>
                    <a:pt x="170" y="28"/>
                  </a:lnTo>
                  <a:lnTo>
                    <a:pt x="175" y="35"/>
                  </a:lnTo>
                  <a:lnTo>
                    <a:pt x="189" y="38"/>
                  </a:lnTo>
                  <a:lnTo>
                    <a:pt x="201" y="45"/>
                  </a:lnTo>
                  <a:lnTo>
                    <a:pt x="203" y="59"/>
                  </a:lnTo>
                  <a:lnTo>
                    <a:pt x="213" y="59"/>
                  </a:lnTo>
                  <a:lnTo>
                    <a:pt x="218" y="61"/>
                  </a:lnTo>
                  <a:lnTo>
                    <a:pt x="206" y="71"/>
                  </a:lnTo>
                  <a:lnTo>
                    <a:pt x="203" y="78"/>
                  </a:lnTo>
                  <a:lnTo>
                    <a:pt x="211" y="83"/>
                  </a:lnTo>
                  <a:lnTo>
                    <a:pt x="206" y="87"/>
                  </a:lnTo>
                  <a:lnTo>
                    <a:pt x="196" y="90"/>
                  </a:lnTo>
                  <a:lnTo>
                    <a:pt x="196" y="97"/>
                  </a:lnTo>
                  <a:lnTo>
                    <a:pt x="192" y="102"/>
                  </a:lnTo>
                  <a:lnTo>
                    <a:pt x="203" y="113"/>
                  </a:lnTo>
                  <a:lnTo>
                    <a:pt x="206" y="118"/>
                  </a:lnTo>
                  <a:lnTo>
                    <a:pt x="199" y="125"/>
                  </a:lnTo>
                  <a:lnTo>
                    <a:pt x="182" y="130"/>
                  </a:lnTo>
                  <a:lnTo>
                    <a:pt x="168" y="132"/>
                  </a:lnTo>
                  <a:lnTo>
                    <a:pt x="166" y="137"/>
                  </a:lnTo>
                  <a:lnTo>
                    <a:pt x="151" y="132"/>
                  </a:lnTo>
                  <a:lnTo>
                    <a:pt x="140" y="130"/>
                  </a:lnTo>
                  <a:lnTo>
                    <a:pt x="137" y="132"/>
                  </a:lnTo>
                  <a:lnTo>
                    <a:pt x="144" y="137"/>
                  </a:lnTo>
                  <a:lnTo>
                    <a:pt x="142" y="147"/>
                  </a:lnTo>
                  <a:lnTo>
                    <a:pt x="144" y="156"/>
                  </a:lnTo>
                  <a:lnTo>
                    <a:pt x="159" y="158"/>
                  </a:lnTo>
                  <a:lnTo>
                    <a:pt x="161" y="161"/>
                  </a:lnTo>
                  <a:lnTo>
                    <a:pt x="149" y="166"/>
                  </a:lnTo>
                  <a:lnTo>
                    <a:pt x="147" y="175"/>
                  </a:lnTo>
                  <a:lnTo>
                    <a:pt x="140" y="175"/>
                  </a:lnTo>
                  <a:lnTo>
                    <a:pt x="128" y="180"/>
                  </a:lnTo>
                  <a:lnTo>
                    <a:pt x="125" y="184"/>
                  </a:lnTo>
                  <a:lnTo>
                    <a:pt x="114" y="187"/>
                  </a:lnTo>
                  <a:lnTo>
                    <a:pt x="104" y="177"/>
                  </a:lnTo>
                  <a:lnTo>
                    <a:pt x="99" y="161"/>
                  </a:lnTo>
                  <a:lnTo>
                    <a:pt x="95" y="156"/>
                  </a:lnTo>
                  <a:lnTo>
                    <a:pt x="88" y="151"/>
                  </a:lnTo>
                  <a:lnTo>
                    <a:pt x="97" y="144"/>
                  </a:lnTo>
                  <a:lnTo>
                    <a:pt x="97" y="140"/>
                  </a:lnTo>
                  <a:lnTo>
                    <a:pt x="90" y="135"/>
                  </a:lnTo>
                  <a:lnTo>
                    <a:pt x="88" y="125"/>
                  </a:lnTo>
                  <a:lnTo>
                    <a:pt x="90" y="113"/>
                  </a:lnTo>
                  <a:lnTo>
                    <a:pt x="92" y="109"/>
                  </a:lnTo>
                  <a:lnTo>
                    <a:pt x="95" y="99"/>
                  </a:lnTo>
                  <a:lnTo>
                    <a:pt x="90" y="97"/>
                  </a:lnTo>
                  <a:lnTo>
                    <a:pt x="80" y="97"/>
                  </a:lnTo>
                  <a:lnTo>
                    <a:pt x="69" y="97"/>
                  </a:lnTo>
                  <a:lnTo>
                    <a:pt x="62" y="99"/>
                  </a:lnTo>
                  <a:lnTo>
                    <a:pt x="52" y="85"/>
                  </a:lnTo>
                  <a:lnTo>
                    <a:pt x="43" y="83"/>
                  </a:lnTo>
                  <a:lnTo>
                    <a:pt x="21" y="85"/>
                  </a:lnTo>
                  <a:lnTo>
                    <a:pt x="17" y="80"/>
                  </a:lnTo>
                  <a:lnTo>
                    <a:pt x="14" y="78"/>
                  </a:lnTo>
                  <a:lnTo>
                    <a:pt x="12" y="73"/>
                  </a:lnTo>
                  <a:lnTo>
                    <a:pt x="14" y="69"/>
                  </a:lnTo>
                  <a:lnTo>
                    <a:pt x="14" y="61"/>
                  </a:lnTo>
                  <a:lnTo>
                    <a:pt x="10" y="59"/>
                  </a:lnTo>
                  <a:lnTo>
                    <a:pt x="7" y="50"/>
                  </a:lnTo>
                  <a:lnTo>
                    <a:pt x="0" y="50"/>
                  </a:lnTo>
                  <a:lnTo>
                    <a:pt x="5" y="40"/>
                  </a:lnTo>
                  <a:lnTo>
                    <a:pt x="7" y="28"/>
                  </a:lnTo>
                  <a:lnTo>
                    <a:pt x="12" y="21"/>
                  </a:lnTo>
                  <a:lnTo>
                    <a:pt x="17" y="16"/>
                  </a:lnTo>
                  <a:lnTo>
                    <a:pt x="21" y="9"/>
                  </a:lnTo>
                  <a:lnTo>
                    <a:pt x="31" y="7"/>
                  </a:lnTo>
                  <a:lnTo>
                    <a:pt x="31" y="9"/>
                  </a:lnTo>
                  <a:lnTo>
                    <a:pt x="21" y="12"/>
                  </a:lnTo>
                  <a:lnTo>
                    <a:pt x="26" y="19"/>
                  </a:lnTo>
                  <a:lnTo>
                    <a:pt x="26" y="28"/>
                  </a:lnTo>
                  <a:lnTo>
                    <a:pt x="19" y="38"/>
                  </a:lnTo>
                  <a:lnTo>
                    <a:pt x="26" y="50"/>
                  </a:lnTo>
                  <a:lnTo>
                    <a:pt x="33" y="50"/>
                  </a:lnTo>
                  <a:lnTo>
                    <a:pt x="36" y="38"/>
                  </a:lnTo>
                  <a:lnTo>
                    <a:pt x="31" y="33"/>
                  </a:lnTo>
                  <a:lnTo>
                    <a:pt x="31" y="19"/>
                  </a:lnTo>
                  <a:lnTo>
                    <a:pt x="50" y="14"/>
                  </a:lnTo>
                  <a:lnTo>
                    <a:pt x="47" y="5"/>
                  </a:lnTo>
                  <a:lnTo>
                    <a:pt x="54" y="0"/>
                  </a:lnTo>
                  <a:lnTo>
                    <a:pt x="59" y="12"/>
                  </a:lnTo>
                  <a:lnTo>
                    <a:pt x="71" y="12"/>
                  </a:lnTo>
                  <a:lnTo>
                    <a:pt x="83" y="21"/>
                  </a:lnTo>
                  <a:lnTo>
                    <a:pt x="83" y="26"/>
                  </a:lnTo>
                  <a:lnTo>
                    <a:pt x="83" y="26"/>
                  </a:lnTo>
                  <a:lnTo>
                    <a:pt x="83" y="26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91" name="Freeform 346">
              <a:extLst>
                <a:ext uri="{FF2B5EF4-FFF2-40B4-BE49-F238E27FC236}">
                  <a16:creationId xmlns:a16="http://schemas.microsoft.com/office/drawing/2014/main" id="{79FB954D-A786-B901-134B-C9C2C83DA0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58574" y="3436442"/>
              <a:ext cx="22615" cy="37156"/>
            </a:xfrm>
            <a:custGeom>
              <a:avLst/>
              <a:gdLst>
                <a:gd name="T0" fmla="*/ 21 w 21"/>
                <a:gd name="T1" fmla="*/ 31 h 34"/>
                <a:gd name="T2" fmla="*/ 21 w 21"/>
                <a:gd name="T3" fmla="*/ 31 h 34"/>
                <a:gd name="T4" fmla="*/ 14 w 21"/>
                <a:gd name="T5" fmla="*/ 34 h 34"/>
                <a:gd name="T6" fmla="*/ 9 w 21"/>
                <a:gd name="T7" fmla="*/ 26 h 34"/>
                <a:gd name="T8" fmla="*/ 9 w 21"/>
                <a:gd name="T9" fmla="*/ 22 h 34"/>
                <a:gd name="T10" fmla="*/ 21 w 21"/>
                <a:gd name="T11" fmla="*/ 31 h 34"/>
                <a:gd name="T12" fmla="*/ 9 w 21"/>
                <a:gd name="T13" fmla="*/ 5 h 34"/>
                <a:gd name="T14" fmla="*/ 9 w 21"/>
                <a:gd name="T15" fmla="*/ 5 h 34"/>
                <a:gd name="T16" fmla="*/ 12 w 21"/>
                <a:gd name="T17" fmla="*/ 19 h 34"/>
                <a:gd name="T18" fmla="*/ 7 w 21"/>
                <a:gd name="T19" fmla="*/ 17 h 34"/>
                <a:gd name="T20" fmla="*/ 2 w 21"/>
                <a:gd name="T21" fmla="*/ 17 h 34"/>
                <a:gd name="T22" fmla="*/ 0 w 21"/>
                <a:gd name="T23" fmla="*/ 12 h 34"/>
                <a:gd name="T24" fmla="*/ 0 w 21"/>
                <a:gd name="T25" fmla="*/ 0 h 34"/>
                <a:gd name="T26" fmla="*/ 9 w 21"/>
                <a:gd name="T27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34">
                  <a:moveTo>
                    <a:pt x="21" y="31"/>
                  </a:moveTo>
                  <a:lnTo>
                    <a:pt x="21" y="31"/>
                  </a:lnTo>
                  <a:lnTo>
                    <a:pt x="14" y="34"/>
                  </a:lnTo>
                  <a:lnTo>
                    <a:pt x="9" y="26"/>
                  </a:lnTo>
                  <a:lnTo>
                    <a:pt x="9" y="22"/>
                  </a:lnTo>
                  <a:lnTo>
                    <a:pt x="21" y="31"/>
                  </a:lnTo>
                  <a:close/>
                  <a:moveTo>
                    <a:pt x="9" y="5"/>
                  </a:moveTo>
                  <a:lnTo>
                    <a:pt x="9" y="5"/>
                  </a:lnTo>
                  <a:lnTo>
                    <a:pt x="12" y="19"/>
                  </a:lnTo>
                  <a:lnTo>
                    <a:pt x="7" y="17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0"/>
                  </a:lnTo>
                  <a:lnTo>
                    <a:pt x="9" y="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92" name="Freeform 347">
              <a:extLst>
                <a:ext uri="{FF2B5EF4-FFF2-40B4-BE49-F238E27FC236}">
                  <a16:creationId xmlns:a16="http://schemas.microsoft.com/office/drawing/2014/main" id="{91D509E0-0C9A-B0D3-BC9C-B55312BC3B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58573" y="3436446"/>
              <a:ext cx="22615" cy="37156"/>
            </a:xfrm>
            <a:custGeom>
              <a:avLst/>
              <a:gdLst>
                <a:gd name="T0" fmla="*/ 21 w 21"/>
                <a:gd name="T1" fmla="*/ 31 h 34"/>
                <a:gd name="T2" fmla="*/ 21 w 21"/>
                <a:gd name="T3" fmla="*/ 31 h 34"/>
                <a:gd name="T4" fmla="*/ 14 w 21"/>
                <a:gd name="T5" fmla="*/ 34 h 34"/>
                <a:gd name="T6" fmla="*/ 9 w 21"/>
                <a:gd name="T7" fmla="*/ 26 h 34"/>
                <a:gd name="T8" fmla="*/ 9 w 21"/>
                <a:gd name="T9" fmla="*/ 22 h 34"/>
                <a:gd name="T10" fmla="*/ 21 w 21"/>
                <a:gd name="T11" fmla="*/ 31 h 34"/>
                <a:gd name="T12" fmla="*/ 9 w 21"/>
                <a:gd name="T13" fmla="*/ 5 h 34"/>
                <a:gd name="T14" fmla="*/ 9 w 21"/>
                <a:gd name="T15" fmla="*/ 5 h 34"/>
                <a:gd name="T16" fmla="*/ 12 w 21"/>
                <a:gd name="T17" fmla="*/ 19 h 34"/>
                <a:gd name="T18" fmla="*/ 7 w 21"/>
                <a:gd name="T19" fmla="*/ 17 h 34"/>
                <a:gd name="T20" fmla="*/ 2 w 21"/>
                <a:gd name="T21" fmla="*/ 17 h 34"/>
                <a:gd name="T22" fmla="*/ 0 w 21"/>
                <a:gd name="T23" fmla="*/ 12 h 34"/>
                <a:gd name="T24" fmla="*/ 0 w 21"/>
                <a:gd name="T25" fmla="*/ 0 h 34"/>
                <a:gd name="T26" fmla="*/ 9 w 21"/>
                <a:gd name="T27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34">
                  <a:moveTo>
                    <a:pt x="21" y="31"/>
                  </a:moveTo>
                  <a:lnTo>
                    <a:pt x="21" y="31"/>
                  </a:lnTo>
                  <a:lnTo>
                    <a:pt x="14" y="34"/>
                  </a:lnTo>
                  <a:lnTo>
                    <a:pt x="9" y="26"/>
                  </a:lnTo>
                  <a:lnTo>
                    <a:pt x="9" y="22"/>
                  </a:lnTo>
                  <a:lnTo>
                    <a:pt x="21" y="31"/>
                  </a:lnTo>
                  <a:moveTo>
                    <a:pt x="9" y="5"/>
                  </a:moveTo>
                  <a:lnTo>
                    <a:pt x="9" y="5"/>
                  </a:lnTo>
                  <a:lnTo>
                    <a:pt x="12" y="19"/>
                  </a:lnTo>
                  <a:lnTo>
                    <a:pt x="7" y="17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0"/>
                  </a:lnTo>
                  <a:lnTo>
                    <a:pt x="9" y="5"/>
                  </a:lnTo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  <p:sp>
          <p:nvSpPr>
            <p:cNvPr id="193" name="Freeform 180">
              <a:extLst>
                <a:ext uri="{FF2B5EF4-FFF2-40B4-BE49-F238E27FC236}">
                  <a16:creationId xmlns:a16="http://schemas.microsoft.com/office/drawing/2014/main" id="{8A62584A-D2A0-7C55-708C-21363AAE1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3026" y="3703163"/>
              <a:ext cx="42968" cy="43923"/>
            </a:xfrm>
            <a:custGeom>
              <a:avLst/>
              <a:gdLst>
                <a:gd name="connsiteX0" fmla="*/ 60915 w 90674"/>
                <a:gd name="connsiteY0" fmla="*/ 0 h 91333"/>
                <a:gd name="connsiteX1" fmla="*/ 76822 w 90674"/>
                <a:gd name="connsiteY1" fmla="*/ 11363 h 91333"/>
                <a:gd name="connsiteX2" fmla="*/ 85912 w 90674"/>
                <a:gd name="connsiteY2" fmla="*/ 22725 h 91333"/>
                <a:gd name="connsiteX3" fmla="*/ 84892 w 90674"/>
                <a:gd name="connsiteY3" fmla="*/ 25021 h 91333"/>
                <a:gd name="connsiteX4" fmla="*/ 90674 w 90674"/>
                <a:gd name="connsiteY4" fmla="*/ 32249 h 91333"/>
                <a:gd name="connsiteX5" fmla="*/ 81584 w 90674"/>
                <a:gd name="connsiteY5" fmla="*/ 52701 h 91333"/>
                <a:gd name="connsiteX6" fmla="*/ 74767 w 90674"/>
                <a:gd name="connsiteY6" fmla="*/ 68609 h 91333"/>
                <a:gd name="connsiteX7" fmla="*/ 54314 w 90674"/>
                <a:gd name="connsiteY7" fmla="*/ 75426 h 91333"/>
                <a:gd name="connsiteX8" fmla="*/ 49769 w 90674"/>
                <a:gd name="connsiteY8" fmla="*/ 84516 h 91333"/>
                <a:gd name="connsiteX9" fmla="*/ 38407 w 90674"/>
                <a:gd name="connsiteY9" fmla="*/ 91333 h 91333"/>
                <a:gd name="connsiteX10" fmla="*/ 36041 w 90674"/>
                <a:gd name="connsiteY10" fmla="*/ 88798 h 91333"/>
                <a:gd name="connsiteX11" fmla="*/ 31815 w 90674"/>
                <a:gd name="connsiteY11" fmla="*/ 91333 h 91333"/>
                <a:gd name="connsiteX12" fmla="*/ 0 w 90674"/>
                <a:gd name="connsiteY12" fmla="*/ 57246 h 91333"/>
                <a:gd name="connsiteX13" fmla="*/ 5007 w 90674"/>
                <a:gd name="connsiteY13" fmla="*/ 51126 h 91333"/>
                <a:gd name="connsiteX14" fmla="*/ 1830 w 90674"/>
                <a:gd name="connsiteY14" fmla="*/ 47722 h 91333"/>
                <a:gd name="connsiteX15" fmla="*/ 22283 w 90674"/>
                <a:gd name="connsiteY15" fmla="*/ 22725 h 91333"/>
                <a:gd name="connsiteX16" fmla="*/ 45007 w 90674"/>
                <a:gd name="connsiteY16" fmla="*/ 6817 h 9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0674" h="91333">
                  <a:moveTo>
                    <a:pt x="60915" y="0"/>
                  </a:moveTo>
                  <a:lnTo>
                    <a:pt x="76822" y="11363"/>
                  </a:lnTo>
                  <a:lnTo>
                    <a:pt x="85912" y="22725"/>
                  </a:lnTo>
                  <a:lnTo>
                    <a:pt x="84892" y="25021"/>
                  </a:lnTo>
                  <a:lnTo>
                    <a:pt x="90674" y="32249"/>
                  </a:lnTo>
                  <a:lnTo>
                    <a:pt x="81584" y="52701"/>
                  </a:lnTo>
                  <a:lnTo>
                    <a:pt x="74767" y="68609"/>
                  </a:lnTo>
                  <a:lnTo>
                    <a:pt x="54314" y="75426"/>
                  </a:lnTo>
                  <a:lnTo>
                    <a:pt x="49769" y="84516"/>
                  </a:lnTo>
                  <a:lnTo>
                    <a:pt x="38407" y="91333"/>
                  </a:lnTo>
                  <a:lnTo>
                    <a:pt x="36041" y="88798"/>
                  </a:lnTo>
                  <a:lnTo>
                    <a:pt x="31815" y="91333"/>
                  </a:lnTo>
                  <a:lnTo>
                    <a:pt x="0" y="57246"/>
                  </a:lnTo>
                  <a:lnTo>
                    <a:pt x="5007" y="51126"/>
                  </a:lnTo>
                  <a:lnTo>
                    <a:pt x="1830" y="47722"/>
                  </a:lnTo>
                  <a:lnTo>
                    <a:pt x="22283" y="22725"/>
                  </a:lnTo>
                  <a:lnTo>
                    <a:pt x="45007" y="681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3175" cap="rnd">
              <a:noFill/>
            </a:ln>
            <a:scene3d>
              <a:camera prst="perspectiveRelaxedModerately" fov="0">
                <a:rot lat="0" lon="0" rev="0"/>
              </a:camera>
              <a:lightRig rig="threePt" dir="t"/>
            </a:scene3d>
            <a:sp3d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40408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endParaRPr>
            </a:p>
          </p:txBody>
        </p:sp>
      </p:grpSp>
      <p:pic>
        <p:nvPicPr>
          <p:cNvPr id="204" name="Picture 203">
            <a:extLst>
              <a:ext uri="{FF2B5EF4-FFF2-40B4-BE49-F238E27FC236}">
                <a16:creationId xmlns:a16="http://schemas.microsoft.com/office/drawing/2014/main" id="{BBE4596F-E64B-8DBA-4160-6A743149F83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1476" y="5690441"/>
            <a:ext cx="828791" cy="609685"/>
          </a:xfrm>
          <a:prstGeom prst="rect">
            <a:avLst/>
          </a:prstGeom>
        </p:spPr>
      </p:pic>
      <p:pic>
        <p:nvPicPr>
          <p:cNvPr id="207" name="Picture 206">
            <a:extLst>
              <a:ext uri="{FF2B5EF4-FFF2-40B4-BE49-F238E27FC236}">
                <a16:creationId xmlns:a16="http://schemas.microsoft.com/office/drawing/2014/main" id="{59DB8890-79B0-F673-AED3-B3C6F8A4A2C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clrChange>
              <a:clrFrom>
                <a:srgbClr val="FEFFFE"/>
              </a:clrFrom>
              <a:clrTo>
                <a:srgbClr val="FE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24986" y="1958852"/>
            <a:ext cx="1383326" cy="117399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208" name="Title 4">
            <a:extLst>
              <a:ext uri="{FF2B5EF4-FFF2-40B4-BE49-F238E27FC236}">
                <a16:creationId xmlns:a16="http://schemas.microsoft.com/office/drawing/2014/main" id="{FECB400F-D57B-5189-4ED4-EA2AA014C8B4}"/>
              </a:ext>
            </a:extLst>
          </p:cNvPr>
          <p:cNvSpPr txBox="1">
            <a:spLocks/>
          </p:cNvSpPr>
          <p:nvPr/>
        </p:nvSpPr>
        <p:spPr>
          <a:xfrm>
            <a:off x="219753" y="419401"/>
            <a:ext cx="4009041" cy="6639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 panose="02000503040000020004" pitchFamily="50" charset="0"/>
                <a:ea typeface="+mj-ea"/>
                <a:cs typeface="+mj-cs"/>
              </a:rPr>
              <a:t>Case Study: France</a:t>
            </a:r>
            <a:b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 panose="02000503040000020004" pitchFamily="50" charset="0"/>
                <a:ea typeface="+mj-ea"/>
                <a:cs typeface="+mj-cs"/>
              </a:rPr>
            </a:b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srgbClr val="4778A6"/>
                </a:solidFill>
                <a:effectLst/>
                <a:uLnTx/>
                <a:uFillTx/>
                <a:latin typeface="SLB Sans Light"/>
                <a:ea typeface="+mj-ea"/>
                <a:cs typeface="+mj-cs"/>
              </a:rPr>
              <a:t>Geosteering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4778A6"/>
                </a:solidFill>
                <a:effectLst/>
                <a:uLnTx/>
                <a:uFillTx/>
                <a:latin typeface="SLB Sans Light"/>
                <a:ea typeface="+mj-ea"/>
                <a:cs typeface="+mj-cs"/>
              </a:rPr>
              <a:t> for Geothermal Heating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14DC"/>
              </a:solidFill>
              <a:effectLst/>
              <a:uLnTx/>
              <a:uFillTx/>
              <a:latin typeface="SLB Sans Ligh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1571897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51A0E10-AA81-98F6-BB1D-5A8713CAA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51A0E10-AA81-98F6-BB1D-5A8713CAA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F193A219-D858-C212-D223-4FEBFCCD21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780" y="457200"/>
            <a:ext cx="3706787" cy="663962"/>
          </a:xfrm>
        </p:spPr>
        <p:txBody>
          <a:bodyPr vert="horz"/>
          <a:lstStyle/>
          <a:p>
            <a:r>
              <a:rPr lang="en-US" sz="3600" dirty="0">
                <a:latin typeface="SLB Sans Book" panose="02000503040000020004" pitchFamily="50" charset="0"/>
              </a:rPr>
              <a:t>Case Study:</a:t>
            </a:r>
            <a:br>
              <a:rPr lang="en-US" sz="3600" dirty="0">
                <a:latin typeface="SLB Sans Book" panose="02000503040000020004" pitchFamily="50" charset="0"/>
              </a:rPr>
            </a:br>
            <a:r>
              <a:rPr lang="en-US" sz="3600" dirty="0">
                <a:latin typeface="SLB Sans Book" panose="02000503040000020004" pitchFamily="50" charset="0"/>
              </a:rPr>
              <a:t>Indonesia</a:t>
            </a:r>
            <a:br>
              <a:rPr lang="en-US" sz="3600" dirty="0">
                <a:latin typeface="SLB Sans Book" panose="02000503040000020004" pitchFamily="50" charset="0"/>
              </a:rPr>
            </a:br>
            <a:r>
              <a:rPr lang="en-US" sz="3200" dirty="0">
                <a:solidFill>
                  <a:srgbClr val="4778A6"/>
                </a:solidFill>
                <a:latin typeface="SLB Sans Light"/>
              </a:rPr>
              <a:t>Drilling Performance via Integration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6FE7971-F466-07D6-8A1A-003F9DA897B8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59302" y="3388994"/>
            <a:ext cx="3731119" cy="2257681"/>
          </a:xfrm>
        </p:spPr>
        <p:txBody>
          <a:bodyPr/>
          <a:lstStyle/>
          <a:p>
            <a:r>
              <a:rPr lang="en-US" dirty="0"/>
              <a:t>Results</a:t>
            </a:r>
            <a:endParaRPr lang="en-US" noProof="0" dirty="0"/>
          </a:p>
          <a:p>
            <a:pPr lvl="2"/>
            <a:endParaRPr lang="en-US" sz="1600" dirty="0"/>
          </a:p>
          <a:p>
            <a:pPr lvl="2"/>
            <a:endParaRPr lang="en-US" sz="1050" dirty="0"/>
          </a:p>
        </p:txBody>
      </p:sp>
      <p:sp>
        <p:nvSpPr>
          <p:cNvPr id="394" name="Content Placeholder 1">
            <a:extLst>
              <a:ext uri="{FF2B5EF4-FFF2-40B4-BE49-F238E27FC236}">
                <a16:creationId xmlns:a16="http://schemas.microsoft.com/office/drawing/2014/main" id="{33F9C54A-B432-33DF-0693-982BA1D17D32}"/>
              </a:ext>
            </a:extLst>
          </p:cNvPr>
          <p:cNvSpPr txBox="1">
            <a:spLocks/>
          </p:cNvSpPr>
          <p:nvPr/>
        </p:nvSpPr>
        <p:spPr>
          <a:xfrm>
            <a:off x="4250246" y="299810"/>
            <a:ext cx="3706787" cy="197450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 kern="1200">
                <a:solidFill>
                  <a:schemeClr val="bg1"/>
                </a:solidFill>
                <a:latin typeface="SLB Sans" panose="02000503040000020004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2pPr>
            <a:lvl3pPr marL="342900" indent="-3429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→"/>
              <a:defRPr sz="20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3pPr>
            <a:lvl4pPr marL="684000" indent="-342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−"/>
              <a:tabLst/>
              <a:defRPr sz="18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" panose="02000503040000020004" pitchFamily="2" charset="0"/>
                <a:ea typeface="+mn-ea"/>
                <a:cs typeface="+mn-cs"/>
              </a:rPr>
              <a:t>Application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  <a:t>Geothermal system: hydrothermal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  <a:t>Power generation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  <a:t>Reservoir temperature: &gt;200 C</a:t>
            </a:r>
          </a:p>
          <a:p>
            <a:pPr marL="0" marR="0" lvl="2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LB Sans Light"/>
              <a:ea typeface="+mn-ea"/>
              <a:cs typeface="+mn-cs"/>
            </a:endParaRPr>
          </a:p>
        </p:txBody>
      </p:sp>
      <p:sp>
        <p:nvSpPr>
          <p:cNvPr id="395" name="Content Placeholder 7">
            <a:extLst>
              <a:ext uri="{FF2B5EF4-FFF2-40B4-BE49-F238E27FC236}">
                <a16:creationId xmlns:a16="http://schemas.microsoft.com/office/drawing/2014/main" id="{E5197317-6708-906C-5A1F-D2BBEC2D606B}"/>
              </a:ext>
            </a:extLst>
          </p:cNvPr>
          <p:cNvSpPr txBox="1">
            <a:spLocks/>
          </p:cNvSpPr>
          <p:nvPr/>
        </p:nvSpPr>
        <p:spPr>
          <a:xfrm>
            <a:off x="4250247" y="3383096"/>
            <a:ext cx="3751700" cy="17384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SLB Sans" panose="02000503040000020004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2pPr>
            <a:lvl3pPr marL="342900" indent="-3429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→"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3pPr>
            <a:lvl4pPr marL="684000" indent="-342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−"/>
              <a:tabLst/>
              <a:defRPr sz="18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" panose="02000503040000020004" pitchFamily="2" charset="0"/>
                <a:ea typeface="+mn-ea"/>
                <a:cs typeface="+mn-cs"/>
              </a:rPr>
              <a:t>Solution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Project Execution via Integrated Well Construction</a:t>
            </a:r>
          </a:p>
          <a:p>
            <a:pPr marL="684000" marR="0" lvl="3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Well design</a:t>
            </a:r>
          </a:p>
          <a:p>
            <a:pPr marL="684000" marR="0" lvl="3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Drilling and testing program</a:t>
            </a:r>
          </a:p>
          <a:p>
            <a:pPr marL="684000" marR="0" lvl="3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Project management</a:t>
            </a:r>
          </a:p>
          <a:p>
            <a:pPr marL="684000" marR="0" lvl="3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Drilling services</a:t>
            </a:r>
          </a:p>
          <a:p>
            <a:pPr marL="684000" marR="0" lvl="3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3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r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 parties management including rig &amp; tangibles</a:t>
            </a:r>
          </a:p>
          <a:p>
            <a:pPr marL="684000" marR="0" lvl="3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In-house subsurface support (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GeothermEx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)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LB Sans Book" panose="02000503040000020004" pitchFamily="2" charset="0"/>
              <a:ea typeface="+mn-ea"/>
              <a:cs typeface="+mn-cs"/>
            </a:endParaRP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LB Sans Book" panose="02000503040000020004" pitchFamily="2" charset="0"/>
              <a:ea typeface="+mn-ea"/>
              <a:cs typeface="+mn-cs"/>
            </a:endParaRP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LB Sans Book" panose="02000503040000020004" pitchFamily="2" charset="0"/>
              <a:ea typeface="+mn-ea"/>
              <a:cs typeface="+mn-cs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B3F080D-1C19-D46E-6B6D-9023AC746919}"/>
              </a:ext>
            </a:extLst>
          </p:cNvPr>
          <p:cNvSpPr txBox="1">
            <a:spLocks/>
          </p:cNvSpPr>
          <p:nvPr/>
        </p:nvSpPr>
        <p:spPr>
          <a:xfrm>
            <a:off x="8159302" y="314574"/>
            <a:ext cx="3706787" cy="197450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 kern="1200">
                <a:solidFill>
                  <a:schemeClr val="bg1"/>
                </a:solidFill>
                <a:latin typeface="SLB Sans" panose="02000503040000020004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2pPr>
            <a:lvl3pPr marL="342900" indent="-3429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→"/>
              <a:defRPr sz="20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3pPr>
            <a:lvl4pPr marL="684000" indent="-342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−"/>
              <a:tabLst/>
              <a:defRPr sz="18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bg1"/>
                </a:solidFill>
                <a:latin typeface="SLB Sans Book" panose="0200050304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" panose="02000503040000020004" pitchFamily="2" charset="0"/>
                <a:ea typeface="+mn-ea"/>
                <a:cs typeface="+mn-cs"/>
              </a:rPr>
              <a:t>Challenges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  <a:t>Drilling performance within time and budget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  <a:t>Exploration risk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  <a:t>Drilling risks: well control, total losses, stuck pipe,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  <a:t>etc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LB Sans Light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CB5E02A-5158-12A8-8CB6-C0076D9DDE7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769783"/>
            <a:ext cx="4094092" cy="2519972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5D458805-AB43-A48D-2C6E-4BFA767B101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11947" y="3433148"/>
            <a:ext cx="3228641" cy="3376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5886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861001-5C8E-C4D3-9D8B-E093E65317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861001-5C8E-C4D3-9D8B-E093E65317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11771DB-B816-5ACB-D53C-4291434687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12364"/>
            <a:ext cx="11421979" cy="1416436"/>
          </a:xfrm>
        </p:spPr>
        <p:txBody>
          <a:bodyPr vert="horz"/>
          <a:lstStyle/>
          <a:p>
            <a:r>
              <a:rPr lang="en-US" dirty="0" err="1"/>
              <a:t>Geoenergy</a:t>
            </a:r>
            <a:r>
              <a:rPr lang="en-US" dirty="0"/>
              <a:t> for Heating and Cooling – Celsius Energ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DA26047-6649-38D2-8949-937259F3D92A}"/>
              </a:ext>
            </a:extLst>
          </p:cNvPr>
          <p:cNvSpPr txBox="1"/>
          <p:nvPr/>
        </p:nvSpPr>
        <p:spPr>
          <a:xfrm>
            <a:off x="312822" y="1505634"/>
            <a:ext cx="1142652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9D9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rPr>
              <a:t>Celsius Energy connects buildings to the Earth’s continuous and resilient energy resources,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9D9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9D9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rPr>
              <a:t>delivering heating and cooling while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9D9"/>
                </a:solidFill>
                <a:effectLst/>
                <a:uLnTx/>
                <a:uFillTx/>
                <a:latin typeface="SLB Sans" panose="02000503040000020004" pitchFamily="50" charset="0"/>
                <a:ea typeface="+mn-ea"/>
                <a:cs typeface="+mn-cs"/>
              </a:rPr>
              <a:t>reducing CO</a:t>
            </a:r>
            <a:r>
              <a:rPr kumimoji="0" lang="en-US" sz="1800" b="1" i="0" u="none" strike="noStrike" kern="1200" cap="none" spc="0" normalizeH="0" baseline="-25000" noProof="0" dirty="0">
                <a:ln>
                  <a:noFill/>
                </a:ln>
                <a:solidFill>
                  <a:srgbClr val="0009D9"/>
                </a:solidFill>
                <a:effectLst/>
                <a:uLnTx/>
                <a:uFillTx/>
                <a:latin typeface="SLB Sans" panose="02000503040000020004" pitchFamily="50" charset="0"/>
                <a:ea typeface="+mn-ea"/>
                <a:cs typeface="+mn-cs"/>
              </a:rPr>
              <a:t>2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9D9"/>
                </a:solidFill>
                <a:effectLst/>
                <a:uLnTx/>
                <a:uFillTx/>
                <a:latin typeface="SLB Sans" panose="02000503040000020004" pitchFamily="50" charset="0"/>
                <a:ea typeface="+mn-ea"/>
                <a:cs typeface="+mn-cs"/>
              </a:rPr>
              <a:t> emission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9D9"/>
                </a:solidFill>
                <a:effectLst/>
                <a:uLnTx/>
                <a:uFillTx/>
                <a:latin typeface="SLB Sans Light" panose="02000503040000020004" pitchFamily="50" charset="0"/>
                <a:ea typeface="+mn-ea"/>
                <a:cs typeface="+mn-cs"/>
              </a:rPr>
              <a:t>by as much as 90% and operating costs up to 50%.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AE6E0A9-ECE7-57B9-0CB4-926A3D4A7D1F}"/>
              </a:ext>
            </a:extLst>
          </p:cNvPr>
          <p:cNvSpPr txBox="1"/>
          <p:nvPr/>
        </p:nvSpPr>
        <p:spPr>
          <a:xfrm>
            <a:off x="312822" y="2338857"/>
            <a:ext cx="6200825" cy="20313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9D9"/>
                </a:solidFill>
                <a:effectLst/>
                <a:uLnTx/>
                <a:uFillTx/>
                <a:latin typeface="SLB Sans" panose="02000503040000020004" pitchFamily="50" charset="0"/>
                <a:ea typeface="+mn-ea"/>
                <a:cs typeface="+mn-cs"/>
              </a:rPr>
              <a:t>The Celsius Energy system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9D9"/>
                </a:solidFill>
                <a:effectLst/>
                <a:uLnTx/>
                <a:uFillTx/>
                <a:latin typeface="SLB Sans" panose="02000503040000020004" pitchFamily="50" charset="0"/>
                <a:ea typeface="+mn-ea"/>
                <a:cs typeface="+mn-cs"/>
              </a:rPr>
              <a:t>Turnkey solution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9D9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  <a:t>for collective building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9D9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  <a:t>Pilot project operating since 2020 in Clamart, Fran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9D9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  <a:t>150 wells and 7 exchangers completed worldw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9D9"/>
                </a:solidFill>
                <a:effectLst/>
                <a:uLnTx/>
                <a:uFillTx/>
                <a:latin typeface="SLB Sans" panose="02000503040000020004" pitchFamily="50" charset="0"/>
                <a:ea typeface="+mn-ea"/>
                <a:cs typeface="+mn-cs"/>
              </a:rPr>
              <a:t>Very small footprint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9D9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  <a:t>thanks to inclined borehole desig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9D9"/>
                </a:solidFill>
                <a:effectLst/>
                <a:uLnTx/>
                <a:uFillTx/>
                <a:latin typeface="SLB Sans" panose="02000503040000020004" pitchFamily="50" charset="0"/>
                <a:ea typeface="+mn-ea"/>
                <a:cs typeface="+mn-cs"/>
              </a:rPr>
              <a:t>Native digital solution: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9D9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  <a:t>fit-for-purpose software models,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9D9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9D9"/>
                </a:solidFill>
                <a:effectLst/>
                <a:uLnTx/>
                <a:uFillTx/>
                <a:latin typeface="SLB Sans Light"/>
                <a:ea typeface="+mn-ea"/>
                <a:cs typeface="+mn-cs"/>
              </a:rPr>
              <a:t>smart energy management system</a:t>
            </a:r>
          </a:p>
        </p:txBody>
      </p:sp>
      <p:pic>
        <p:nvPicPr>
          <p:cNvPr id="20" name="Picture 19" descr="A picture containing text, person, screen, display&#10;&#10;Description automatically generated">
            <a:extLst>
              <a:ext uri="{FF2B5EF4-FFF2-40B4-BE49-F238E27FC236}">
                <a16:creationId xmlns:a16="http://schemas.microsoft.com/office/drawing/2014/main" id="{24B18380-C7A3-88E6-AD01-6932CE06DA6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86655" y="4521092"/>
            <a:ext cx="3713232" cy="1924543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6A25C20A-09F4-29C7-3221-D5C0454E732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88806" y="4776856"/>
            <a:ext cx="2554920" cy="166878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4" name="Picture 2" descr="image">
            <a:extLst>
              <a:ext uri="{FF2B5EF4-FFF2-40B4-BE49-F238E27FC236}">
                <a16:creationId xmlns:a16="http://schemas.microsoft.com/office/drawing/2014/main" id="{671385F0-C087-33B4-7804-B1383F7F95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44410" y="2302879"/>
            <a:ext cx="4135299" cy="4142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image">
            <a:extLst>
              <a:ext uri="{FF2B5EF4-FFF2-40B4-BE49-F238E27FC236}">
                <a16:creationId xmlns:a16="http://schemas.microsoft.com/office/drawing/2014/main" id="{C669B9CC-F3A2-0CA5-09D7-05A62CFC996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88805" y="4521093"/>
            <a:ext cx="3044205" cy="1964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30750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8AF8141F-820B-45F2-9E2B-422E212FC00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3524ED90-4EC0-49B7-B0F6-14CF18F91C47}"/>
              </a:ext>
            </a:extLst>
          </p:cNvPr>
          <p:cNvGrpSpPr/>
          <p:nvPr/>
        </p:nvGrpSpPr>
        <p:grpSpPr>
          <a:xfrm>
            <a:off x="6926098" y="779758"/>
            <a:ext cx="4249818" cy="5298483"/>
            <a:chOff x="434916" y="1089790"/>
            <a:chExt cx="4249818" cy="5298483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FBE12560-984A-C949-B1DC-718DCAE96033}"/>
                </a:ext>
              </a:extLst>
            </p:cNvPr>
            <p:cNvSpPr/>
            <p:nvPr/>
          </p:nvSpPr>
          <p:spPr>
            <a:xfrm>
              <a:off x="434916" y="1089790"/>
              <a:ext cx="4249818" cy="5298483"/>
            </a:xfrm>
            <a:prstGeom prst="rect">
              <a:avLst/>
            </a:prstGeom>
            <a:solidFill>
              <a:srgbClr val="0F00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Light"/>
                <a:ea typeface="+mn-ea"/>
                <a:cs typeface="+mn-cs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608D2E8-1818-B243-9F71-425B25F59BBC}"/>
                </a:ext>
              </a:extLst>
            </p:cNvPr>
            <p:cNvSpPr/>
            <p:nvPr/>
          </p:nvSpPr>
          <p:spPr>
            <a:xfrm>
              <a:off x="1041913" y="1258512"/>
              <a:ext cx="1853515" cy="35330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8FDFE"/>
                  </a:solidFill>
                  <a:effectLst/>
                  <a:uLnTx/>
                  <a:uFillTx/>
                  <a:latin typeface="SLB Sans Book"/>
                  <a:ea typeface="+mn-ea"/>
                  <a:cs typeface="+mn-cs"/>
                </a:rPr>
                <a:t>Who we are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5ACF47A1-C5A9-4A45-80E2-8A8F3CB959FD}"/>
                </a:ext>
              </a:extLst>
            </p:cNvPr>
            <p:cNvSpPr/>
            <p:nvPr/>
          </p:nvSpPr>
          <p:spPr>
            <a:xfrm>
              <a:off x="1030038" y="2912956"/>
              <a:ext cx="1853515" cy="35330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8FDFE"/>
                  </a:solidFill>
                  <a:effectLst/>
                  <a:uLnTx/>
                  <a:uFillTx/>
                  <a:latin typeface="SLB Sans Book"/>
                  <a:ea typeface="+mn-ea"/>
                  <a:cs typeface="+mn-cs"/>
                </a:rPr>
                <a:t>What we do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1891D58-D06A-164D-99BF-F72A2052F509}"/>
                </a:ext>
              </a:extLst>
            </p:cNvPr>
            <p:cNvSpPr/>
            <p:nvPr/>
          </p:nvSpPr>
          <p:spPr>
            <a:xfrm>
              <a:off x="1030038" y="4551440"/>
              <a:ext cx="1853515" cy="35330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8FDFE"/>
                  </a:solidFill>
                  <a:effectLst/>
                  <a:uLnTx/>
                  <a:uFillTx/>
                  <a:latin typeface="SLB Sans Book"/>
                  <a:ea typeface="+mn-ea"/>
                  <a:cs typeface="+mn-cs"/>
                </a:rPr>
                <a:t>Why </a:t>
              </a:r>
            </a:p>
          </p:txBody>
        </p:sp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1CF3D245-3070-71B2-2294-DA0C3D9E9EA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20443" y="1645344"/>
              <a:ext cx="1818085" cy="1081023"/>
            </a:xfrm>
            <a:prstGeom prst="rect">
              <a:avLst/>
            </a:prstGeom>
          </p:spPr>
        </p:pic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F798F9C9-C65B-91C2-F25D-2DF41F7594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56383" y="3289935"/>
              <a:ext cx="1535544" cy="1001175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F6218F33-CDB4-B964-0CC7-76E4237721C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44193" y="4904744"/>
              <a:ext cx="1418843" cy="1001175"/>
            </a:xfrm>
            <a:prstGeom prst="rect">
              <a:avLst/>
            </a:prstGeom>
          </p:spPr>
        </p:pic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C93A4EA8-1F3A-BAAD-4E41-656168AB0243}"/>
              </a:ext>
            </a:extLst>
          </p:cNvPr>
          <p:cNvSpPr txBox="1"/>
          <p:nvPr/>
        </p:nvSpPr>
        <p:spPr>
          <a:xfrm>
            <a:off x="12344400" y="37338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F127E"/>
              </a:solidFill>
              <a:effectLst/>
              <a:uLnTx/>
              <a:uFillTx/>
              <a:latin typeface="Graphik Light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31EF635-65CC-6106-A779-C6665FE1E9F4}"/>
              </a:ext>
            </a:extLst>
          </p:cNvPr>
          <p:cNvSpPr txBox="1"/>
          <p:nvPr/>
        </p:nvSpPr>
        <p:spPr>
          <a:xfrm>
            <a:off x="12477750" y="542925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F127E"/>
              </a:solidFill>
              <a:effectLst/>
              <a:uLnTx/>
              <a:uFillTx/>
              <a:latin typeface="Graphik Light"/>
              <a:ea typeface="+mn-ea"/>
              <a:cs typeface="+mn-cs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07F3D8D-14B2-4ADB-BE72-34EBD021F99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6084" y="2042795"/>
            <a:ext cx="4620683" cy="2772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6185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D01705D-8B77-DB64-44A5-0179AB44EF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D01705D-8B77-DB64-44A5-0179AB44EF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AD732D50-4E46-9DAF-F248-3FA0CD84E0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3"/>
            <a:ext cx="3200400" cy="3696087"/>
          </a:xfrm>
        </p:spPr>
        <p:txBody>
          <a:bodyPr vert="horz"/>
          <a:lstStyle/>
          <a:p>
            <a:r>
              <a:rPr lang="en-US" dirty="0"/>
              <a:t>SLB is a global geothermal technology lead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630393-3A9A-8D75-80FB-66CE7BADBD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701" y="6411198"/>
            <a:ext cx="684212" cy="230248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37C662-D0ED-4587-B264-5C4F0D975D18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DCE1E1">
                    <a:lumMod val="75000"/>
                  </a:srgbClr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DCE1E1">
                  <a:lumMod val="75000"/>
                </a:srgbClr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F4C3D0-2C4E-E38B-571B-DA90FACB2DEA}"/>
              </a:ext>
            </a:extLst>
          </p:cNvPr>
          <p:cNvSpPr txBox="1"/>
          <p:nvPr/>
        </p:nvSpPr>
        <p:spPr>
          <a:xfrm>
            <a:off x="74204" y="4519221"/>
            <a:ext cx="23472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DCE1E1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Electricit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C5207A0-9C37-EA15-798F-119C4732C7E3}"/>
              </a:ext>
            </a:extLst>
          </p:cNvPr>
          <p:cNvSpPr txBox="1"/>
          <p:nvPr/>
        </p:nvSpPr>
        <p:spPr>
          <a:xfrm>
            <a:off x="2029337" y="4550932"/>
            <a:ext cx="18649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DCE1E1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Heating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CF0E34EC-3228-E58E-0CD6-976C3E16EE1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9201" y="3518268"/>
            <a:ext cx="1097280" cy="1097280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8E77E570-D32F-FEB9-20CE-99D24E5DC66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2413165" y="3460056"/>
            <a:ext cx="1097280" cy="1097280"/>
          </a:xfrm>
          <a:prstGeom prst="rect">
            <a:avLst/>
          </a:prstGeom>
        </p:spPr>
      </p:pic>
      <p:sp>
        <p:nvSpPr>
          <p:cNvPr id="9" name="Content Placeholder 13">
            <a:extLst>
              <a:ext uri="{FF2B5EF4-FFF2-40B4-BE49-F238E27FC236}">
                <a16:creationId xmlns:a16="http://schemas.microsoft.com/office/drawing/2014/main" id="{E9A1E8A3-E32E-1CB5-7F55-D0AFCADD8CEB}"/>
              </a:ext>
            </a:extLst>
          </p:cNvPr>
          <p:cNvSpPr txBox="1">
            <a:spLocks/>
          </p:cNvSpPr>
          <p:nvPr/>
        </p:nvSpPr>
        <p:spPr>
          <a:xfrm>
            <a:off x="4581143" y="216554"/>
            <a:ext cx="7282625" cy="5480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SLB Sans" panose="02000503040000020004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2pPr>
            <a:lvl3pPr marL="342900" indent="-3429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SLB Sans Book" panose="02000503040000020004" pitchFamily="2" charset="0"/>
              <a:buChar char="→"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3pPr>
            <a:lvl4pPr marL="684000" indent="-342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−"/>
              <a:tabLst/>
              <a:defRPr sz="18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14DB"/>
                </a:solidFill>
                <a:effectLst/>
                <a:uLnTx/>
                <a:uFillTx/>
                <a:latin typeface="SLB Sans" panose="02000503040000020004" pitchFamily="2" charset="0"/>
                <a:ea typeface="+mn-ea"/>
                <a:cs typeface="+mn-cs"/>
              </a:rPr>
              <a:t>Proven Expertise in Geothermal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rgbClr val="0014DB"/>
              </a:buClr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With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GeothermEx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 consulting services we have 50 years of expertise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rgbClr val="0014DB"/>
              </a:buClr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Involved in over 70% of existing geothermal projects 11GW power generation</a:t>
            </a: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14DB"/>
                </a:solidFill>
                <a:effectLst/>
                <a:uLnTx/>
                <a:uFillTx/>
                <a:latin typeface="SLB Sans" panose="02000503040000020004" pitchFamily="2" charset="0"/>
                <a:ea typeface="+mn-ea"/>
                <a:cs typeface="+mn-cs"/>
              </a:rPr>
              <a:t>Focus in improving geothermal project economics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14DB"/>
                </a:solidFill>
                <a:effectLst/>
                <a:uLnTx/>
                <a:uFillTx/>
                <a:latin typeface="SLB Sans" panose="02000503040000020004" pitchFamily="2" charset="0"/>
                <a:ea typeface="+mn-ea"/>
                <a:cs typeface="+mn-cs"/>
                <a:sym typeface="Wingdings" panose="05000000000000000000" pitchFamily="2" charset="2"/>
              </a:rPr>
              <a:t>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14DB"/>
                </a:solidFill>
                <a:effectLst/>
                <a:uLnTx/>
                <a:uFillTx/>
                <a:latin typeface="SLB Sans" panose="02000503040000020004" pitchFamily="2" charset="0"/>
                <a:ea typeface="+mn-ea"/>
                <a:cs typeface="+mn-cs"/>
              </a:rPr>
              <a:t> reduce $/MW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rgbClr val="0014DB"/>
              </a:buClr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Resource assessment to minimize risks associated with exploration and development phases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rgbClr val="0014DB"/>
              </a:buClr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Model geothermal asset and design effective field development to target sustained long-term asset performance</a:t>
            </a: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14DB"/>
                </a:solidFill>
                <a:effectLst/>
                <a:uLnTx/>
                <a:uFillTx/>
                <a:latin typeface="SLB Sans" panose="02000503040000020004" pitchFamily="2" charset="0"/>
                <a:ea typeface="+mn-ea"/>
                <a:cs typeface="+mn-cs"/>
              </a:rPr>
              <a:t>Project execution with drilling efficiency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rgbClr val="0014DB"/>
              </a:buClr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Proven track record managing integrated projects with 12,000+ wells drilled 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rgbClr val="0014DB"/>
              </a:buClr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Best drilling performance applying fit-for-purpose technologies while achieving well placement, formation evaluation and completion objectives</a:t>
            </a: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14DB"/>
                </a:solidFill>
                <a:effectLst/>
                <a:uLnTx/>
                <a:uFillTx/>
                <a:latin typeface="SLB Sans" panose="02000503040000020004" pitchFamily="2" charset="0"/>
                <a:ea typeface="+mn-ea"/>
                <a:cs typeface="+mn-cs"/>
              </a:rPr>
              <a:t>Production optimization while monitoring resource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rgbClr val="0014DB"/>
              </a:buClr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Long term sustainable asset production with best-in-class ESP technology maximizing net energy output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rgbClr val="0014DB"/>
              </a:buClr>
              <a:buSzTx/>
              <a:buFont typeface="SLB Sans Book" panose="02000503040000020004" pitchFamily="2" charset="0"/>
              <a:buChar char="→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 panose="02000503040000020004" pitchFamily="2" charset="0"/>
                <a:ea typeface="+mn-ea"/>
                <a:cs typeface="+mn-cs"/>
              </a:rPr>
              <a:t>Effective technologies to monitor resource and mitigate corrosion</a:t>
            </a:r>
          </a:p>
          <a:p>
            <a:pPr marL="342900" marR="0" lvl="2" indent="-3429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rgbClr val="0014DB"/>
              </a:buClr>
              <a:buSzTx/>
              <a:buFont typeface="SLB Sans Book" panose="02000503040000020004" pitchFamily="2" charset="0"/>
              <a:buChar char="→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LB Sans Book" panose="0200050304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57218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B6F6EF8-C469-EB0C-7C43-25998DCE5A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D51202-9811-EA35-5F63-A5DA26088F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37C662-D0ED-4587-B264-5C4F0D975D18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DCE1E1">
                    <a:lumMod val="75000"/>
                  </a:srgbClr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DCE1E1">
                  <a:lumMod val="75000"/>
                </a:srgbClr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FFE64D1-626D-E240-D76E-02C42C4B71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1" y="3654426"/>
            <a:ext cx="5937250" cy="1649094"/>
          </a:xfrm>
        </p:spPr>
        <p:txBody>
          <a:bodyPr>
            <a:normAutofit/>
          </a:bodyPr>
          <a:lstStyle/>
          <a:p>
            <a:endParaRPr lang="en-GB" sz="2800" dirty="0">
              <a:solidFill>
                <a:schemeClr val="accent2"/>
              </a:solidFill>
            </a:endParaRPr>
          </a:p>
          <a:p>
            <a:endParaRPr lang="en-GB" sz="2800" dirty="0">
              <a:solidFill>
                <a:schemeClr val="accent2"/>
              </a:solidFill>
            </a:endParaRPr>
          </a:p>
          <a:p>
            <a:r>
              <a:rPr lang="en-GB" sz="2800" dirty="0">
                <a:solidFill>
                  <a:schemeClr val="accent2"/>
                </a:solidFill>
              </a:rPr>
              <a:t>slb.com/geothermal</a:t>
            </a:r>
          </a:p>
          <a:p>
            <a:endParaRPr lang="en-GB" sz="2800" dirty="0"/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98D7FF89-92B1-F53C-4ED1-E9C67BBACAB9}"/>
              </a:ext>
            </a:extLst>
          </p:cNvPr>
          <p:cNvSpPr txBox="1">
            <a:spLocks/>
          </p:cNvSpPr>
          <p:nvPr/>
        </p:nvSpPr>
        <p:spPr>
          <a:xfrm>
            <a:off x="5513197" y="464416"/>
            <a:ext cx="6359716" cy="57655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 kern="1200">
                <a:solidFill>
                  <a:schemeClr val="accent1"/>
                </a:solidFill>
                <a:latin typeface="SLB Sans" panose="02000503040000020004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>
                    <a:tint val="75000"/>
                  </a:schemeClr>
                </a:solidFill>
                <a:latin typeface="SLB Sans Book" panose="02000503040000020004" pitchFamily="2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None/>
              <a:defRPr sz="1800" b="0" kern="1200">
                <a:solidFill>
                  <a:schemeClr val="tx1">
                    <a:tint val="75000"/>
                  </a:schemeClr>
                </a:solidFill>
                <a:latin typeface="SLB Sans Book" panose="02000503040000020004" pitchFamily="2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None/>
              <a:tabLst/>
              <a:defRPr sz="1600" b="0" kern="1200">
                <a:solidFill>
                  <a:schemeClr val="tx1">
                    <a:tint val="75000"/>
                  </a:schemeClr>
                </a:solidFill>
                <a:latin typeface="SLB Sans Book" panose="02000503040000020004" pitchFamily="2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>
                    <a:tint val="75000"/>
                  </a:schemeClr>
                </a:solidFill>
                <a:latin typeface="SLB Sans Book" panose="02000503040000020004" pitchFamily="2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600" dirty="0">
              <a:solidFill>
                <a:schemeClr val="accent2"/>
              </a:solidFill>
            </a:endParaRPr>
          </a:p>
          <a:p>
            <a:r>
              <a:rPr lang="en-GB" sz="1600" dirty="0">
                <a:solidFill>
                  <a:schemeClr val="accent2"/>
                </a:solidFill>
              </a:rPr>
              <a:t>Links to papers and webinars:</a:t>
            </a:r>
          </a:p>
          <a:p>
            <a:r>
              <a:rPr lang="en-GB" sz="1400" u="sng" dirty="0">
                <a:solidFill>
                  <a:schemeClr val="accent2"/>
                </a:solidFill>
              </a:rPr>
              <a:t>Webinars</a:t>
            </a:r>
            <a:r>
              <a:rPr lang="en-GB" sz="1400" dirty="0">
                <a:solidFill>
                  <a:schemeClr val="accent2"/>
                </a:solidFill>
              </a:rPr>
              <a:t>: </a:t>
            </a:r>
            <a:r>
              <a:rPr lang="en-GB" sz="1400" dirty="0"/>
              <a:t>slb.com/geothermal-webinars</a:t>
            </a:r>
          </a:p>
          <a:p>
            <a:r>
              <a:rPr lang="en-GB" sz="1400" u="sng" dirty="0">
                <a:solidFill>
                  <a:schemeClr val="accent2"/>
                </a:solidFill>
              </a:rPr>
              <a:t>Technical Papers</a:t>
            </a:r>
            <a:r>
              <a:rPr lang="en-GB" sz="1400" dirty="0">
                <a:solidFill>
                  <a:schemeClr val="accent2"/>
                </a:solidFill>
              </a:rPr>
              <a:t>: GRC-202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A Fracture Characterization Case Study from Utah FOR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Directional &amp; Surveying Challenges in Geothermal Well Constru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Numerical Simulation of Rock Cutting for Utah FOR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An inverse model for estimating unknown fracture aperture distributions</a:t>
            </a:r>
          </a:p>
          <a:p>
            <a:r>
              <a:rPr lang="en-GB" sz="1400" u="sng" dirty="0">
                <a:solidFill>
                  <a:schemeClr val="accent2"/>
                </a:solidFill>
              </a:rPr>
              <a:t>Technical Presentations</a:t>
            </a:r>
            <a:r>
              <a:rPr lang="en-GB" sz="1400" dirty="0">
                <a:solidFill>
                  <a:schemeClr val="accent2"/>
                </a:solidFill>
              </a:rPr>
              <a:t>: </a:t>
            </a:r>
            <a:r>
              <a:rPr lang="en-GB" sz="1400" dirty="0" err="1">
                <a:solidFill>
                  <a:schemeClr val="accent2"/>
                </a:solidFill>
              </a:rPr>
              <a:t>GeoTHERM</a:t>
            </a:r>
            <a:r>
              <a:rPr lang="en-GB" sz="1400" dirty="0">
                <a:solidFill>
                  <a:schemeClr val="accent2"/>
                </a:solidFill>
              </a:rPr>
              <a:t> 202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A world’s first </a:t>
            </a:r>
            <a:r>
              <a:rPr lang="en-US" sz="1400" dirty="0" err="1"/>
              <a:t>geosteering</a:t>
            </a:r>
            <a:r>
              <a:rPr lang="en-US" sz="1400" dirty="0"/>
              <a:t> application in Geotherm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Novel Electrical Submergible Pump (ESP) technology boosted production by 56% from High-Enthalpy Geothermal Wel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Real-Time Data Simulator for the Qualification of DAS Passive Seismic Geothermal Monitoring Systems</a:t>
            </a:r>
          </a:p>
        </p:txBody>
      </p:sp>
    </p:spTree>
    <p:extLst>
      <p:ext uri="{BB962C8B-B14F-4D97-AF65-F5344CB8AC3E}">
        <p14:creationId xmlns:p14="http://schemas.microsoft.com/office/powerpoint/2010/main" val="34632377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C002C3D-E4F5-43B6-9B0D-065D4A365F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5" progId="TCLayout.ActiveDocument.1">
                  <p:embed/>
                </p:oleObj>
              </mc:Choice>
              <mc:Fallback>
                <p:oleObj name="think-cell Slide" r:id="rId4" imgW="416" imgH="41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C002C3D-E4F5-43B6-9B0D-065D4A365F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4F885780-0B10-42D3-903D-34C09E97697B}"/>
              </a:ext>
            </a:extLst>
          </p:cNvPr>
          <p:cNvGrpSpPr/>
          <p:nvPr/>
        </p:nvGrpSpPr>
        <p:grpSpPr>
          <a:xfrm>
            <a:off x="1323614" y="2088165"/>
            <a:ext cx="9867958" cy="3240243"/>
            <a:chOff x="1483474" y="1869379"/>
            <a:chExt cx="9221936" cy="3028113"/>
          </a:xfrm>
          <a:effectLst/>
        </p:grpSpPr>
        <p:sp>
          <p:nvSpPr>
            <p:cNvPr id="8" name="Arc 7">
              <a:extLst>
                <a:ext uri="{FF2B5EF4-FFF2-40B4-BE49-F238E27FC236}">
                  <a16:creationId xmlns:a16="http://schemas.microsoft.com/office/drawing/2014/main" id="{54D7827B-8606-4E5D-816E-26AFD2CBAB14}"/>
                </a:ext>
              </a:extLst>
            </p:cNvPr>
            <p:cNvSpPr/>
            <p:nvPr/>
          </p:nvSpPr>
          <p:spPr>
            <a:xfrm>
              <a:off x="1545143" y="1931435"/>
              <a:ext cx="2903865" cy="2903864"/>
            </a:xfrm>
            <a:prstGeom prst="arc">
              <a:avLst>
                <a:gd name="adj1" fmla="val 16443836"/>
                <a:gd name="adj2" fmla="val 1142605"/>
              </a:avLst>
            </a:prstGeom>
            <a:noFill/>
            <a:ln w="6350" cap="flat" cmpd="sng" algn="ctr">
              <a:solidFill>
                <a:srgbClr val="0014DC"/>
              </a:solidFill>
              <a:prstDash val="solid"/>
              <a:miter lim="800000"/>
              <a:headEnd type="oval" w="med" len="med"/>
              <a:tailEnd type="oval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Book"/>
                <a:ea typeface="ヒラギノ角ゴ Pro W3"/>
                <a:cs typeface="+mn-cs"/>
              </a:endParaRPr>
            </a:p>
          </p:txBody>
        </p:sp>
        <p:sp>
          <p:nvSpPr>
            <p:cNvPr id="9" name="Arc 8">
              <a:extLst>
                <a:ext uri="{FF2B5EF4-FFF2-40B4-BE49-F238E27FC236}">
                  <a16:creationId xmlns:a16="http://schemas.microsoft.com/office/drawing/2014/main" id="{967F7EFB-8925-4602-9A41-F4801D418570}"/>
                </a:ext>
              </a:extLst>
            </p:cNvPr>
            <p:cNvSpPr/>
            <p:nvPr/>
          </p:nvSpPr>
          <p:spPr>
            <a:xfrm>
              <a:off x="4621630" y="1931435"/>
              <a:ext cx="2903865" cy="2903864"/>
            </a:xfrm>
            <a:prstGeom prst="arc">
              <a:avLst>
                <a:gd name="adj1" fmla="val 2556567"/>
                <a:gd name="adj2" fmla="val 8288845"/>
              </a:avLst>
            </a:prstGeom>
            <a:noFill/>
            <a:ln w="6350" cap="flat" cmpd="sng" algn="ctr">
              <a:solidFill>
                <a:srgbClr val="00D2DC"/>
              </a:solidFill>
              <a:prstDash val="solid"/>
              <a:miter lim="800000"/>
              <a:headEnd type="oval" w="med" len="med"/>
              <a:tailEnd type="oval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Book"/>
                <a:ea typeface="ヒラギノ角ゴ Pro W3"/>
                <a:cs typeface="+mn-cs"/>
              </a:endParaRPr>
            </a:p>
          </p:txBody>
        </p:sp>
        <p:sp>
          <p:nvSpPr>
            <p:cNvPr id="10" name="Arc 9">
              <a:extLst>
                <a:ext uri="{FF2B5EF4-FFF2-40B4-BE49-F238E27FC236}">
                  <a16:creationId xmlns:a16="http://schemas.microsoft.com/office/drawing/2014/main" id="{4C9882C9-1DED-495D-AB91-11982FDC493E}"/>
                </a:ext>
              </a:extLst>
            </p:cNvPr>
            <p:cNvSpPr/>
            <p:nvPr/>
          </p:nvSpPr>
          <p:spPr>
            <a:xfrm>
              <a:off x="7740846" y="1931435"/>
              <a:ext cx="2903865" cy="2903864"/>
            </a:xfrm>
            <a:prstGeom prst="arc">
              <a:avLst>
                <a:gd name="adj1" fmla="val 9795429"/>
                <a:gd name="adj2" fmla="val 15440011"/>
              </a:avLst>
            </a:prstGeom>
            <a:noFill/>
            <a:ln w="6350" cap="flat" cmpd="sng" algn="ctr">
              <a:solidFill>
                <a:srgbClr val="1E1464"/>
              </a:solidFill>
              <a:prstDash val="solid"/>
              <a:miter lim="800000"/>
              <a:headEnd type="oval" w="med" len="med"/>
              <a:tailEnd type="oval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Book"/>
                <a:ea typeface="ヒラギノ角ゴ Pro W3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0FBAD72C-F209-4D58-A2AE-6B46912C35EA}"/>
                </a:ext>
              </a:extLst>
            </p:cNvPr>
            <p:cNvSpPr/>
            <p:nvPr/>
          </p:nvSpPr>
          <p:spPr>
            <a:xfrm>
              <a:off x="2823105" y="4366513"/>
              <a:ext cx="1241925" cy="481375"/>
            </a:xfrm>
            <a:custGeom>
              <a:avLst/>
              <a:gdLst>
                <a:gd name="connsiteX0" fmla="*/ 179542 w 1241925"/>
                <a:gd name="connsiteY0" fmla="*/ 480621 h 481375"/>
                <a:gd name="connsiteX1" fmla="*/ -519 w 1241925"/>
                <a:gd name="connsiteY1" fmla="*/ 469680 h 481375"/>
                <a:gd name="connsiteX2" fmla="*/ 3514 w 1241925"/>
                <a:gd name="connsiteY2" fmla="*/ 436811 h 481375"/>
                <a:gd name="connsiteX3" fmla="*/ 179542 w 1241925"/>
                <a:gd name="connsiteY3" fmla="*/ 447497 h 481375"/>
                <a:gd name="connsiteX4" fmla="*/ 1187444 w 1241925"/>
                <a:gd name="connsiteY4" fmla="*/ 30076 h 481375"/>
                <a:gd name="connsiteX5" fmla="*/ 1217323 w 1241925"/>
                <a:gd name="connsiteY5" fmla="*/ -684 h 481375"/>
                <a:gd name="connsiteX6" fmla="*/ 1241407 w 1241925"/>
                <a:gd name="connsiteY6" fmla="*/ 22056 h 481375"/>
                <a:gd name="connsiteX7" fmla="*/ 1210856 w 1241925"/>
                <a:gd name="connsiteY7" fmla="*/ 53488 h 481375"/>
                <a:gd name="connsiteX8" fmla="*/ 179542 w 1241925"/>
                <a:gd name="connsiteY8" fmla="*/ 480691 h 481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1925" h="481375">
                  <a:moveTo>
                    <a:pt x="179542" y="480621"/>
                  </a:moveTo>
                  <a:cubicBezTo>
                    <a:pt x="119344" y="480621"/>
                    <a:pt x="59215" y="476982"/>
                    <a:pt x="-519" y="469680"/>
                  </a:cubicBezTo>
                  <a:lnTo>
                    <a:pt x="3514" y="436811"/>
                  </a:lnTo>
                  <a:cubicBezTo>
                    <a:pt x="61927" y="443928"/>
                    <a:pt x="120711" y="447497"/>
                    <a:pt x="179542" y="447497"/>
                  </a:cubicBezTo>
                  <a:cubicBezTo>
                    <a:pt x="557673" y="448031"/>
                    <a:pt x="920413" y="297802"/>
                    <a:pt x="1187444" y="30076"/>
                  </a:cubicBezTo>
                  <a:cubicBezTo>
                    <a:pt x="1197273" y="20225"/>
                    <a:pt x="1207333" y="9887"/>
                    <a:pt x="1217323" y="-684"/>
                  </a:cubicBezTo>
                  <a:lnTo>
                    <a:pt x="1241407" y="22056"/>
                  </a:lnTo>
                  <a:cubicBezTo>
                    <a:pt x="1231185" y="32857"/>
                    <a:pt x="1220916" y="43428"/>
                    <a:pt x="1210856" y="53488"/>
                  </a:cubicBezTo>
                  <a:cubicBezTo>
                    <a:pt x="937636" y="327449"/>
                    <a:pt x="566458" y="481201"/>
                    <a:pt x="179542" y="48069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23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Book"/>
                <a:ea typeface="ヒラギノ角ゴ Pro W3"/>
                <a:cs typeface="+mn-cs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31D9F4CE-2EBF-4680-8682-23C789BB1F3A}"/>
                </a:ext>
              </a:extLst>
            </p:cNvPr>
            <p:cNvSpPr/>
            <p:nvPr/>
          </p:nvSpPr>
          <p:spPr>
            <a:xfrm>
              <a:off x="1483474" y="2797869"/>
              <a:ext cx="1351080" cy="2099600"/>
            </a:xfrm>
            <a:custGeom>
              <a:avLst/>
              <a:gdLst>
                <a:gd name="connsiteX0" fmla="*/ 1331670 w 1351080"/>
                <a:gd name="connsiteY0" fmla="*/ 2098917 h 2099600"/>
                <a:gd name="connsiteX1" fmla="*/ 11395 w 1351080"/>
                <a:gd name="connsiteY1" fmla="*/ 401230 h 2099600"/>
                <a:gd name="connsiteX2" fmla="*/ 119021 w 1351080"/>
                <a:gd name="connsiteY2" fmla="*/ -684 h 2099600"/>
                <a:gd name="connsiteX3" fmla="*/ 261993 w 1351080"/>
                <a:gd name="connsiteY3" fmla="*/ 59792 h 2099600"/>
                <a:gd name="connsiteX4" fmla="*/ 987221 w 1351080"/>
                <a:gd name="connsiteY4" fmla="*/ 1847555 h 2099600"/>
                <a:gd name="connsiteX5" fmla="*/ 1350562 w 1351080"/>
                <a:gd name="connsiteY5" fmla="*/ 1944887 h 2099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51080" h="2099600">
                  <a:moveTo>
                    <a:pt x="1331670" y="2098917"/>
                  </a:moveTo>
                  <a:cubicBezTo>
                    <a:pt x="498283" y="1994701"/>
                    <a:pt x="-92824" y="1234613"/>
                    <a:pt x="11395" y="401230"/>
                  </a:cubicBezTo>
                  <a:cubicBezTo>
                    <a:pt x="28687" y="262963"/>
                    <a:pt x="64900" y="127732"/>
                    <a:pt x="119021" y="-684"/>
                  </a:cubicBezTo>
                  <a:lnTo>
                    <a:pt x="261993" y="59792"/>
                  </a:lnTo>
                  <a:cubicBezTo>
                    <a:pt x="-31421" y="753748"/>
                    <a:pt x="293277" y="1554146"/>
                    <a:pt x="987221" y="1847555"/>
                  </a:cubicBezTo>
                  <a:cubicBezTo>
                    <a:pt x="1103259" y="1896627"/>
                    <a:pt x="1225530" y="1929380"/>
                    <a:pt x="1350562" y="1944887"/>
                  </a:cubicBezTo>
                  <a:close/>
                </a:path>
              </a:pathLst>
            </a:custGeom>
            <a:solidFill>
              <a:srgbClr val="0014DC"/>
            </a:solidFill>
            <a:ln w="23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Book"/>
                <a:ea typeface="ヒラギノ角ゴ Pro W3"/>
                <a:cs typeface="+mn-cs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1138D3E-70BD-4858-A2D7-B6A41DF3C2CD}"/>
                </a:ext>
              </a:extLst>
            </p:cNvPr>
            <p:cNvSpPr/>
            <p:nvPr/>
          </p:nvSpPr>
          <p:spPr>
            <a:xfrm>
              <a:off x="1659249" y="1969331"/>
              <a:ext cx="1016548" cy="865185"/>
            </a:xfrm>
            <a:custGeom>
              <a:avLst/>
              <a:gdLst>
                <a:gd name="connsiteX0" fmla="*/ 29985 w 1016548"/>
                <a:gd name="connsiteY0" fmla="*/ 864502 h 865185"/>
                <a:gd name="connsiteX1" fmla="*/ -519 w 1016548"/>
                <a:gd name="connsiteY1" fmla="*/ 851590 h 865185"/>
                <a:gd name="connsiteX2" fmla="*/ 1008450 w 1016548"/>
                <a:gd name="connsiteY2" fmla="*/ -684 h 865185"/>
                <a:gd name="connsiteX3" fmla="*/ 1016030 w 1016548"/>
                <a:gd name="connsiteY3" fmla="*/ 31559 h 865185"/>
                <a:gd name="connsiteX4" fmla="*/ 29985 w 1016548"/>
                <a:gd name="connsiteY4" fmla="*/ 864502 h 865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6548" h="865185">
                  <a:moveTo>
                    <a:pt x="29985" y="864502"/>
                  </a:moveTo>
                  <a:lnTo>
                    <a:pt x="-519" y="851590"/>
                  </a:lnTo>
                  <a:cubicBezTo>
                    <a:pt x="180668" y="422869"/>
                    <a:pt x="555471" y="106275"/>
                    <a:pt x="1008450" y="-684"/>
                  </a:cubicBezTo>
                  <a:lnTo>
                    <a:pt x="1016030" y="31559"/>
                  </a:lnTo>
                  <a:cubicBezTo>
                    <a:pt x="573553" y="136524"/>
                    <a:pt x="207436" y="445796"/>
                    <a:pt x="29985" y="864502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23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Book"/>
                <a:ea typeface="ヒラギノ角ゴ Pro W3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7DED15FE-2299-4239-904F-44E231D4C85D}"/>
                </a:ext>
              </a:extLst>
            </p:cNvPr>
            <p:cNvSpPr/>
            <p:nvPr/>
          </p:nvSpPr>
          <p:spPr>
            <a:xfrm>
              <a:off x="1754226" y="2143134"/>
              <a:ext cx="2501831" cy="2501840"/>
            </a:xfrm>
            <a:custGeom>
              <a:avLst/>
              <a:gdLst>
                <a:gd name="connsiteX0" fmla="*/ 1248420 w 2501830"/>
                <a:gd name="connsiteY0" fmla="*/ 2501155 h 2501840"/>
                <a:gd name="connsiteX1" fmla="*/ -517 w 2501830"/>
                <a:gd name="connsiteY1" fmla="*/ 1248265 h 2501840"/>
                <a:gd name="connsiteX2" fmla="*/ 1252384 w 2501830"/>
                <a:gd name="connsiteY2" fmla="*/ -682 h 2501840"/>
                <a:gd name="connsiteX3" fmla="*/ 2501310 w 2501830"/>
                <a:gd name="connsiteY3" fmla="*/ 1252229 h 2501840"/>
                <a:gd name="connsiteX4" fmla="*/ 1737096 w 2501830"/>
                <a:gd name="connsiteY4" fmla="*/ 2402594 h 2501840"/>
                <a:gd name="connsiteX5" fmla="*/ 1248420 w 2501830"/>
                <a:gd name="connsiteY5" fmla="*/ 2501155 h 2501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01830" h="2501840">
                  <a:moveTo>
                    <a:pt x="1248420" y="2501155"/>
                  </a:moveTo>
                  <a:cubicBezTo>
                    <a:pt x="557556" y="2500065"/>
                    <a:pt x="-1612" y="1939115"/>
                    <a:pt x="-517" y="1248265"/>
                  </a:cubicBezTo>
                  <a:cubicBezTo>
                    <a:pt x="577" y="557392"/>
                    <a:pt x="561520" y="-1776"/>
                    <a:pt x="1252384" y="-682"/>
                  </a:cubicBezTo>
                  <a:cubicBezTo>
                    <a:pt x="1943257" y="412"/>
                    <a:pt x="2502422" y="561356"/>
                    <a:pt x="2501310" y="1252229"/>
                  </a:cubicBezTo>
                  <a:cubicBezTo>
                    <a:pt x="2500522" y="1754303"/>
                    <a:pt x="2199625" y="2207258"/>
                    <a:pt x="1737096" y="2402594"/>
                  </a:cubicBezTo>
                  <a:cubicBezTo>
                    <a:pt x="1582487" y="2467985"/>
                    <a:pt x="1416288" y="2501502"/>
                    <a:pt x="1248420" y="2501155"/>
                  </a:cubicBezTo>
                  <a:close/>
                </a:path>
              </a:pathLst>
            </a:custGeom>
            <a:solidFill>
              <a:srgbClr val="0014DC"/>
            </a:solidFill>
            <a:ln w="2318" cap="flat">
              <a:solidFill>
                <a:srgbClr val="FFFFFF">
                  <a:lumMod val="95000"/>
                </a:srgbClr>
              </a:solidFill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202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LB Sans Book"/>
                  <a:ea typeface="ヒラギノ角ゴ Pro W3"/>
                  <a:cs typeface="Arial" panose="020B0604020202020204" pitchFamily="34" charset="0"/>
                </a:rPr>
                <a:t>Digital</a:t>
              </a:r>
            </a:p>
            <a:p>
              <a:pPr marL="0" marR="0" lvl="0" indent="0" algn="ctr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LB Sans Book"/>
                  <a:ea typeface="ヒラギノ角ゴ Pro W3"/>
                  <a:cs typeface="Arial" panose="020B0604020202020204" pitchFamily="34" charset="0"/>
                </a:rPr>
                <a:t>Intelligent platforms</a:t>
              </a:r>
            </a:p>
            <a:p>
              <a:pPr marL="0" marR="0" lvl="0" indent="0" algn="ctr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LB Sans Book"/>
                  <a:ea typeface="ヒラギノ角ゴ Pro W3"/>
                  <a:cs typeface="Arial" panose="020B0604020202020204" pitchFamily="34" charset="0"/>
                </a:rPr>
                <a:t>for the energy industry </a:t>
              </a:r>
            </a:p>
            <a:p>
              <a:pPr marL="0" marR="0" lvl="0" indent="0" algn="ctr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LB Sans Book"/>
                  <a:ea typeface="ヒラギノ角ゴ Pro W3"/>
                  <a:cs typeface="Arial" panose="020B0604020202020204" pitchFamily="34" charset="0"/>
                </a:rPr>
                <a:t>and beyond </a:t>
              </a: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B0231BEE-041B-46BB-8912-B440BD7C9F1F}"/>
                </a:ext>
              </a:extLst>
            </p:cNvPr>
            <p:cNvSpPr/>
            <p:nvPr/>
          </p:nvSpPr>
          <p:spPr>
            <a:xfrm>
              <a:off x="7241911" y="2524116"/>
              <a:ext cx="310727" cy="1284159"/>
            </a:xfrm>
            <a:custGeom>
              <a:avLst/>
              <a:gdLst>
                <a:gd name="connsiteX0" fmla="*/ 249220 w 310727"/>
                <a:gd name="connsiteY0" fmla="*/ 1283406 h 1284159"/>
                <a:gd name="connsiteX1" fmla="*/ 217487 w 310727"/>
                <a:gd name="connsiteY1" fmla="*/ 1273902 h 1284159"/>
                <a:gd name="connsiteX2" fmla="*/ -519 w 310727"/>
                <a:gd name="connsiteY2" fmla="*/ 18996 h 1284159"/>
                <a:gd name="connsiteX3" fmla="*/ 26138 w 310727"/>
                <a:gd name="connsiteY3" fmla="*/ -684 h 1284159"/>
                <a:gd name="connsiteX4" fmla="*/ 249220 w 310727"/>
                <a:gd name="connsiteY4" fmla="*/ 1283476 h 1284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0727" h="1284159">
                  <a:moveTo>
                    <a:pt x="249220" y="1283406"/>
                  </a:moveTo>
                  <a:lnTo>
                    <a:pt x="217487" y="1273902"/>
                  </a:lnTo>
                  <a:cubicBezTo>
                    <a:pt x="346320" y="844590"/>
                    <a:pt x="265562" y="379696"/>
                    <a:pt x="-519" y="18996"/>
                  </a:cubicBezTo>
                  <a:lnTo>
                    <a:pt x="26138" y="-684"/>
                  </a:lnTo>
                  <a:cubicBezTo>
                    <a:pt x="297642" y="368756"/>
                    <a:pt x="380209" y="844126"/>
                    <a:pt x="249220" y="1283476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23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Book"/>
                <a:ea typeface="ヒラギノ角ゴ Pro W3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3641DCE-C8C1-4F39-8163-8A88D2D013CA}"/>
                </a:ext>
              </a:extLst>
            </p:cNvPr>
            <p:cNvSpPr/>
            <p:nvPr/>
          </p:nvSpPr>
          <p:spPr>
            <a:xfrm>
              <a:off x="4874794" y="1869379"/>
              <a:ext cx="2442800" cy="710599"/>
            </a:xfrm>
            <a:custGeom>
              <a:avLst/>
              <a:gdLst>
                <a:gd name="connsiteX0" fmla="*/ 2317319 w 2442799"/>
                <a:gd name="connsiteY0" fmla="*/ 709916 h 710599"/>
                <a:gd name="connsiteX1" fmla="*/ 2183456 w 2442799"/>
                <a:gd name="connsiteY1" fmla="*/ 554612 h 710599"/>
                <a:gd name="connsiteX2" fmla="*/ 255918 w 2442799"/>
                <a:gd name="connsiteY2" fmla="*/ 552681 h 710599"/>
                <a:gd name="connsiteX3" fmla="*/ 253995 w 2442799"/>
                <a:gd name="connsiteY3" fmla="*/ 554612 h 710599"/>
                <a:gd name="connsiteX4" fmla="*/ 123910 w 2442799"/>
                <a:gd name="connsiteY4" fmla="*/ 704886 h 710599"/>
                <a:gd name="connsiteX5" fmla="*/ -519 w 2442799"/>
                <a:gd name="connsiteY5" fmla="*/ 612167 h 710599"/>
                <a:gd name="connsiteX6" fmla="*/ 144215 w 2442799"/>
                <a:gd name="connsiteY6" fmla="*/ 444925 h 710599"/>
                <a:gd name="connsiteX7" fmla="*/ 2291381 w 2442799"/>
                <a:gd name="connsiteY7" fmla="*/ 443094 h 710599"/>
                <a:gd name="connsiteX8" fmla="*/ 2293212 w 2442799"/>
                <a:gd name="connsiteY8" fmla="*/ 444925 h 710599"/>
                <a:gd name="connsiteX9" fmla="*/ 2442281 w 2442799"/>
                <a:gd name="connsiteY9" fmla="*/ 617962 h 710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42799" h="710599">
                  <a:moveTo>
                    <a:pt x="2317319" y="709916"/>
                  </a:moveTo>
                  <a:cubicBezTo>
                    <a:pt x="2276615" y="654899"/>
                    <a:pt x="2231878" y="602986"/>
                    <a:pt x="2183456" y="554612"/>
                  </a:cubicBezTo>
                  <a:cubicBezTo>
                    <a:pt x="1651712" y="21806"/>
                    <a:pt x="788729" y="20942"/>
                    <a:pt x="255918" y="552681"/>
                  </a:cubicBezTo>
                  <a:cubicBezTo>
                    <a:pt x="255293" y="553325"/>
                    <a:pt x="254643" y="553967"/>
                    <a:pt x="253995" y="554612"/>
                  </a:cubicBezTo>
                  <a:cubicBezTo>
                    <a:pt x="207079" y="601514"/>
                    <a:pt x="163594" y="651735"/>
                    <a:pt x="123910" y="704886"/>
                  </a:cubicBezTo>
                  <a:lnTo>
                    <a:pt x="-519" y="612167"/>
                  </a:lnTo>
                  <a:cubicBezTo>
                    <a:pt x="43638" y="553017"/>
                    <a:pt x="92014" y="497126"/>
                    <a:pt x="144215" y="444925"/>
                  </a:cubicBezTo>
                  <a:cubicBezTo>
                    <a:pt x="736621" y="-148505"/>
                    <a:pt x="1697955" y="-149323"/>
                    <a:pt x="2291381" y="443094"/>
                  </a:cubicBezTo>
                  <a:cubicBezTo>
                    <a:pt x="2291983" y="443704"/>
                    <a:pt x="2292609" y="444313"/>
                    <a:pt x="2293212" y="444925"/>
                  </a:cubicBezTo>
                  <a:cubicBezTo>
                    <a:pt x="2347128" y="498820"/>
                    <a:pt x="2396965" y="556659"/>
                    <a:pt x="2442281" y="617962"/>
                  </a:cubicBezTo>
                  <a:close/>
                </a:path>
              </a:pathLst>
            </a:custGeom>
            <a:solidFill>
              <a:srgbClr val="00D2DC"/>
            </a:solidFill>
            <a:ln w="23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Book"/>
                <a:ea typeface="ヒラギノ角ゴ Pro W3"/>
                <a:cs typeface="+mn-cs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804FD57-F346-4CEE-8955-4C9B6025CE4D}"/>
                </a:ext>
              </a:extLst>
            </p:cNvPr>
            <p:cNvSpPr/>
            <p:nvPr/>
          </p:nvSpPr>
          <p:spPr>
            <a:xfrm>
              <a:off x="4634981" y="2518552"/>
              <a:ext cx="315284" cy="1291669"/>
            </a:xfrm>
            <a:custGeom>
              <a:avLst/>
              <a:gdLst>
                <a:gd name="connsiteX0" fmla="*/ 61596 w 315284"/>
                <a:gd name="connsiteY0" fmla="*/ 1290986 h 1291669"/>
                <a:gd name="connsiteX1" fmla="*/ 288225 w 315284"/>
                <a:gd name="connsiteY1" fmla="*/ -684 h 1291669"/>
                <a:gd name="connsiteX2" fmla="*/ 314766 w 315284"/>
                <a:gd name="connsiteY2" fmla="*/ 19112 h 1291669"/>
                <a:gd name="connsiteX3" fmla="*/ 93306 w 315284"/>
                <a:gd name="connsiteY3" fmla="*/ 1281436 h 1291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5284" h="1291669">
                  <a:moveTo>
                    <a:pt x="61596" y="1290986"/>
                  </a:moveTo>
                  <a:cubicBezTo>
                    <a:pt x="-71780" y="848832"/>
                    <a:pt x="12293" y="369636"/>
                    <a:pt x="288225" y="-684"/>
                  </a:cubicBezTo>
                  <a:lnTo>
                    <a:pt x="314766" y="19112"/>
                  </a:lnTo>
                  <a:cubicBezTo>
                    <a:pt x="45880" y="381365"/>
                    <a:pt x="-36222" y="849295"/>
                    <a:pt x="93306" y="1281436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23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Book"/>
                <a:ea typeface="ヒラギノ角ゴ Pro W3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36DB9FA-6CD7-45D2-B24A-125010D32679}"/>
                </a:ext>
              </a:extLst>
            </p:cNvPr>
            <p:cNvSpPr/>
            <p:nvPr/>
          </p:nvSpPr>
          <p:spPr>
            <a:xfrm>
              <a:off x="4845098" y="2143134"/>
              <a:ext cx="2501820" cy="2501840"/>
            </a:xfrm>
            <a:custGeom>
              <a:avLst/>
              <a:gdLst>
                <a:gd name="connsiteX0" fmla="*/ 1248409 w 2501819"/>
                <a:gd name="connsiteY0" fmla="*/ 2501155 h 2501840"/>
                <a:gd name="connsiteX1" fmla="*/ -517 w 2501819"/>
                <a:gd name="connsiteY1" fmla="*/ 1248265 h 2501840"/>
                <a:gd name="connsiteX2" fmla="*/ 1252372 w 2501819"/>
                <a:gd name="connsiteY2" fmla="*/ -682 h 2501840"/>
                <a:gd name="connsiteX3" fmla="*/ 2501298 w 2501819"/>
                <a:gd name="connsiteY3" fmla="*/ 1252229 h 2501840"/>
                <a:gd name="connsiteX4" fmla="*/ 1737085 w 2501819"/>
                <a:gd name="connsiteY4" fmla="*/ 2402594 h 2501840"/>
                <a:gd name="connsiteX5" fmla="*/ 1248409 w 2501819"/>
                <a:gd name="connsiteY5" fmla="*/ 2501155 h 2501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01819" h="2501840">
                  <a:moveTo>
                    <a:pt x="1248409" y="2501155"/>
                  </a:moveTo>
                  <a:cubicBezTo>
                    <a:pt x="557536" y="2500065"/>
                    <a:pt x="-1630" y="1939115"/>
                    <a:pt x="-517" y="1248265"/>
                  </a:cubicBezTo>
                  <a:cubicBezTo>
                    <a:pt x="572" y="557392"/>
                    <a:pt x="561499" y="-1776"/>
                    <a:pt x="1252372" y="-682"/>
                  </a:cubicBezTo>
                  <a:cubicBezTo>
                    <a:pt x="1943245" y="412"/>
                    <a:pt x="2502411" y="561356"/>
                    <a:pt x="2501298" y="1252229"/>
                  </a:cubicBezTo>
                  <a:cubicBezTo>
                    <a:pt x="2500510" y="1754303"/>
                    <a:pt x="2199613" y="2207258"/>
                    <a:pt x="1737085" y="2402594"/>
                  </a:cubicBezTo>
                  <a:cubicBezTo>
                    <a:pt x="1582475" y="2467985"/>
                    <a:pt x="1416276" y="2501502"/>
                    <a:pt x="1248409" y="2501155"/>
                  </a:cubicBezTo>
                  <a:close/>
                </a:path>
              </a:pathLst>
            </a:custGeom>
            <a:solidFill>
              <a:srgbClr val="00D2DC"/>
            </a:solidFill>
            <a:ln w="2318" cap="flat">
              <a:solidFill>
                <a:srgbClr val="FFFFFF">
                  <a:lumMod val="95000"/>
                </a:srgbClr>
              </a:solidFill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202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LB Sans Book"/>
                  <a:ea typeface="ヒラギノ角ゴ Pro W3"/>
                  <a:cs typeface="Arial" panose="020B0604020202020204" pitchFamily="34" charset="0"/>
                </a:rPr>
                <a:t>Core O&amp;G</a:t>
              </a:r>
            </a:p>
            <a:p>
              <a:pPr marL="0" marR="0" lvl="0" indent="0" algn="ctr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LB Sans Book"/>
                  <a:ea typeface="ヒラギノ角ゴ Pro W3"/>
                  <a:cs typeface="Arial" panose="020B0604020202020204" pitchFamily="34" charset="0"/>
                </a:rPr>
                <a:t>Industry Leader in a </a:t>
              </a:r>
              <a:b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LB Sans Book"/>
                  <a:ea typeface="ヒラギノ角ゴ Pro W3"/>
                  <a:cs typeface="Arial" panose="020B0604020202020204" pitchFamily="34" charset="0"/>
                </a:rPr>
              </a:b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LB Sans Book"/>
                  <a:ea typeface="ヒラギノ角ゴ Pro W3"/>
                  <a:cs typeface="Arial" panose="020B0604020202020204" pitchFamily="34" charset="0"/>
                </a:rPr>
                <a:t>low cost / low carbon</a:t>
              </a:r>
              <a:b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LB Sans Book"/>
                  <a:ea typeface="ヒラギノ角ゴ Pro W3"/>
                  <a:cs typeface="Arial" panose="020B0604020202020204" pitchFamily="34" charset="0"/>
                </a:rPr>
              </a:b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LB Sans Book"/>
                  <a:ea typeface="ヒラギノ角ゴ Pro W3"/>
                  <a:cs typeface="Arial" panose="020B0604020202020204" pitchFamily="34" charset="0"/>
                </a:rPr>
                <a:t>environment</a:t>
              </a: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0D7F393-A54B-44FA-B097-A0AB43119B5E}"/>
                </a:ext>
              </a:extLst>
            </p:cNvPr>
            <p:cNvSpPr/>
            <p:nvPr/>
          </p:nvSpPr>
          <p:spPr>
            <a:xfrm>
              <a:off x="8125245" y="4368738"/>
              <a:ext cx="1239723" cy="479080"/>
            </a:xfrm>
            <a:custGeom>
              <a:avLst/>
              <a:gdLst>
                <a:gd name="connsiteX0" fmla="*/ 1059121 w 1239723"/>
                <a:gd name="connsiteY0" fmla="*/ 478396 h 479080"/>
                <a:gd name="connsiteX1" fmla="*/ 27830 w 1239723"/>
                <a:gd name="connsiteY1" fmla="*/ 51193 h 479080"/>
                <a:gd name="connsiteX2" fmla="*/ -519 w 1239723"/>
                <a:gd name="connsiteY2" fmla="*/ 22079 h 479080"/>
                <a:gd name="connsiteX3" fmla="*/ 23541 w 1239723"/>
                <a:gd name="connsiteY3" fmla="*/ -684 h 479080"/>
                <a:gd name="connsiteX4" fmla="*/ 51357 w 1239723"/>
                <a:gd name="connsiteY4" fmla="*/ 27781 h 479080"/>
                <a:gd name="connsiteX5" fmla="*/ 1059237 w 1239723"/>
                <a:gd name="connsiteY5" fmla="*/ 445272 h 479080"/>
                <a:gd name="connsiteX6" fmla="*/ 1235171 w 1239723"/>
                <a:gd name="connsiteY6" fmla="*/ 434586 h 479080"/>
                <a:gd name="connsiteX7" fmla="*/ 1239204 w 1239723"/>
                <a:gd name="connsiteY7" fmla="*/ 467455 h 479080"/>
                <a:gd name="connsiteX8" fmla="*/ 1059121 w 1239723"/>
                <a:gd name="connsiteY8" fmla="*/ 478396 h 479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39723" h="479080">
                  <a:moveTo>
                    <a:pt x="1059121" y="478396"/>
                  </a:moveTo>
                  <a:cubicBezTo>
                    <a:pt x="672204" y="478929"/>
                    <a:pt x="301049" y="325178"/>
                    <a:pt x="27830" y="51193"/>
                  </a:cubicBezTo>
                  <a:cubicBezTo>
                    <a:pt x="18140" y="41527"/>
                    <a:pt x="8614" y="31722"/>
                    <a:pt x="-519" y="22079"/>
                  </a:cubicBezTo>
                  <a:lnTo>
                    <a:pt x="23541" y="-684"/>
                  </a:lnTo>
                  <a:cubicBezTo>
                    <a:pt x="32466" y="8751"/>
                    <a:pt x="41784" y="18324"/>
                    <a:pt x="51357" y="27781"/>
                  </a:cubicBezTo>
                  <a:cubicBezTo>
                    <a:pt x="318365" y="295531"/>
                    <a:pt x="681105" y="445782"/>
                    <a:pt x="1059237" y="445272"/>
                  </a:cubicBezTo>
                  <a:cubicBezTo>
                    <a:pt x="1118043" y="445272"/>
                    <a:pt x="1176804" y="441703"/>
                    <a:pt x="1235171" y="434586"/>
                  </a:cubicBezTo>
                  <a:lnTo>
                    <a:pt x="1239204" y="467455"/>
                  </a:lnTo>
                  <a:cubicBezTo>
                    <a:pt x="1179447" y="474757"/>
                    <a:pt x="1119318" y="478396"/>
                    <a:pt x="1059121" y="478396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23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Book"/>
                <a:ea typeface="ヒラギノ角ゴ Pro W3"/>
                <a:cs typeface="+mn-cs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8E253636-FF39-471A-BDB4-62C6B444B782}"/>
                </a:ext>
              </a:extLst>
            </p:cNvPr>
            <p:cNvSpPr/>
            <p:nvPr/>
          </p:nvSpPr>
          <p:spPr>
            <a:xfrm>
              <a:off x="9353402" y="2797822"/>
              <a:ext cx="1352008" cy="2099670"/>
            </a:xfrm>
            <a:custGeom>
              <a:avLst/>
              <a:gdLst>
                <a:gd name="connsiteX0" fmla="*/ 18350 w 1352008"/>
                <a:gd name="connsiteY0" fmla="*/ 2098987 h 2099670"/>
                <a:gd name="connsiteX1" fmla="*/ -519 w 1352008"/>
                <a:gd name="connsiteY1" fmla="*/ 1944910 h 2099670"/>
                <a:gd name="connsiteX2" fmla="*/ 1184732 w 1352008"/>
                <a:gd name="connsiteY2" fmla="*/ 420400 h 2099670"/>
                <a:gd name="connsiteX3" fmla="*/ 1088142 w 1352008"/>
                <a:gd name="connsiteY3" fmla="*/ 59792 h 2099670"/>
                <a:gd name="connsiteX4" fmla="*/ 1231115 w 1352008"/>
                <a:gd name="connsiteY4" fmla="*/ -684 h 2099670"/>
                <a:gd name="connsiteX5" fmla="*/ 423439 w 1352008"/>
                <a:gd name="connsiteY5" fmla="*/ 1990528 h 2099670"/>
                <a:gd name="connsiteX6" fmla="*/ 18350 w 1352008"/>
                <a:gd name="connsiteY6" fmla="*/ 2098987 h 2099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52008" h="2099670">
                  <a:moveTo>
                    <a:pt x="18350" y="2098987"/>
                  </a:moveTo>
                  <a:lnTo>
                    <a:pt x="-519" y="1944910"/>
                  </a:lnTo>
                  <a:cubicBezTo>
                    <a:pt x="747748" y="1851218"/>
                    <a:pt x="1278402" y="1168689"/>
                    <a:pt x="1184732" y="420400"/>
                  </a:cubicBezTo>
                  <a:cubicBezTo>
                    <a:pt x="1169202" y="296342"/>
                    <a:pt x="1136704" y="175019"/>
                    <a:pt x="1088142" y="59792"/>
                  </a:cubicBezTo>
                  <a:lnTo>
                    <a:pt x="1231115" y="-684"/>
                  </a:lnTo>
                  <a:cubicBezTo>
                    <a:pt x="1557950" y="772200"/>
                    <a:pt x="1196345" y="1663694"/>
                    <a:pt x="423439" y="1990528"/>
                  </a:cubicBezTo>
                  <a:cubicBezTo>
                    <a:pt x="294073" y="2045233"/>
                    <a:pt x="157752" y="2081741"/>
                    <a:pt x="18350" y="2098987"/>
                  </a:cubicBezTo>
                  <a:close/>
                </a:path>
              </a:pathLst>
            </a:custGeom>
            <a:solidFill>
              <a:srgbClr val="1E1464"/>
            </a:solidFill>
            <a:ln w="23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Book"/>
                <a:ea typeface="ヒラギノ角ゴ Pro W3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64EC1C3-BA0D-43E7-8870-198422D8307B}"/>
                </a:ext>
              </a:extLst>
            </p:cNvPr>
            <p:cNvSpPr/>
            <p:nvPr/>
          </p:nvSpPr>
          <p:spPr>
            <a:xfrm>
              <a:off x="9518396" y="1970838"/>
              <a:ext cx="1010405" cy="863678"/>
            </a:xfrm>
            <a:custGeom>
              <a:avLst/>
              <a:gdLst>
                <a:gd name="connsiteX0" fmla="*/ 979382 w 1010405"/>
                <a:gd name="connsiteY0" fmla="*/ 862995 h 863678"/>
                <a:gd name="connsiteX1" fmla="*/ -519 w 1010405"/>
                <a:gd name="connsiteY1" fmla="*/ 31536 h 863678"/>
                <a:gd name="connsiteX2" fmla="*/ 7199 w 1010405"/>
                <a:gd name="connsiteY2" fmla="*/ -684 h 863678"/>
                <a:gd name="connsiteX3" fmla="*/ 1009886 w 1010405"/>
                <a:gd name="connsiteY3" fmla="*/ 850014 h 863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0405" h="863678">
                  <a:moveTo>
                    <a:pt x="979382" y="862995"/>
                  </a:moveTo>
                  <a:cubicBezTo>
                    <a:pt x="803216" y="446030"/>
                    <a:pt x="439572" y="137463"/>
                    <a:pt x="-519" y="31536"/>
                  </a:cubicBezTo>
                  <a:lnTo>
                    <a:pt x="7199" y="-684"/>
                  </a:lnTo>
                  <a:cubicBezTo>
                    <a:pt x="457258" y="108166"/>
                    <a:pt x="829177" y="423710"/>
                    <a:pt x="1009886" y="850014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23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Book"/>
                <a:ea typeface="ヒラギノ角ゴ Pro W3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A977D78E-BBE9-4E82-98D6-979BC603B119}"/>
                </a:ext>
              </a:extLst>
            </p:cNvPr>
            <p:cNvSpPr/>
            <p:nvPr/>
          </p:nvSpPr>
          <p:spPr>
            <a:xfrm>
              <a:off x="7935956" y="2143134"/>
              <a:ext cx="2501819" cy="2501840"/>
            </a:xfrm>
            <a:custGeom>
              <a:avLst/>
              <a:gdLst>
                <a:gd name="connsiteX0" fmla="*/ 1248409 w 2501819"/>
                <a:gd name="connsiteY0" fmla="*/ 2501155 h 2501840"/>
                <a:gd name="connsiteX1" fmla="*/ -517 w 2501819"/>
                <a:gd name="connsiteY1" fmla="*/ 1248265 h 2501840"/>
                <a:gd name="connsiteX2" fmla="*/ 1252372 w 2501819"/>
                <a:gd name="connsiteY2" fmla="*/ -682 h 2501840"/>
                <a:gd name="connsiteX3" fmla="*/ 2501299 w 2501819"/>
                <a:gd name="connsiteY3" fmla="*/ 1252229 h 2501840"/>
                <a:gd name="connsiteX4" fmla="*/ 1737085 w 2501819"/>
                <a:gd name="connsiteY4" fmla="*/ 2402594 h 2501840"/>
                <a:gd name="connsiteX5" fmla="*/ 1248409 w 2501819"/>
                <a:gd name="connsiteY5" fmla="*/ 2501155 h 2501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01819" h="2501840">
                  <a:moveTo>
                    <a:pt x="1248409" y="2501155"/>
                  </a:moveTo>
                  <a:cubicBezTo>
                    <a:pt x="557536" y="2500065"/>
                    <a:pt x="-1630" y="1939115"/>
                    <a:pt x="-517" y="1248265"/>
                  </a:cubicBezTo>
                  <a:cubicBezTo>
                    <a:pt x="572" y="557392"/>
                    <a:pt x="561499" y="-1776"/>
                    <a:pt x="1252372" y="-682"/>
                  </a:cubicBezTo>
                  <a:cubicBezTo>
                    <a:pt x="1943222" y="412"/>
                    <a:pt x="2502412" y="561356"/>
                    <a:pt x="2501299" y="1252229"/>
                  </a:cubicBezTo>
                  <a:cubicBezTo>
                    <a:pt x="2500510" y="1754303"/>
                    <a:pt x="2199613" y="2207258"/>
                    <a:pt x="1737085" y="2402594"/>
                  </a:cubicBezTo>
                  <a:cubicBezTo>
                    <a:pt x="1582476" y="2467985"/>
                    <a:pt x="1416276" y="2501502"/>
                    <a:pt x="1248409" y="2501155"/>
                  </a:cubicBezTo>
                  <a:close/>
                </a:path>
              </a:pathLst>
            </a:custGeom>
            <a:solidFill>
              <a:srgbClr val="1E1464"/>
            </a:solidFill>
            <a:ln w="2318" cap="flat">
              <a:solidFill>
                <a:srgbClr val="FFFFFF">
                  <a:lumMod val="95000"/>
                </a:srgbClr>
              </a:solidFill>
              <a:prstDash val="solid"/>
              <a:miter/>
            </a:ln>
            <a:effectLst/>
          </p:spPr>
          <p:txBody>
            <a:bodyPr rtlCol="0" anchor="ctr"/>
            <a:lstStyle/>
            <a:p>
              <a:pPr marL="0" marR="0" lvl="0" indent="0" algn="ctr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LB Sans Book"/>
                  <a:ea typeface="ヒラギノ角ゴ Pro W3"/>
                  <a:cs typeface="Arial" panose="020B0604020202020204" pitchFamily="34" charset="0"/>
                </a:rPr>
                <a:t>New Energy</a:t>
              </a:r>
            </a:p>
            <a:p>
              <a:pPr marL="0" marR="0" lvl="0" indent="0" algn="ctr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LB Sans Book"/>
                  <a:ea typeface="ヒラギノ角ゴ Pro W3"/>
                  <a:cs typeface="Arial" panose="020B0604020202020204" pitchFamily="34" charset="0"/>
                </a:rPr>
                <a:t>Technology solutions</a:t>
              </a:r>
              <a:b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LB Sans Book"/>
                  <a:ea typeface="ヒラギノ角ゴ Pro W3"/>
                  <a:cs typeface="Arial" panose="020B0604020202020204" pitchFamily="34" charset="0"/>
                </a:rPr>
              </a:b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LB Sans Book"/>
                  <a:ea typeface="ヒラギノ角ゴ Pro W3"/>
                  <a:cs typeface="Arial" panose="020B0604020202020204" pitchFamily="34" charset="0"/>
                </a:rPr>
                <a:t>innovator for the</a:t>
              </a:r>
              <a:b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LB Sans Book"/>
                  <a:ea typeface="ヒラギノ角ゴ Pro W3"/>
                  <a:cs typeface="Arial" panose="020B0604020202020204" pitchFamily="34" charset="0"/>
                </a:rPr>
              </a:b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LB Sans Book"/>
                  <a:ea typeface="ヒラギノ角ゴ Pro W3"/>
                  <a:cs typeface="Arial" panose="020B0604020202020204" pitchFamily="34" charset="0"/>
                </a:rPr>
                <a:t>energy transition</a:t>
              </a:r>
            </a:p>
          </p:txBody>
        </p:sp>
      </p:grpSp>
      <p:sp>
        <p:nvSpPr>
          <p:cNvPr id="53" name="Rectangle 52">
            <a:extLst>
              <a:ext uri="{FF2B5EF4-FFF2-40B4-BE49-F238E27FC236}">
                <a16:creationId xmlns:a16="http://schemas.microsoft.com/office/drawing/2014/main" id="{9140614F-CBB2-4A93-88A8-4046E4482C09}"/>
              </a:ext>
            </a:extLst>
          </p:cNvPr>
          <p:cNvSpPr/>
          <p:nvPr/>
        </p:nvSpPr>
        <p:spPr>
          <a:xfrm>
            <a:off x="0" y="0"/>
            <a:ext cx="12192000" cy="15590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E061DA6D-8D2F-474A-95DF-86482D518436}"/>
              </a:ext>
            </a:extLst>
          </p:cNvPr>
          <p:cNvSpPr txBox="1">
            <a:spLocks/>
          </p:cNvSpPr>
          <p:nvPr/>
        </p:nvSpPr>
        <p:spPr>
          <a:xfrm>
            <a:off x="822464" y="480847"/>
            <a:ext cx="9800768" cy="85420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Light"/>
                <a:ea typeface="+mj-ea"/>
                <a:cs typeface="+mj-cs"/>
              </a:rPr>
              <a:t>Engines of growth</a:t>
            </a:r>
          </a:p>
        </p:txBody>
      </p:sp>
    </p:spTree>
    <p:extLst>
      <p:ext uri="{BB962C8B-B14F-4D97-AF65-F5344CB8AC3E}">
        <p14:creationId xmlns:p14="http://schemas.microsoft.com/office/powerpoint/2010/main" val="13421361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853ACA6-9F56-4AC4-A1E0-CB608BD84B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5" progId="TCLayout.ActiveDocument.1">
                  <p:embed/>
                </p:oleObj>
              </mc:Choice>
              <mc:Fallback>
                <p:oleObj name="think-cell Slide" r:id="rId4" imgW="416" imgH="41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853ACA6-9F56-4AC4-A1E0-CB608BD84B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7CB00584-1B19-4468-ABF8-816089D42853}"/>
              </a:ext>
            </a:extLst>
          </p:cNvPr>
          <p:cNvSpPr/>
          <p:nvPr/>
        </p:nvSpPr>
        <p:spPr>
          <a:xfrm>
            <a:off x="4109677" y="0"/>
            <a:ext cx="41148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14DB"/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6FB978-4A62-4889-A0AD-0549B8D425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2363"/>
            <a:ext cx="3278460" cy="3696087"/>
          </a:xfrm>
        </p:spPr>
        <p:txBody>
          <a:bodyPr vert="horz"/>
          <a:lstStyle/>
          <a:p>
            <a:r>
              <a:rPr lang="en-US" sz="3200" b="1" dirty="0"/>
              <a:t>SLB’s </a:t>
            </a:r>
            <a:br>
              <a:rPr lang="en-US" sz="3200" b="1" dirty="0"/>
            </a:br>
            <a:r>
              <a:rPr lang="en-US" sz="3200" b="1" dirty="0"/>
              <a:t>New Energy Business</a:t>
            </a:r>
            <a:br>
              <a:rPr lang="en-US" sz="3200" dirty="0"/>
            </a:br>
            <a:br>
              <a:rPr lang="en-US" sz="3200" dirty="0"/>
            </a:br>
            <a:r>
              <a:rPr lang="en-US" sz="3200" dirty="0"/>
              <a:t>Accelerating decarbonization through innovation and science—on a global scale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0FD1BAC2-75F1-48B1-B787-87D871F33CD5}"/>
              </a:ext>
            </a:extLst>
          </p:cNvPr>
          <p:cNvGrpSpPr/>
          <p:nvPr/>
        </p:nvGrpSpPr>
        <p:grpSpPr>
          <a:xfrm>
            <a:off x="4093368" y="0"/>
            <a:ext cx="8098632" cy="6858001"/>
            <a:chOff x="4093368" y="0"/>
            <a:chExt cx="8098632" cy="6848473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71CE3638-8CFC-4486-9C39-1F988B0DB5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3540"/>
            <a:stretch/>
          </p:blipFill>
          <p:spPr>
            <a:xfrm>
              <a:off x="6786137" y="1"/>
              <a:ext cx="2700948" cy="3060604"/>
            </a:xfrm>
            <a:prstGeom prst="rect">
              <a:avLst/>
            </a:prstGeom>
          </p:spPr>
        </p:pic>
        <p:pic>
          <p:nvPicPr>
            <p:cNvPr id="31" name="Picture 30" descr="A person wearing a hard hat and gloves working in a factory&#10;&#10;Description automatically generated with low confidence">
              <a:extLst>
                <a:ext uri="{FF2B5EF4-FFF2-40B4-BE49-F238E27FC236}">
                  <a16:creationId xmlns:a16="http://schemas.microsoft.com/office/drawing/2014/main" id="{4B40B4F9-D0AA-40FD-B67A-826ED6BDDA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093368" y="3054267"/>
              <a:ext cx="2695002" cy="3060602"/>
            </a:xfrm>
            <a:prstGeom prst="rect">
              <a:avLst/>
            </a:prstGeom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BD1F8A9-6DEF-415B-896E-10F9911323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"/>
            <a:stretch/>
          </p:blipFill>
          <p:spPr>
            <a:xfrm>
              <a:off x="9489564" y="3054268"/>
              <a:ext cx="2697481" cy="3060603"/>
            </a:xfrm>
            <a:prstGeom prst="rect">
              <a:avLst/>
            </a:prstGeom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C156BEA5-DC1F-4A6C-8473-7002B20B81E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86138" y="3054264"/>
              <a:ext cx="2701442" cy="3060604"/>
            </a:xfrm>
            <a:prstGeom prst="rect">
              <a:avLst/>
            </a:prstGeom>
          </p:spPr>
        </p:pic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456BDB02-410B-419C-BA39-749404A4D3A1}"/>
                </a:ext>
              </a:extLst>
            </p:cNvPr>
            <p:cNvSpPr/>
            <p:nvPr/>
          </p:nvSpPr>
          <p:spPr>
            <a:xfrm>
              <a:off x="6786137" y="2028648"/>
              <a:ext cx="2702436" cy="103195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182880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EFFFF"/>
                  </a:solidFill>
                  <a:effectLst/>
                  <a:uLnTx/>
                  <a:uFillTx/>
                  <a:latin typeface="SLB Sans Book"/>
                  <a:ea typeface="+mn-ea"/>
                  <a:cs typeface="+mn-cs"/>
                </a:rPr>
                <a:t>Carbon</a:t>
              </a:r>
              <a:b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EFFFF"/>
                  </a:solidFill>
                  <a:effectLst/>
                  <a:uLnTx/>
                  <a:uFillTx/>
                  <a:latin typeface="SLB Sans Book"/>
                  <a:ea typeface="+mn-ea"/>
                  <a:cs typeface="+mn-cs"/>
                </a:rPr>
              </a:b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EFFFF"/>
                  </a:solidFill>
                  <a:effectLst/>
                  <a:uLnTx/>
                  <a:uFillTx/>
                  <a:latin typeface="SLB Sans Book"/>
                  <a:ea typeface="+mn-ea"/>
                  <a:cs typeface="+mn-cs"/>
                </a:rPr>
                <a:t>Solutions</a:t>
              </a:r>
            </a:p>
          </p:txBody>
        </p:sp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032867A8-8C6A-4028-8B26-393807C990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489564" y="0"/>
              <a:ext cx="2699465" cy="3060605"/>
            </a:xfrm>
            <a:prstGeom prst="rect">
              <a:avLst/>
            </a:prstGeom>
          </p:spPr>
        </p:pic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E44EC245-58C3-49C3-93DF-10BB8E3B4C67}"/>
                </a:ext>
              </a:extLst>
            </p:cNvPr>
            <p:cNvSpPr/>
            <p:nvPr/>
          </p:nvSpPr>
          <p:spPr>
            <a:xfrm>
              <a:off x="9489564" y="2028648"/>
              <a:ext cx="2699463" cy="103195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182880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EFFFF"/>
                  </a:solidFill>
                  <a:effectLst/>
                  <a:uLnTx/>
                  <a:uFillTx/>
                  <a:latin typeface="SLB Sans Book"/>
                  <a:ea typeface="+mn-ea"/>
                  <a:cs typeface="+mn-cs"/>
                </a:rPr>
                <a:t>Geothermal</a:t>
              </a:r>
              <a:b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EFFFF"/>
                  </a:solidFill>
                  <a:effectLst/>
                  <a:uLnTx/>
                  <a:uFillTx/>
                  <a:latin typeface="SLB Sans Book"/>
                  <a:ea typeface="+mn-ea"/>
                  <a:cs typeface="+mn-cs"/>
                </a:rPr>
              </a:b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EFFFF"/>
                  </a:solidFill>
                  <a:effectLst/>
                  <a:uLnTx/>
                  <a:uFillTx/>
                  <a:latin typeface="SLB Sans Book"/>
                  <a:ea typeface="+mn-ea"/>
                  <a:cs typeface="+mn-cs"/>
                </a:rPr>
                <a:t>and </a:t>
              </a:r>
              <a:r>
                <a:rPr kumimoji="0" lang="en-US" sz="1800" b="0" i="0" u="none" strike="noStrike" kern="1200" cap="none" spc="0" normalizeH="0" baseline="0" noProof="0" err="1">
                  <a:ln>
                    <a:noFill/>
                  </a:ln>
                  <a:solidFill>
                    <a:srgbClr val="FEFFFF"/>
                  </a:solidFill>
                  <a:effectLst/>
                  <a:uLnTx/>
                  <a:uFillTx/>
                  <a:latin typeface="SLB Sans Book"/>
                  <a:ea typeface="+mn-ea"/>
                  <a:cs typeface="+mn-cs"/>
                </a:rPr>
                <a:t>Geoenergy</a:t>
              </a: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SLB Sans Book"/>
                <a:ea typeface="+mn-ea"/>
                <a:cs typeface="+mn-cs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6F790BFB-E691-481A-9AA7-F03F2CBD89E7}"/>
                </a:ext>
              </a:extLst>
            </p:cNvPr>
            <p:cNvSpPr/>
            <p:nvPr/>
          </p:nvSpPr>
          <p:spPr>
            <a:xfrm>
              <a:off x="4093368" y="5816516"/>
              <a:ext cx="2698470" cy="103195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182880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EFFFF"/>
                  </a:solidFill>
                  <a:effectLst/>
                  <a:uLnTx/>
                  <a:uFillTx/>
                  <a:latin typeface="SLB Sans Book"/>
                  <a:ea typeface="+mn-ea"/>
                  <a:cs typeface="+mn-cs"/>
                </a:rPr>
                <a:t>Critical</a:t>
              </a:r>
              <a:b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EFFFF"/>
                  </a:solidFill>
                  <a:effectLst/>
                  <a:uLnTx/>
                  <a:uFillTx/>
                  <a:latin typeface="SLB Sans Book"/>
                  <a:ea typeface="+mn-ea"/>
                  <a:cs typeface="+mn-cs"/>
                </a:rPr>
              </a:b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EFFFF"/>
                  </a:solidFill>
                  <a:effectLst/>
                  <a:uLnTx/>
                  <a:uFillTx/>
                  <a:latin typeface="SLB Sans Book"/>
                  <a:ea typeface="+mn-ea"/>
                  <a:cs typeface="+mn-cs"/>
                </a:rPr>
                <a:t>Minerals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21E4D3D9-1CA7-4F23-8BCC-54FCA3383756}"/>
                </a:ext>
              </a:extLst>
            </p:cNvPr>
            <p:cNvSpPr/>
            <p:nvPr/>
          </p:nvSpPr>
          <p:spPr>
            <a:xfrm>
              <a:off x="6792193" y="5816516"/>
              <a:ext cx="2697481" cy="1031957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182880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EFFFF"/>
                  </a:solidFill>
                  <a:effectLst/>
                  <a:uLnTx/>
                  <a:uFillTx/>
                  <a:latin typeface="SLB Sans Book"/>
                  <a:ea typeface="+mn-ea"/>
                  <a:cs typeface="+mn-cs"/>
                </a:rPr>
                <a:t>Stationary </a:t>
              </a:r>
              <a:b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EFFFF"/>
                  </a:solidFill>
                  <a:effectLst/>
                  <a:uLnTx/>
                  <a:uFillTx/>
                  <a:latin typeface="SLB Sans Book"/>
                  <a:ea typeface="+mn-ea"/>
                  <a:cs typeface="+mn-cs"/>
                </a:rPr>
              </a:b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EFFFF"/>
                  </a:solidFill>
                  <a:effectLst/>
                  <a:uLnTx/>
                  <a:uFillTx/>
                  <a:latin typeface="SLB Sans Book"/>
                  <a:ea typeface="+mn-ea"/>
                  <a:cs typeface="+mn-cs"/>
                </a:rPr>
                <a:t>Energy Storage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779FA49-BA9C-4A66-B0ED-6B9D91140393}"/>
                </a:ext>
              </a:extLst>
            </p:cNvPr>
            <p:cNvSpPr/>
            <p:nvPr/>
          </p:nvSpPr>
          <p:spPr>
            <a:xfrm>
              <a:off x="9489564" y="5816516"/>
              <a:ext cx="2702436" cy="1031957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182880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32323C"/>
                  </a:solidFill>
                  <a:effectLst/>
                  <a:uLnTx/>
                  <a:uFillTx/>
                  <a:latin typeface="SLB Sans Book"/>
                  <a:ea typeface="+mn-ea"/>
                  <a:cs typeface="+mn-cs"/>
                </a:rPr>
                <a:t>Hydrogen</a:t>
              </a:r>
            </a:p>
          </p:txBody>
        </p:sp>
        <p:pic>
          <p:nvPicPr>
            <p:cNvPr id="55" name="Graphic 54">
              <a:extLst>
                <a:ext uri="{FF2B5EF4-FFF2-40B4-BE49-F238E27FC236}">
                  <a16:creationId xmlns:a16="http://schemas.microsoft.com/office/drawing/2014/main" id="{2C1F70A5-3A7D-4AC5-81F2-42D41A27B4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 b="13723"/>
            <a:stretch/>
          </p:blipFill>
          <p:spPr>
            <a:xfrm>
              <a:off x="4102848" y="1833477"/>
              <a:ext cx="2226833" cy="1227123"/>
            </a:xfrm>
            <a:prstGeom prst="rect">
              <a:avLst/>
            </a:prstGeom>
          </p:spPr>
        </p:pic>
      </p:grpSp>
      <p:pic>
        <p:nvPicPr>
          <p:cNvPr id="18" name="Graphic 17">
            <a:extLst>
              <a:ext uri="{FF2B5EF4-FFF2-40B4-BE49-F238E27FC236}">
                <a16:creationId xmlns:a16="http://schemas.microsoft.com/office/drawing/2014/main" id="{E5866D5A-D19D-4F2A-B1E3-77ED62845CE2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97112" y="5683251"/>
            <a:ext cx="1240572" cy="872814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E90E3A23-713A-B3A9-D967-7A256091E29E}"/>
              </a:ext>
            </a:extLst>
          </p:cNvPr>
          <p:cNvSpPr txBox="1">
            <a:spLocks/>
          </p:cNvSpPr>
          <p:nvPr/>
        </p:nvSpPr>
        <p:spPr>
          <a:xfrm>
            <a:off x="4345259" y="475844"/>
            <a:ext cx="2435924" cy="36960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Light"/>
                <a:ea typeface="+mj-ea"/>
                <a:cs typeface="+mj-cs"/>
              </a:rPr>
              <a:t>Focus Areas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LB Sans Light"/>
              <a:ea typeface="+mj-ea"/>
              <a:cs typeface="+mj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7BDF52F-C6E8-8446-B2CF-16ABC46596EF}"/>
              </a:ext>
            </a:extLst>
          </p:cNvPr>
          <p:cNvSpPr/>
          <p:nvPr/>
        </p:nvSpPr>
        <p:spPr>
          <a:xfrm>
            <a:off x="9487085" y="-2"/>
            <a:ext cx="2704915" cy="3058512"/>
          </a:xfrm>
          <a:prstGeom prst="rect">
            <a:avLst/>
          </a:prstGeom>
          <a:noFill/>
          <a:ln w="349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14DB"/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67337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D5A2C48-8645-F894-832D-51F5636FA6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262" imgH="262" progId="TCLayout.ActiveDocument.1">
                  <p:embed/>
                </p:oleObj>
              </mc:Choice>
              <mc:Fallback>
                <p:oleObj name="think-cell Slide" r:id="rId52" imgW="262" imgH="262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D5A2C48-8645-F894-832D-51F5636FA6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ight Arrow 1"/>
          <p:cNvSpPr/>
          <p:nvPr/>
        </p:nvSpPr>
        <p:spPr>
          <a:xfrm>
            <a:off x="461050" y="1648222"/>
            <a:ext cx="11397916" cy="1491518"/>
          </a:xfrm>
          <a:prstGeom prst="rightArrow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</p:txBody>
      </p:sp>
      <p:sp>
        <p:nvSpPr>
          <p:cNvPr id="5" name="Oval 4"/>
          <p:cNvSpPr>
            <a:spLocks noChangeAspect="1"/>
          </p:cNvSpPr>
          <p:nvPr/>
        </p:nvSpPr>
        <p:spPr>
          <a:xfrm>
            <a:off x="762322" y="1840769"/>
            <a:ext cx="1106424" cy="1106424"/>
          </a:xfrm>
          <a:prstGeom prst="ellipse">
            <a:avLst/>
          </a:prstGeom>
          <a:solidFill>
            <a:schemeClr val="lt1"/>
          </a:solidFill>
          <a:ln w="76200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</p:txBody>
      </p:sp>
      <p:sp>
        <p:nvSpPr>
          <p:cNvPr id="188" name="Oval 187">
            <a:extLst>
              <a:ext uri="{FF2B5EF4-FFF2-40B4-BE49-F238E27FC236}">
                <a16:creationId xmlns:a16="http://schemas.microsoft.com/office/drawing/2014/main" id="{08DA959F-782A-DEAA-90DA-71182028B7E7}"/>
              </a:ext>
            </a:extLst>
          </p:cNvPr>
          <p:cNvSpPr>
            <a:spLocks noChangeAspect="1"/>
          </p:cNvSpPr>
          <p:nvPr/>
        </p:nvSpPr>
        <p:spPr>
          <a:xfrm>
            <a:off x="857304" y="1940186"/>
            <a:ext cx="914400" cy="914400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</p:txBody>
      </p:sp>
      <p:grpSp>
        <p:nvGrpSpPr>
          <p:cNvPr id="22" name="Group 21"/>
          <p:cNvGrpSpPr>
            <a:grpSpLocks noChangeAspect="1"/>
          </p:cNvGrpSpPr>
          <p:nvPr/>
        </p:nvGrpSpPr>
        <p:grpSpPr>
          <a:xfrm>
            <a:off x="2562803" y="1840769"/>
            <a:ext cx="1106424" cy="1106424"/>
            <a:chOff x="1115911" y="2879929"/>
            <a:chExt cx="1338773" cy="1338773"/>
          </a:xfrm>
        </p:grpSpPr>
        <p:sp>
          <p:nvSpPr>
            <p:cNvPr id="23" name="Oval 22"/>
            <p:cNvSpPr>
              <a:spLocks noChangeAspect="1"/>
            </p:cNvSpPr>
            <p:nvPr/>
          </p:nvSpPr>
          <p:spPr>
            <a:xfrm>
              <a:off x="1115911" y="2879929"/>
              <a:ext cx="1338773" cy="1338773"/>
            </a:xfrm>
            <a:prstGeom prst="ellipse">
              <a:avLst/>
            </a:prstGeom>
            <a:solidFill>
              <a:schemeClr val="lt1"/>
            </a:solidFill>
            <a:ln w="76200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/>
                <a:ea typeface="+mn-ea"/>
                <a:cs typeface="+mn-cs"/>
              </a:endParaRPr>
            </a:p>
          </p:txBody>
        </p:sp>
        <p:sp>
          <p:nvSpPr>
            <p:cNvPr id="24" name="Oval 23"/>
            <p:cNvSpPr>
              <a:spLocks noChangeAspect="1"/>
            </p:cNvSpPr>
            <p:nvPr/>
          </p:nvSpPr>
          <p:spPr>
            <a:xfrm>
              <a:off x="1233426" y="2996104"/>
              <a:ext cx="1106424" cy="1106424"/>
            </a:xfrm>
            <a:prstGeom prst="ellipse">
              <a:avLst/>
            </a:prstGeom>
            <a:solidFill>
              <a:schemeClr val="accent2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/>
                <a:ea typeface="+mn-ea"/>
                <a:cs typeface="+mn-cs"/>
              </a:endParaRPr>
            </a:p>
          </p:txBody>
        </p:sp>
      </p:grpSp>
      <p:grpSp>
        <p:nvGrpSpPr>
          <p:cNvPr id="25" name="Group 24"/>
          <p:cNvGrpSpPr>
            <a:grpSpLocks noChangeAspect="1"/>
          </p:cNvGrpSpPr>
          <p:nvPr/>
        </p:nvGrpSpPr>
        <p:grpSpPr>
          <a:xfrm>
            <a:off x="4363284" y="1840769"/>
            <a:ext cx="1106424" cy="1106424"/>
            <a:chOff x="1115911" y="2879929"/>
            <a:chExt cx="1338773" cy="1338773"/>
          </a:xfrm>
        </p:grpSpPr>
        <p:sp>
          <p:nvSpPr>
            <p:cNvPr id="26" name="Oval 25"/>
            <p:cNvSpPr>
              <a:spLocks noChangeAspect="1"/>
            </p:cNvSpPr>
            <p:nvPr/>
          </p:nvSpPr>
          <p:spPr>
            <a:xfrm>
              <a:off x="1115911" y="2879929"/>
              <a:ext cx="1338773" cy="1338773"/>
            </a:xfrm>
            <a:prstGeom prst="ellipse">
              <a:avLst/>
            </a:prstGeom>
            <a:solidFill>
              <a:schemeClr val="lt1"/>
            </a:solidFill>
            <a:ln w="76200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/>
                <a:ea typeface="+mn-ea"/>
                <a:cs typeface="+mn-cs"/>
              </a:endParaRPr>
            </a:p>
          </p:txBody>
        </p:sp>
        <p:sp>
          <p:nvSpPr>
            <p:cNvPr id="27" name="Oval 26"/>
            <p:cNvSpPr>
              <a:spLocks noChangeAspect="1"/>
            </p:cNvSpPr>
            <p:nvPr/>
          </p:nvSpPr>
          <p:spPr>
            <a:xfrm>
              <a:off x="1232085" y="2996103"/>
              <a:ext cx="1106424" cy="1106424"/>
            </a:xfrm>
            <a:prstGeom prst="ellipse">
              <a:avLst/>
            </a:prstGeom>
            <a:solidFill>
              <a:schemeClr val="accent3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/>
                <a:ea typeface="+mn-ea"/>
                <a:cs typeface="+mn-cs"/>
              </a:endParaRPr>
            </a:p>
          </p:txBody>
        </p:sp>
      </p:grpSp>
      <p:grpSp>
        <p:nvGrpSpPr>
          <p:cNvPr id="28" name="Group 27"/>
          <p:cNvGrpSpPr>
            <a:grpSpLocks noChangeAspect="1"/>
          </p:cNvGrpSpPr>
          <p:nvPr/>
        </p:nvGrpSpPr>
        <p:grpSpPr>
          <a:xfrm>
            <a:off x="6163765" y="1840769"/>
            <a:ext cx="1106424" cy="1106424"/>
            <a:chOff x="1115911" y="2879929"/>
            <a:chExt cx="1338773" cy="1338773"/>
          </a:xfrm>
        </p:grpSpPr>
        <p:sp>
          <p:nvSpPr>
            <p:cNvPr id="29" name="Oval 28"/>
            <p:cNvSpPr>
              <a:spLocks noChangeAspect="1"/>
            </p:cNvSpPr>
            <p:nvPr/>
          </p:nvSpPr>
          <p:spPr>
            <a:xfrm>
              <a:off x="1115911" y="2879929"/>
              <a:ext cx="1338773" cy="1338773"/>
            </a:xfrm>
            <a:prstGeom prst="ellipse">
              <a:avLst/>
            </a:prstGeom>
            <a:solidFill>
              <a:schemeClr val="lt1"/>
            </a:solidFill>
            <a:ln w="76200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/>
                <a:ea typeface="+mn-ea"/>
                <a:cs typeface="+mn-cs"/>
              </a:endParaRPr>
            </a:p>
          </p:txBody>
        </p:sp>
        <p:sp>
          <p:nvSpPr>
            <p:cNvPr id="30" name="Oval 29"/>
            <p:cNvSpPr>
              <a:spLocks noChangeAspect="1"/>
            </p:cNvSpPr>
            <p:nvPr/>
          </p:nvSpPr>
          <p:spPr>
            <a:xfrm>
              <a:off x="1232085" y="2996103"/>
              <a:ext cx="1106424" cy="1106424"/>
            </a:xfrm>
            <a:prstGeom prst="ellipse">
              <a:avLst/>
            </a:prstGeom>
            <a:solidFill>
              <a:srgbClr val="5161FF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/>
                <a:ea typeface="+mn-ea"/>
                <a:cs typeface="+mn-cs"/>
              </a:endParaRPr>
            </a:p>
          </p:txBody>
        </p:sp>
      </p:grpSp>
      <p:grpSp>
        <p:nvGrpSpPr>
          <p:cNvPr id="31" name="Group 30"/>
          <p:cNvGrpSpPr>
            <a:grpSpLocks noChangeAspect="1"/>
          </p:cNvGrpSpPr>
          <p:nvPr/>
        </p:nvGrpSpPr>
        <p:grpSpPr>
          <a:xfrm>
            <a:off x="7964246" y="1840769"/>
            <a:ext cx="1106424" cy="1106424"/>
            <a:chOff x="1115911" y="2879929"/>
            <a:chExt cx="1338773" cy="1338773"/>
          </a:xfrm>
        </p:grpSpPr>
        <p:sp>
          <p:nvSpPr>
            <p:cNvPr id="32" name="Oval 31"/>
            <p:cNvSpPr>
              <a:spLocks noChangeAspect="1"/>
            </p:cNvSpPr>
            <p:nvPr/>
          </p:nvSpPr>
          <p:spPr>
            <a:xfrm>
              <a:off x="1115911" y="2879929"/>
              <a:ext cx="1338773" cy="1338773"/>
            </a:xfrm>
            <a:prstGeom prst="ellipse">
              <a:avLst/>
            </a:prstGeom>
            <a:solidFill>
              <a:schemeClr val="lt1"/>
            </a:solidFill>
            <a:ln w="76200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/>
                <a:ea typeface="+mn-ea"/>
                <a:cs typeface="+mn-cs"/>
              </a:endParaRPr>
            </a:p>
          </p:txBody>
        </p:sp>
        <p:sp>
          <p:nvSpPr>
            <p:cNvPr id="33" name="Oval 32"/>
            <p:cNvSpPr>
              <a:spLocks noChangeAspect="1"/>
            </p:cNvSpPr>
            <p:nvPr/>
          </p:nvSpPr>
          <p:spPr>
            <a:xfrm>
              <a:off x="1232085" y="2996103"/>
              <a:ext cx="1106424" cy="1106424"/>
            </a:xfrm>
            <a:prstGeom prst="ellipse">
              <a:avLst/>
            </a:prstGeom>
            <a:solidFill>
              <a:srgbClr val="5161FF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/>
                <a:ea typeface="+mn-ea"/>
                <a:cs typeface="+mn-cs"/>
              </a:endParaRPr>
            </a:p>
          </p:txBody>
        </p:sp>
      </p:grpSp>
      <p:grpSp>
        <p:nvGrpSpPr>
          <p:cNvPr id="34" name="Group 33"/>
          <p:cNvGrpSpPr>
            <a:grpSpLocks noChangeAspect="1"/>
          </p:cNvGrpSpPr>
          <p:nvPr/>
        </p:nvGrpSpPr>
        <p:grpSpPr>
          <a:xfrm>
            <a:off x="9764728" y="1840769"/>
            <a:ext cx="1106424" cy="1106424"/>
            <a:chOff x="1115911" y="2879929"/>
            <a:chExt cx="1338773" cy="1338773"/>
          </a:xfrm>
        </p:grpSpPr>
        <p:sp>
          <p:nvSpPr>
            <p:cNvPr id="35" name="Oval 34"/>
            <p:cNvSpPr>
              <a:spLocks noChangeAspect="1"/>
            </p:cNvSpPr>
            <p:nvPr/>
          </p:nvSpPr>
          <p:spPr>
            <a:xfrm>
              <a:off x="1115911" y="2879929"/>
              <a:ext cx="1338773" cy="1338773"/>
            </a:xfrm>
            <a:prstGeom prst="ellipse">
              <a:avLst/>
            </a:prstGeom>
            <a:solidFill>
              <a:schemeClr val="lt1"/>
            </a:solidFill>
            <a:ln w="76200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/>
                <a:ea typeface="+mn-ea"/>
                <a:cs typeface="+mn-cs"/>
              </a:endParaRPr>
            </a:p>
          </p:txBody>
        </p:sp>
        <p:sp>
          <p:nvSpPr>
            <p:cNvPr id="36" name="Oval 35"/>
            <p:cNvSpPr>
              <a:spLocks noChangeAspect="1"/>
            </p:cNvSpPr>
            <p:nvPr/>
          </p:nvSpPr>
          <p:spPr>
            <a:xfrm>
              <a:off x="1232085" y="2996103"/>
              <a:ext cx="1106424" cy="1106424"/>
            </a:xfrm>
            <a:prstGeom prst="ellipse">
              <a:avLst/>
            </a:prstGeom>
            <a:solidFill>
              <a:srgbClr val="007E84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/>
                <a:ea typeface="+mn-ea"/>
                <a:cs typeface="+mn-cs"/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471167" y="3061521"/>
            <a:ext cx="1832607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Geophysical, geological and geochemical field work and analysis.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Site evaluation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Preliminary environmental review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303774" y="3071644"/>
            <a:ext cx="180514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/>
            </a:lvl1pPr>
          </a:lstStyle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Focused exploration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Temperature gradient drilling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Slim holes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4081455" y="3081767"/>
            <a:ext cx="183260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114300" indent="-114300">
              <a:buFont typeface="Wingdings" panose="05000000000000000000" pitchFamily="2" charset="2"/>
              <a:buChar char="§"/>
              <a:defRPr sz="1050"/>
            </a:lvl1pPr>
          </a:lstStyle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First successful well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Confirmation and reserve estimation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Project feasibility study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5886599" y="3091890"/>
            <a:ext cx="1832607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114300" indent="-114300">
              <a:buFont typeface="Wingdings" panose="05000000000000000000" pitchFamily="2" charset="2"/>
              <a:buChar char="§"/>
              <a:defRPr sz="1050"/>
            </a:lvl1pPr>
          </a:lstStyle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Production and injection wells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Well logging and testing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7769250" y="3074180"/>
            <a:ext cx="1832607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114300" indent="-114300">
              <a:buFont typeface="Wingdings" panose="05000000000000000000" pitchFamily="2" charset="2"/>
              <a:buChar char="§"/>
              <a:defRPr sz="1050"/>
            </a:lvl1pPr>
          </a:lstStyle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Construction of power plant and steam gathering system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9676221" y="3082451"/>
            <a:ext cx="183260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114300" indent="-114300">
              <a:buFont typeface="Wingdings" panose="05000000000000000000" pitchFamily="2" charset="2"/>
              <a:buChar char="§"/>
              <a:defRPr sz="1050"/>
            </a:lvl1pPr>
          </a:lstStyle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Surveillance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Maintenance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Makeup wells drilling</a:t>
            </a:r>
          </a:p>
          <a:p>
            <a:pPr marL="114300" marR="0" lvl="0" indent="-1143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Expansion evaluation. 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99FD9181-FF97-2D94-3E78-128DB7A1DF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004" y="367493"/>
            <a:ext cx="10124513" cy="434021"/>
          </a:xfrm>
        </p:spPr>
        <p:txBody>
          <a:bodyPr vert="horz">
            <a:noAutofit/>
          </a:bodyPr>
          <a:lstStyle/>
          <a:p>
            <a:r>
              <a:rPr lang="en-US" sz="2800" b="1">
                <a:latin typeface="SLB Sans Medium" panose="02000503040000020004" pitchFamily="50" charset="0"/>
                <a:sym typeface="Arial Narrow" panose="020B0606020202030204" pitchFamily="34" charset="0"/>
              </a:rPr>
              <a:t>Geothermal Project Cycle, Cost &amp; Risk Profile</a:t>
            </a:r>
            <a:endParaRPr lang="en-US" sz="1500">
              <a:latin typeface="SLB Sans Medium" panose="02000503040000020004" pitchFamily="50" charset="0"/>
              <a:sym typeface="Arial Narrow" panose="020B060602020203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12342C2-3DC5-3242-D70F-CC4FC3CF18DD}"/>
              </a:ext>
            </a:extLst>
          </p:cNvPr>
          <p:cNvSpPr txBox="1"/>
          <p:nvPr/>
        </p:nvSpPr>
        <p:spPr>
          <a:xfrm>
            <a:off x="2153598" y="1249978"/>
            <a:ext cx="18326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D2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Pre-Feasibility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1120ACD-5D56-59FC-5DA2-B1BB32378FE9}"/>
              </a:ext>
            </a:extLst>
          </p:cNvPr>
          <p:cNvSpPr txBox="1"/>
          <p:nvPr/>
        </p:nvSpPr>
        <p:spPr>
          <a:xfrm>
            <a:off x="3958742" y="1260101"/>
            <a:ext cx="18326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1E1464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Feasibility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AE354F0-9807-14F6-DCBD-10BE259A5691}"/>
              </a:ext>
            </a:extLst>
          </p:cNvPr>
          <p:cNvSpPr txBox="1"/>
          <p:nvPr/>
        </p:nvSpPr>
        <p:spPr>
          <a:xfrm>
            <a:off x="5773369" y="1251027"/>
            <a:ext cx="1832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6E8CC8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Developme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6E8CC8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Drilling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3C25B63-06BB-53BC-5F53-401E43F82B17}"/>
              </a:ext>
            </a:extLst>
          </p:cNvPr>
          <p:cNvSpPr txBox="1"/>
          <p:nvPr/>
        </p:nvSpPr>
        <p:spPr>
          <a:xfrm>
            <a:off x="7569030" y="1280347"/>
            <a:ext cx="18326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AFBEE1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Power Plant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FAB8CDC-3C1E-69E9-67A9-BFBE81471C70}"/>
              </a:ext>
            </a:extLst>
          </p:cNvPr>
          <p:cNvSpPr txBox="1"/>
          <p:nvPr/>
        </p:nvSpPr>
        <p:spPr>
          <a:xfrm>
            <a:off x="9374174" y="1290470"/>
            <a:ext cx="18326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AAAAAA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Operations</a:t>
            </a:r>
          </a:p>
        </p:txBody>
      </p:sp>
      <p:grpSp>
        <p:nvGrpSpPr>
          <p:cNvPr id="169" name="Drilling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01D2B22-E10B-497E-A532-195C878A568C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573630" y="2109826"/>
            <a:ext cx="682552" cy="542609"/>
            <a:chOff x="7031045" y="3100393"/>
            <a:chExt cx="820738" cy="652463"/>
          </a:xfrm>
          <a:solidFill>
            <a:schemeClr val="bg1"/>
          </a:solidFill>
        </p:grpSpPr>
        <p:sp>
          <p:nvSpPr>
            <p:cNvPr id="170" name="Freeform 683">
              <a:extLst>
                <a:ext uri="{FF2B5EF4-FFF2-40B4-BE49-F238E27FC236}">
                  <a16:creationId xmlns:a16="http://schemas.microsoft.com/office/drawing/2014/main" id="{F9DEBC68-FB1D-C07D-7D8A-56EC084C383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0920" y="3455993"/>
              <a:ext cx="282575" cy="209550"/>
            </a:xfrm>
            <a:custGeom>
              <a:avLst/>
              <a:gdLst>
                <a:gd name="T0" fmla="*/ 198 w 397"/>
                <a:gd name="T1" fmla="*/ 293 h 293"/>
                <a:gd name="T2" fmla="*/ 397 w 397"/>
                <a:gd name="T3" fmla="*/ 0 h 293"/>
                <a:gd name="T4" fmla="*/ 98 w 397"/>
                <a:gd name="T5" fmla="*/ 0 h 293"/>
                <a:gd name="T6" fmla="*/ 209 w 397"/>
                <a:gd name="T7" fmla="*/ 240 h 293"/>
                <a:gd name="T8" fmla="*/ 211 w 397"/>
                <a:gd name="T9" fmla="*/ 250 h 293"/>
                <a:gd name="T10" fmla="*/ 204 w 397"/>
                <a:gd name="T11" fmla="*/ 254 h 293"/>
                <a:gd name="T12" fmla="*/ 201 w 397"/>
                <a:gd name="T13" fmla="*/ 254 h 293"/>
                <a:gd name="T14" fmla="*/ 51 w 397"/>
                <a:gd name="T15" fmla="*/ 0 h 293"/>
                <a:gd name="T16" fmla="*/ 0 w 397"/>
                <a:gd name="T17" fmla="*/ 0 h 293"/>
                <a:gd name="T18" fmla="*/ 198 w 397"/>
                <a:gd name="T19" fmla="*/ 293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7" h="293">
                  <a:moveTo>
                    <a:pt x="198" y="293"/>
                  </a:moveTo>
                  <a:cubicBezTo>
                    <a:pt x="297" y="293"/>
                    <a:pt x="379" y="117"/>
                    <a:pt x="397" y="0"/>
                  </a:cubicBezTo>
                  <a:lnTo>
                    <a:pt x="98" y="0"/>
                  </a:lnTo>
                  <a:cubicBezTo>
                    <a:pt x="107" y="79"/>
                    <a:pt x="153" y="190"/>
                    <a:pt x="209" y="240"/>
                  </a:cubicBezTo>
                  <a:cubicBezTo>
                    <a:pt x="212" y="242"/>
                    <a:pt x="213" y="247"/>
                    <a:pt x="211" y="250"/>
                  </a:cubicBezTo>
                  <a:cubicBezTo>
                    <a:pt x="209" y="253"/>
                    <a:pt x="207" y="254"/>
                    <a:pt x="204" y="254"/>
                  </a:cubicBezTo>
                  <a:cubicBezTo>
                    <a:pt x="203" y="254"/>
                    <a:pt x="202" y="254"/>
                    <a:pt x="201" y="254"/>
                  </a:cubicBezTo>
                  <a:cubicBezTo>
                    <a:pt x="120" y="232"/>
                    <a:pt x="61" y="88"/>
                    <a:pt x="51" y="0"/>
                  </a:cubicBezTo>
                  <a:lnTo>
                    <a:pt x="0" y="0"/>
                  </a:lnTo>
                  <a:cubicBezTo>
                    <a:pt x="17" y="117"/>
                    <a:pt x="99" y="293"/>
                    <a:pt x="198" y="29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Freeform 684">
              <a:extLst>
                <a:ext uri="{FF2B5EF4-FFF2-40B4-BE49-F238E27FC236}">
                  <a16:creationId xmlns:a16="http://schemas.microsoft.com/office/drawing/2014/main" id="{B6A83EBE-6EFD-0924-9EAB-C7090435FA2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2658" y="3311530"/>
              <a:ext cx="417513" cy="103188"/>
            </a:xfrm>
            <a:custGeom>
              <a:avLst/>
              <a:gdLst>
                <a:gd name="T0" fmla="*/ 588 w 588"/>
                <a:gd name="T1" fmla="*/ 96 h 146"/>
                <a:gd name="T2" fmla="*/ 588 w 588"/>
                <a:gd name="T3" fmla="*/ 0 h 146"/>
                <a:gd name="T4" fmla="*/ 0 w 588"/>
                <a:gd name="T5" fmla="*/ 0 h 146"/>
                <a:gd name="T6" fmla="*/ 0 w 588"/>
                <a:gd name="T7" fmla="*/ 96 h 146"/>
                <a:gd name="T8" fmla="*/ 51 w 588"/>
                <a:gd name="T9" fmla="*/ 146 h 146"/>
                <a:gd name="T10" fmla="*/ 538 w 588"/>
                <a:gd name="T11" fmla="*/ 146 h 146"/>
                <a:gd name="T12" fmla="*/ 588 w 588"/>
                <a:gd name="T13" fmla="*/ 9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8" h="146">
                  <a:moveTo>
                    <a:pt x="588" y="96"/>
                  </a:moveTo>
                  <a:lnTo>
                    <a:pt x="588" y="0"/>
                  </a:lnTo>
                  <a:lnTo>
                    <a:pt x="0" y="0"/>
                  </a:lnTo>
                  <a:lnTo>
                    <a:pt x="0" y="96"/>
                  </a:lnTo>
                  <a:cubicBezTo>
                    <a:pt x="0" y="123"/>
                    <a:pt x="23" y="146"/>
                    <a:pt x="51" y="146"/>
                  </a:cubicBezTo>
                  <a:lnTo>
                    <a:pt x="538" y="146"/>
                  </a:lnTo>
                  <a:cubicBezTo>
                    <a:pt x="566" y="146"/>
                    <a:pt x="588" y="123"/>
                    <a:pt x="588" y="9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FAED7A7F-3B8D-9379-72FE-B5D7185F82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32658" y="3100393"/>
              <a:ext cx="417513" cy="17462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163BC31B-9C66-7A05-466A-BE817B6B36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1045" y="3705231"/>
              <a:ext cx="820738" cy="4762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Freeform 687">
              <a:extLst>
                <a:ext uri="{FF2B5EF4-FFF2-40B4-BE49-F238E27FC236}">
                  <a16:creationId xmlns:a16="http://schemas.microsoft.com/office/drawing/2014/main" id="{9E08D381-C2D2-2602-8766-4B3C8E539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9470" y="3535368"/>
              <a:ext cx="230188" cy="130175"/>
            </a:xfrm>
            <a:custGeom>
              <a:avLst/>
              <a:gdLst>
                <a:gd name="T0" fmla="*/ 145 w 145"/>
                <a:gd name="T1" fmla="*/ 82 h 82"/>
                <a:gd name="T2" fmla="*/ 81 w 145"/>
                <a:gd name="T3" fmla="*/ 0 h 82"/>
                <a:gd name="T4" fmla="*/ 86 w 145"/>
                <a:gd name="T5" fmla="*/ 43 h 82"/>
                <a:gd name="T6" fmla="*/ 3 w 145"/>
                <a:gd name="T7" fmla="*/ 5 h 82"/>
                <a:gd name="T8" fmla="*/ 47 w 145"/>
                <a:gd name="T9" fmla="*/ 65 h 82"/>
                <a:gd name="T10" fmla="*/ 0 w 145"/>
                <a:gd name="T11" fmla="*/ 82 h 82"/>
                <a:gd name="T12" fmla="*/ 145 w 145"/>
                <a:gd name="T13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82">
                  <a:moveTo>
                    <a:pt x="145" y="82"/>
                  </a:moveTo>
                  <a:lnTo>
                    <a:pt x="81" y="0"/>
                  </a:lnTo>
                  <a:lnTo>
                    <a:pt x="86" y="43"/>
                  </a:lnTo>
                  <a:lnTo>
                    <a:pt x="3" y="5"/>
                  </a:lnTo>
                  <a:lnTo>
                    <a:pt x="47" y="65"/>
                  </a:lnTo>
                  <a:lnTo>
                    <a:pt x="0" y="82"/>
                  </a:lnTo>
                  <a:lnTo>
                    <a:pt x="145" y="8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Freeform 688">
              <a:extLst>
                <a:ext uri="{FF2B5EF4-FFF2-40B4-BE49-F238E27FC236}">
                  <a16:creationId xmlns:a16="http://schemas.microsoft.com/office/drawing/2014/main" id="{40DB101F-CA90-BFA0-609D-71B1582647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23170" y="3535368"/>
              <a:ext cx="230188" cy="130175"/>
            </a:xfrm>
            <a:custGeom>
              <a:avLst/>
              <a:gdLst>
                <a:gd name="T0" fmla="*/ 98 w 145"/>
                <a:gd name="T1" fmla="*/ 65 h 82"/>
                <a:gd name="T2" fmla="*/ 143 w 145"/>
                <a:gd name="T3" fmla="*/ 5 h 82"/>
                <a:gd name="T4" fmla="*/ 59 w 145"/>
                <a:gd name="T5" fmla="*/ 43 h 82"/>
                <a:gd name="T6" fmla="*/ 64 w 145"/>
                <a:gd name="T7" fmla="*/ 0 h 82"/>
                <a:gd name="T8" fmla="*/ 0 w 145"/>
                <a:gd name="T9" fmla="*/ 82 h 82"/>
                <a:gd name="T10" fmla="*/ 145 w 145"/>
                <a:gd name="T11" fmla="*/ 82 h 82"/>
                <a:gd name="T12" fmla="*/ 98 w 145"/>
                <a:gd name="T13" fmla="*/ 6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82">
                  <a:moveTo>
                    <a:pt x="98" y="65"/>
                  </a:moveTo>
                  <a:lnTo>
                    <a:pt x="143" y="5"/>
                  </a:lnTo>
                  <a:lnTo>
                    <a:pt x="59" y="43"/>
                  </a:lnTo>
                  <a:lnTo>
                    <a:pt x="64" y="0"/>
                  </a:lnTo>
                  <a:lnTo>
                    <a:pt x="0" y="82"/>
                  </a:lnTo>
                  <a:lnTo>
                    <a:pt x="145" y="82"/>
                  </a:lnTo>
                  <a:lnTo>
                    <a:pt x="98" y="6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Oval 175">
              <a:extLst>
                <a:ext uri="{FF2B5EF4-FFF2-40B4-BE49-F238E27FC236}">
                  <a16:creationId xmlns:a16="http://schemas.microsoft.com/office/drawing/2014/main" id="{796DD079-AB55-1E18-3859-5FFABC6757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62795" y="3535368"/>
              <a:ext cx="36513" cy="36513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Oval 176">
              <a:extLst>
                <a:ext uri="{FF2B5EF4-FFF2-40B4-BE49-F238E27FC236}">
                  <a16:creationId xmlns:a16="http://schemas.microsoft.com/office/drawing/2014/main" id="{F4F84AFD-5E00-4A13-DCA2-9B258EA739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61296" y="3476631"/>
              <a:ext cx="36513" cy="36513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Oval 177">
              <a:extLst>
                <a:ext uri="{FF2B5EF4-FFF2-40B4-BE49-F238E27FC236}">
                  <a16:creationId xmlns:a16="http://schemas.microsoft.com/office/drawing/2014/main" id="{66A994CF-B0E1-9437-B946-C2842892EE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81858" y="3495681"/>
              <a:ext cx="50800" cy="5080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9" name="Oval 178">
              <a:extLst>
                <a:ext uri="{FF2B5EF4-FFF2-40B4-BE49-F238E27FC236}">
                  <a16:creationId xmlns:a16="http://schemas.microsoft.com/office/drawing/2014/main" id="{254DAB8D-4C73-1038-2DBA-C0058BB1A2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32721" y="3594106"/>
              <a:ext cx="42863" cy="4445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80" name="Flar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2BBE1D-F9AA-B7B1-3B6D-640033262915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6487923" y="2031570"/>
            <a:ext cx="477875" cy="673786"/>
          </a:xfrm>
          <a:custGeom>
            <a:avLst/>
            <a:gdLst>
              <a:gd name="T0" fmla="*/ 295 w 543"/>
              <a:gd name="T1" fmla="*/ 467 h 767"/>
              <a:gd name="T2" fmla="*/ 347 w 543"/>
              <a:gd name="T3" fmla="*/ 467 h 767"/>
              <a:gd name="T4" fmla="*/ 325 w 543"/>
              <a:gd name="T5" fmla="*/ 388 h 767"/>
              <a:gd name="T6" fmla="*/ 295 w 543"/>
              <a:gd name="T7" fmla="*/ 388 h 767"/>
              <a:gd name="T8" fmla="*/ 295 w 543"/>
              <a:gd name="T9" fmla="*/ 467 h 767"/>
              <a:gd name="T10" fmla="*/ 196 w 543"/>
              <a:gd name="T11" fmla="*/ 467 h 767"/>
              <a:gd name="T12" fmla="*/ 248 w 543"/>
              <a:gd name="T13" fmla="*/ 467 h 767"/>
              <a:gd name="T14" fmla="*/ 248 w 543"/>
              <a:gd name="T15" fmla="*/ 388 h 767"/>
              <a:gd name="T16" fmla="*/ 218 w 543"/>
              <a:gd name="T17" fmla="*/ 388 h 767"/>
              <a:gd name="T18" fmla="*/ 196 w 543"/>
              <a:gd name="T19" fmla="*/ 467 h 767"/>
              <a:gd name="T20" fmla="*/ 248 w 543"/>
              <a:gd name="T21" fmla="*/ 641 h 767"/>
              <a:gd name="T22" fmla="*/ 150 w 543"/>
              <a:gd name="T23" fmla="*/ 641 h 767"/>
              <a:gd name="T24" fmla="*/ 129 w 543"/>
              <a:gd name="T25" fmla="*/ 720 h 767"/>
              <a:gd name="T26" fmla="*/ 248 w 543"/>
              <a:gd name="T27" fmla="*/ 720 h 767"/>
              <a:gd name="T28" fmla="*/ 248 w 543"/>
              <a:gd name="T29" fmla="*/ 641 h 767"/>
              <a:gd name="T30" fmla="*/ 393 w 543"/>
              <a:gd name="T31" fmla="*/ 641 h 767"/>
              <a:gd name="T32" fmla="*/ 295 w 543"/>
              <a:gd name="T33" fmla="*/ 641 h 767"/>
              <a:gd name="T34" fmla="*/ 295 w 543"/>
              <a:gd name="T35" fmla="*/ 720 h 767"/>
              <a:gd name="T36" fmla="*/ 414 w 543"/>
              <a:gd name="T37" fmla="*/ 720 h 767"/>
              <a:gd name="T38" fmla="*/ 393 w 543"/>
              <a:gd name="T39" fmla="*/ 641 h 767"/>
              <a:gd name="T40" fmla="*/ 295 w 543"/>
              <a:gd name="T41" fmla="*/ 594 h 767"/>
              <a:gd name="T42" fmla="*/ 380 w 543"/>
              <a:gd name="T43" fmla="*/ 594 h 767"/>
              <a:gd name="T44" fmla="*/ 359 w 543"/>
              <a:gd name="T45" fmla="*/ 515 h 767"/>
              <a:gd name="T46" fmla="*/ 295 w 543"/>
              <a:gd name="T47" fmla="*/ 515 h 767"/>
              <a:gd name="T48" fmla="*/ 295 w 543"/>
              <a:gd name="T49" fmla="*/ 594 h 767"/>
              <a:gd name="T50" fmla="*/ 163 w 543"/>
              <a:gd name="T51" fmla="*/ 594 h 767"/>
              <a:gd name="T52" fmla="*/ 248 w 543"/>
              <a:gd name="T53" fmla="*/ 594 h 767"/>
              <a:gd name="T54" fmla="*/ 248 w 543"/>
              <a:gd name="T55" fmla="*/ 515 h 767"/>
              <a:gd name="T56" fmla="*/ 184 w 543"/>
              <a:gd name="T57" fmla="*/ 515 h 767"/>
              <a:gd name="T58" fmla="*/ 163 w 543"/>
              <a:gd name="T59" fmla="*/ 594 h 767"/>
              <a:gd name="T60" fmla="*/ 295 w 543"/>
              <a:gd name="T61" fmla="*/ 208 h 767"/>
              <a:gd name="T62" fmla="*/ 327 w 543"/>
              <a:gd name="T63" fmla="*/ 120 h 767"/>
              <a:gd name="T64" fmla="*/ 248 w 543"/>
              <a:gd name="T65" fmla="*/ 208 h 767"/>
              <a:gd name="T66" fmla="*/ 287 w 543"/>
              <a:gd name="T67" fmla="*/ 0 h 767"/>
              <a:gd name="T68" fmla="*/ 299 w 543"/>
              <a:gd name="T69" fmla="*/ 80 h 767"/>
              <a:gd name="T70" fmla="*/ 390 w 543"/>
              <a:gd name="T71" fmla="*/ 0 h 767"/>
              <a:gd name="T72" fmla="*/ 295 w 543"/>
              <a:gd name="T73" fmla="*/ 208 h 767"/>
              <a:gd name="T74" fmla="*/ 24 w 543"/>
              <a:gd name="T75" fmla="*/ 767 h 767"/>
              <a:gd name="T76" fmla="*/ 0 w 543"/>
              <a:gd name="T77" fmla="*/ 744 h 767"/>
              <a:gd name="T78" fmla="*/ 24 w 543"/>
              <a:gd name="T79" fmla="*/ 720 h 767"/>
              <a:gd name="T80" fmla="*/ 80 w 543"/>
              <a:gd name="T81" fmla="*/ 720 h 767"/>
              <a:gd name="T82" fmla="*/ 176 w 543"/>
              <a:gd name="T83" fmla="*/ 362 h 767"/>
              <a:gd name="T84" fmla="*/ 176 w 543"/>
              <a:gd name="T85" fmla="*/ 295 h 767"/>
              <a:gd name="T86" fmla="*/ 248 w 543"/>
              <a:gd name="T87" fmla="*/ 295 h 767"/>
              <a:gd name="T88" fmla="*/ 248 w 543"/>
              <a:gd name="T89" fmla="*/ 234 h 767"/>
              <a:gd name="T90" fmla="*/ 295 w 543"/>
              <a:gd name="T91" fmla="*/ 234 h 767"/>
              <a:gd name="T92" fmla="*/ 295 w 543"/>
              <a:gd name="T93" fmla="*/ 295 h 767"/>
              <a:gd name="T94" fmla="*/ 367 w 543"/>
              <a:gd name="T95" fmla="*/ 295 h 767"/>
              <a:gd name="T96" fmla="*/ 367 w 543"/>
              <a:gd name="T97" fmla="*/ 362 h 767"/>
              <a:gd name="T98" fmla="*/ 463 w 543"/>
              <a:gd name="T99" fmla="*/ 720 h 767"/>
              <a:gd name="T100" fmla="*/ 519 w 543"/>
              <a:gd name="T101" fmla="*/ 720 h 767"/>
              <a:gd name="T102" fmla="*/ 543 w 543"/>
              <a:gd name="T103" fmla="*/ 744 h 767"/>
              <a:gd name="T104" fmla="*/ 519 w 543"/>
              <a:gd name="T105" fmla="*/ 767 h 767"/>
              <a:gd name="T106" fmla="*/ 24 w 543"/>
              <a:gd name="T107" fmla="*/ 767 h 767"/>
              <a:gd name="T108" fmla="*/ 24 w 543"/>
              <a:gd name="T109" fmla="*/ 767 h 7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43" h="767">
                <a:moveTo>
                  <a:pt x="295" y="467"/>
                </a:moveTo>
                <a:lnTo>
                  <a:pt x="347" y="467"/>
                </a:lnTo>
                <a:lnTo>
                  <a:pt x="325" y="388"/>
                </a:lnTo>
                <a:lnTo>
                  <a:pt x="295" y="388"/>
                </a:lnTo>
                <a:lnTo>
                  <a:pt x="295" y="467"/>
                </a:lnTo>
                <a:close/>
                <a:moveTo>
                  <a:pt x="196" y="467"/>
                </a:moveTo>
                <a:lnTo>
                  <a:pt x="248" y="467"/>
                </a:lnTo>
                <a:lnTo>
                  <a:pt x="248" y="388"/>
                </a:lnTo>
                <a:lnTo>
                  <a:pt x="218" y="388"/>
                </a:lnTo>
                <a:lnTo>
                  <a:pt x="196" y="467"/>
                </a:lnTo>
                <a:close/>
                <a:moveTo>
                  <a:pt x="248" y="641"/>
                </a:moveTo>
                <a:lnTo>
                  <a:pt x="150" y="641"/>
                </a:lnTo>
                <a:lnTo>
                  <a:pt x="129" y="720"/>
                </a:lnTo>
                <a:lnTo>
                  <a:pt x="248" y="720"/>
                </a:lnTo>
                <a:lnTo>
                  <a:pt x="248" y="641"/>
                </a:lnTo>
                <a:close/>
                <a:moveTo>
                  <a:pt x="393" y="641"/>
                </a:moveTo>
                <a:lnTo>
                  <a:pt x="295" y="641"/>
                </a:lnTo>
                <a:lnTo>
                  <a:pt x="295" y="720"/>
                </a:lnTo>
                <a:lnTo>
                  <a:pt x="414" y="720"/>
                </a:lnTo>
                <a:lnTo>
                  <a:pt x="393" y="641"/>
                </a:lnTo>
                <a:close/>
                <a:moveTo>
                  <a:pt x="295" y="594"/>
                </a:moveTo>
                <a:lnTo>
                  <a:pt x="380" y="594"/>
                </a:lnTo>
                <a:lnTo>
                  <a:pt x="359" y="515"/>
                </a:lnTo>
                <a:lnTo>
                  <a:pt x="295" y="515"/>
                </a:lnTo>
                <a:lnTo>
                  <a:pt x="295" y="594"/>
                </a:lnTo>
                <a:close/>
                <a:moveTo>
                  <a:pt x="163" y="594"/>
                </a:moveTo>
                <a:lnTo>
                  <a:pt x="248" y="594"/>
                </a:lnTo>
                <a:lnTo>
                  <a:pt x="248" y="515"/>
                </a:lnTo>
                <a:lnTo>
                  <a:pt x="184" y="515"/>
                </a:lnTo>
                <a:lnTo>
                  <a:pt x="163" y="594"/>
                </a:lnTo>
                <a:close/>
                <a:moveTo>
                  <a:pt x="295" y="208"/>
                </a:moveTo>
                <a:cubicBezTo>
                  <a:pt x="295" y="183"/>
                  <a:pt x="307" y="141"/>
                  <a:pt x="327" y="120"/>
                </a:cubicBezTo>
                <a:cubicBezTo>
                  <a:pt x="272" y="120"/>
                  <a:pt x="248" y="167"/>
                  <a:pt x="248" y="208"/>
                </a:cubicBezTo>
                <a:cubicBezTo>
                  <a:pt x="161" y="121"/>
                  <a:pt x="287" y="39"/>
                  <a:pt x="287" y="0"/>
                </a:cubicBezTo>
                <a:cubicBezTo>
                  <a:pt x="309" y="13"/>
                  <a:pt x="318" y="47"/>
                  <a:pt x="299" y="80"/>
                </a:cubicBezTo>
                <a:cubicBezTo>
                  <a:pt x="326" y="80"/>
                  <a:pt x="376" y="50"/>
                  <a:pt x="390" y="0"/>
                </a:cubicBezTo>
                <a:cubicBezTo>
                  <a:pt x="415" y="96"/>
                  <a:pt x="364" y="208"/>
                  <a:pt x="295" y="208"/>
                </a:cubicBezTo>
                <a:close/>
                <a:moveTo>
                  <a:pt x="24" y="767"/>
                </a:moveTo>
                <a:cubicBezTo>
                  <a:pt x="11" y="767"/>
                  <a:pt x="0" y="757"/>
                  <a:pt x="0" y="744"/>
                </a:cubicBezTo>
                <a:cubicBezTo>
                  <a:pt x="0" y="731"/>
                  <a:pt x="11" y="720"/>
                  <a:pt x="24" y="720"/>
                </a:cubicBezTo>
                <a:lnTo>
                  <a:pt x="80" y="720"/>
                </a:lnTo>
                <a:lnTo>
                  <a:pt x="176" y="362"/>
                </a:lnTo>
                <a:lnTo>
                  <a:pt x="176" y="295"/>
                </a:lnTo>
                <a:lnTo>
                  <a:pt x="248" y="295"/>
                </a:lnTo>
                <a:lnTo>
                  <a:pt x="248" y="234"/>
                </a:lnTo>
                <a:lnTo>
                  <a:pt x="295" y="234"/>
                </a:lnTo>
                <a:lnTo>
                  <a:pt x="295" y="295"/>
                </a:lnTo>
                <a:lnTo>
                  <a:pt x="367" y="295"/>
                </a:lnTo>
                <a:lnTo>
                  <a:pt x="367" y="362"/>
                </a:lnTo>
                <a:lnTo>
                  <a:pt x="463" y="720"/>
                </a:lnTo>
                <a:lnTo>
                  <a:pt x="519" y="720"/>
                </a:lnTo>
                <a:cubicBezTo>
                  <a:pt x="532" y="720"/>
                  <a:pt x="543" y="731"/>
                  <a:pt x="543" y="744"/>
                </a:cubicBezTo>
                <a:cubicBezTo>
                  <a:pt x="543" y="757"/>
                  <a:pt x="532" y="767"/>
                  <a:pt x="519" y="767"/>
                </a:cubicBezTo>
                <a:lnTo>
                  <a:pt x="24" y="767"/>
                </a:lnTo>
                <a:lnTo>
                  <a:pt x="24" y="767"/>
                </a:lnTo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81" name="Geothermal_Energy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B20DCB2-2FC4-E2E3-409A-7A7EBD91659E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10034591" y="2063567"/>
            <a:ext cx="587617" cy="588868"/>
            <a:chOff x="8" y="8"/>
            <a:chExt cx="470" cy="471"/>
          </a:xfrm>
          <a:solidFill>
            <a:schemeClr val="bg1"/>
          </a:solidFill>
        </p:grpSpPr>
        <p:sp>
          <p:nvSpPr>
            <p:cNvPr id="182" name="Geothermal_Energy">
              <a:extLst>
                <a:ext uri="{FF2B5EF4-FFF2-40B4-BE49-F238E27FC236}">
                  <a16:creationId xmlns:a16="http://schemas.microsoft.com/office/drawing/2014/main" id="{13A07670-0ABA-E907-5049-47D7DB5C847E}"/>
                </a:ext>
              </a:extLst>
            </p:cNvPr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8" y="45"/>
              <a:ext cx="470" cy="434"/>
            </a:xfrm>
            <a:custGeom>
              <a:avLst/>
              <a:gdLst>
                <a:gd name="T0" fmla="*/ 848 w 1250"/>
                <a:gd name="T1" fmla="*/ 401 h 1151"/>
                <a:gd name="T2" fmla="*/ 820 w 1250"/>
                <a:gd name="T3" fmla="*/ 0 h 1151"/>
                <a:gd name="T4" fmla="*/ 760 w 1250"/>
                <a:gd name="T5" fmla="*/ 0 h 1151"/>
                <a:gd name="T6" fmla="*/ 739 w 1250"/>
                <a:gd name="T7" fmla="*/ 296 h 1151"/>
                <a:gd name="T8" fmla="*/ 699 w 1250"/>
                <a:gd name="T9" fmla="*/ 296 h 1151"/>
                <a:gd name="T10" fmla="*/ 699 w 1250"/>
                <a:gd name="T11" fmla="*/ 190 h 1151"/>
                <a:gd name="T12" fmla="*/ 365 w 1250"/>
                <a:gd name="T13" fmla="*/ 190 h 1151"/>
                <a:gd name="T14" fmla="*/ 365 w 1250"/>
                <a:gd name="T15" fmla="*/ 406 h 1151"/>
                <a:gd name="T16" fmla="*/ 0 w 1250"/>
                <a:gd name="T17" fmla="*/ 498 h 1151"/>
                <a:gd name="T18" fmla="*/ 0 w 1250"/>
                <a:gd name="T19" fmla="*/ 1151 h 1151"/>
                <a:gd name="T20" fmla="*/ 278 w 1250"/>
                <a:gd name="T21" fmla="*/ 1151 h 1151"/>
                <a:gd name="T22" fmla="*/ 365 w 1250"/>
                <a:gd name="T23" fmla="*/ 908 h 1151"/>
                <a:gd name="T24" fmla="*/ 295 w 1250"/>
                <a:gd name="T25" fmla="*/ 665 h 1151"/>
                <a:gd name="T26" fmla="*/ 243 w 1250"/>
                <a:gd name="T27" fmla="*/ 665 h 1151"/>
                <a:gd name="T28" fmla="*/ 347 w 1250"/>
                <a:gd name="T29" fmla="*/ 526 h 1151"/>
                <a:gd name="T30" fmla="*/ 451 w 1250"/>
                <a:gd name="T31" fmla="*/ 665 h 1151"/>
                <a:gd name="T32" fmla="*/ 399 w 1250"/>
                <a:gd name="T33" fmla="*/ 665 h 1151"/>
                <a:gd name="T34" fmla="*/ 469 w 1250"/>
                <a:gd name="T35" fmla="*/ 908 h 1151"/>
                <a:gd name="T36" fmla="*/ 382 w 1250"/>
                <a:gd name="T37" fmla="*/ 1151 h 1151"/>
                <a:gd name="T38" fmla="*/ 556 w 1250"/>
                <a:gd name="T39" fmla="*/ 1151 h 1151"/>
                <a:gd name="T40" fmla="*/ 642 w 1250"/>
                <a:gd name="T41" fmla="*/ 908 h 1151"/>
                <a:gd name="T42" fmla="*/ 573 w 1250"/>
                <a:gd name="T43" fmla="*/ 665 h 1151"/>
                <a:gd name="T44" fmla="*/ 521 w 1250"/>
                <a:gd name="T45" fmla="*/ 665 h 1151"/>
                <a:gd name="T46" fmla="*/ 625 w 1250"/>
                <a:gd name="T47" fmla="*/ 526 h 1151"/>
                <a:gd name="T48" fmla="*/ 729 w 1250"/>
                <a:gd name="T49" fmla="*/ 665 h 1151"/>
                <a:gd name="T50" fmla="*/ 677 w 1250"/>
                <a:gd name="T51" fmla="*/ 665 h 1151"/>
                <a:gd name="T52" fmla="*/ 747 w 1250"/>
                <a:gd name="T53" fmla="*/ 908 h 1151"/>
                <a:gd name="T54" fmla="*/ 660 w 1250"/>
                <a:gd name="T55" fmla="*/ 1151 h 1151"/>
                <a:gd name="T56" fmla="*/ 833 w 1250"/>
                <a:gd name="T57" fmla="*/ 1151 h 1151"/>
                <a:gd name="T58" fmla="*/ 920 w 1250"/>
                <a:gd name="T59" fmla="*/ 908 h 1151"/>
                <a:gd name="T60" fmla="*/ 851 w 1250"/>
                <a:gd name="T61" fmla="*/ 665 h 1151"/>
                <a:gd name="T62" fmla="*/ 799 w 1250"/>
                <a:gd name="T63" fmla="*/ 665 h 1151"/>
                <a:gd name="T64" fmla="*/ 903 w 1250"/>
                <a:gd name="T65" fmla="*/ 526 h 1151"/>
                <a:gd name="T66" fmla="*/ 1007 w 1250"/>
                <a:gd name="T67" fmla="*/ 665 h 1151"/>
                <a:gd name="T68" fmla="*/ 955 w 1250"/>
                <a:gd name="T69" fmla="*/ 665 h 1151"/>
                <a:gd name="T70" fmla="*/ 1024 w 1250"/>
                <a:gd name="T71" fmla="*/ 908 h 1151"/>
                <a:gd name="T72" fmla="*/ 938 w 1250"/>
                <a:gd name="T73" fmla="*/ 1151 h 1151"/>
                <a:gd name="T74" fmla="*/ 1250 w 1250"/>
                <a:gd name="T75" fmla="*/ 1151 h 1151"/>
                <a:gd name="T76" fmla="*/ 1250 w 1250"/>
                <a:gd name="T77" fmla="*/ 498 h 1151"/>
                <a:gd name="T78" fmla="*/ 848 w 1250"/>
                <a:gd name="T79" fmla="*/ 401 h 1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50" h="1151">
                  <a:moveTo>
                    <a:pt x="848" y="401"/>
                  </a:moveTo>
                  <a:lnTo>
                    <a:pt x="820" y="0"/>
                  </a:lnTo>
                  <a:lnTo>
                    <a:pt x="760" y="0"/>
                  </a:lnTo>
                  <a:lnTo>
                    <a:pt x="739" y="296"/>
                  </a:lnTo>
                  <a:lnTo>
                    <a:pt x="699" y="296"/>
                  </a:lnTo>
                  <a:lnTo>
                    <a:pt x="699" y="190"/>
                  </a:lnTo>
                  <a:lnTo>
                    <a:pt x="365" y="190"/>
                  </a:lnTo>
                  <a:lnTo>
                    <a:pt x="365" y="406"/>
                  </a:lnTo>
                  <a:cubicBezTo>
                    <a:pt x="238" y="424"/>
                    <a:pt x="116" y="455"/>
                    <a:pt x="0" y="498"/>
                  </a:cubicBezTo>
                  <a:lnTo>
                    <a:pt x="0" y="1151"/>
                  </a:lnTo>
                  <a:lnTo>
                    <a:pt x="278" y="1151"/>
                  </a:lnTo>
                  <a:cubicBezTo>
                    <a:pt x="278" y="1064"/>
                    <a:pt x="365" y="1012"/>
                    <a:pt x="365" y="908"/>
                  </a:cubicBezTo>
                  <a:cubicBezTo>
                    <a:pt x="365" y="804"/>
                    <a:pt x="295" y="752"/>
                    <a:pt x="295" y="665"/>
                  </a:cubicBezTo>
                  <a:lnTo>
                    <a:pt x="243" y="665"/>
                  </a:lnTo>
                  <a:lnTo>
                    <a:pt x="347" y="526"/>
                  </a:lnTo>
                  <a:lnTo>
                    <a:pt x="451" y="665"/>
                  </a:lnTo>
                  <a:lnTo>
                    <a:pt x="399" y="665"/>
                  </a:lnTo>
                  <a:cubicBezTo>
                    <a:pt x="399" y="752"/>
                    <a:pt x="469" y="804"/>
                    <a:pt x="469" y="908"/>
                  </a:cubicBezTo>
                  <a:cubicBezTo>
                    <a:pt x="469" y="1012"/>
                    <a:pt x="382" y="1064"/>
                    <a:pt x="382" y="1151"/>
                  </a:cubicBezTo>
                  <a:lnTo>
                    <a:pt x="556" y="1151"/>
                  </a:lnTo>
                  <a:cubicBezTo>
                    <a:pt x="556" y="1064"/>
                    <a:pt x="642" y="1012"/>
                    <a:pt x="642" y="908"/>
                  </a:cubicBezTo>
                  <a:cubicBezTo>
                    <a:pt x="642" y="804"/>
                    <a:pt x="573" y="752"/>
                    <a:pt x="573" y="665"/>
                  </a:cubicBezTo>
                  <a:lnTo>
                    <a:pt x="521" y="665"/>
                  </a:lnTo>
                  <a:lnTo>
                    <a:pt x="625" y="526"/>
                  </a:lnTo>
                  <a:lnTo>
                    <a:pt x="729" y="665"/>
                  </a:lnTo>
                  <a:lnTo>
                    <a:pt x="677" y="665"/>
                  </a:lnTo>
                  <a:cubicBezTo>
                    <a:pt x="677" y="752"/>
                    <a:pt x="747" y="804"/>
                    <a:pt x="747" y="908"/>
                  </a:cubicBezTo>
                  <a:cubicBezTo>
                    <a:pt x="747" y="1012"/>
                    <a:pt x="660" y="1064"/>
                    <a:pt x="660" y="1151"/>
                  </a:cubicBezTo>
                  <a:lnTo>
                    <a:pt x="833" y="1151"/>
                  </a:lnTo>
                  <a:cubicBezTo>
                    <a:pt x="833" y="1064"/>
                    <a:pt x="920" y="1012"/>
                    <a:pt x="920" y="908"/>
                  </a:cubicBezTo>
                  <a:cubicBezTo>
                    <a:pt x="920" y="804"/>
                    <a:pt x="851" y="752"/>
                    <a:pt x="851" y="665"/>
                  </a:cubicBezTo>
                  <a:lnTo>
                    <a:pt x="799" y="665"/>
                  </a:lnTo>
                  <a:lnTo>
                    <a:pt x="903" y="526"/>
                  </a:lnTo>
                  <a:lnTo>
                    <a:pt x="1007" y="665"/>
                  </a:lnTo>
                  <a:lnTo>
                    <a:pt x="955" y="665"/>
                  </a:lnTo>
                  <a:cubicBezTo>
                    <a:pt x="955" y="752"/>
                    <a:pt x="1024" y="804"/>
                    <a:pt x="1024" y="908"/>
                  </a:cubicBezTo>
                  <a:cubicBezTo>
                    <a:pt x="1024" y="1012"/>
                    <a:pt x="938" y="1064"/>
                    <a:pt x="938" y="1151"/>
                  </a:cubicBezTo>
                  <a:lnTo>
                    <a:pt x="1250" y="1151"/>
                  </a:lnTo>
                  <a:lnTo>
                    <a:pt x="1250" y="498"/>
                  </a:lnTo>
                  <a:cubicBezTo>
                    <a:pt x="1122" y="451"/>
                    <a:pt x="987" y="418"/>
                    <a:pt x="848" y="40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3" name="Geothermal_Energy">
              <a:extLst>
                <a:ext uri="{FF2B5EF4-FFF2-40B4-BE49-F238E27FC236}">
                  <a16:creationId xmlns:a16="http://schemas.microsoft.com/office/drawing/2014/main" id="{6B283EDD-6E29-44C5-E025-1E3554EA11E8}"/>
                </a:ext>
              </a:extLst>
            </p:cNvPr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162" y="8"/>
              <a:ext cx="151" cy="29"/>
            </a:xfrm>
            <a:custGeom>
              <a:avLst/>
              <a:gdLst>
                <a:gd name="T0" fmla="*/ 99 w 403"/>
                <a:gd name="T1" fmla="*/ 61 h 76"/>
                <a:gd name="T2" fmla="*/ 251 w 403"/>
                <a:gd name="T3" fmla="*/ 61 h 76"/>
                <a:gd name="T4" fmla="*/ 357 w 403"/>
                <a:gd name="T5" fmla="*/ 76 h 76"/>
                <a:gd name="T6" fmla="*/ 403 w 403"/>
                <a:gd name="T7" fmla="*/ 76 h 76"/>
                <a:gd name="T8" fmla="*/ 251 w 403"/>
                <a:gd name="T9" fmla="*/ 15 h 76"/>
                <a:gd name="T10" fmla="*/ 99 w 403"/>
                <a:gd name="T11" fmla="*/ 15 h 76"/>
                <a:gd name="T12" fmla="*/ 0 w 403"/>
                <a:gd name="T13" fmla="*/ 0 h 76"/>
                <a:gd name="T14" fmla="*/ 99 w 403"/>
                <a:gd name="T15" fmla="*/ 6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3" h="76">
                  <a:moveTo>
                    <a:pt x="99" y="61"/>
                  </a:moveTo>
                  <a:lnTo>
                    <a:pt x="251" y="61"/>
                  </a:lnTo>
                  <a:cubicBezTo>
                    <a:pt x="277" y="61"/>
                    <a:pt x="357" y="61"/>
                    <a:pt x="357" y="76"/>
                  </a:cubicBezTo>
                  <a:lnTo>
                    <a:pt x="403" y="76"/>
                  </a:lnTo>
                  <a:cubicBezTo>
                    <a:pt x="403" y="15"/>
                    <a:pt x="318" y="15"/>
                    <a:pt x="251" y="15"/>
                  </a:cubicBezTo>
                  <a:lnTo>
                    <a:pt x="99" y="15"/>
                  </a:lnTo>
                  <a:cubicBezTo>
                    <a:pt x="71" y="15"/>
                    <a:pt x="16" y="6"/>
                    <a:pt x="0" y="0"/>
                  </a:cubicBezTo>
                  <a:cubicBezTo>
                    <a:pt x="3" y="1"/>
                    <a:pt x="23" y="61"/>
                    <a:pt x="99" y="6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84" name="Power_Plan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A513B1F-C428-0DC0-BE8D-BDE67A14601E}"/>
              </a:ext>
            </a:extLst>
          </p:cNvPr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8218985" y="2109826"/>
            <a:ext cx="588139" cy="542365"/>
          </a:xfrm>
          <a:custGeom>
            <a:avLst/>
            <a:gdLst>
              <a:gd name="T0" fmla="*/ 8111 w 9995"/>
              <a:gd name="T1" fmla="*/ 196 h 9212"/>
              <a:gd name="T2" fmla="*/ 8037 w 9995"/>
              <a:gd name="T3" fmla="*/ 1287 h 9212"/>
              <a:gd name="T4" fmla="*/ 7981 w 9995"/>
              <a:gd name="T5" fmla="*/ 2118 h 9212"/>
              <a:gd name="T6" fmla="*/ 7925 w 9995"/>
              <a:gd name="T7" fmla="*/ 2950 h 9212"/>
              <a:gd name="T8" fmla="*/ 7850 w 9995"/>
              <a:gd name="T9" fmla="*/ 4056 h 9212"/>
              <a:gd name="T10" fmla="*/ 7775 w 9995"/>
              <a:gd name="T11" fmla="*/ 5156 h 9212"/>
              <a:gd name="T12" fmla="*/ 7705 w 9995"/>
              <a:gd name="T13" fmla="*/ 6081 h 9212"/>
              <a:gd name="T14" fmla="*/ 6881 w 9995"/>
              <a:gd name="T15" fmla="*/ 6093 h 9212"/>
              <a:gd name="T16" fmla="*/ 6868 w 9995"/>
              <a:gd name="T17" fmla="*/ 2607 h 9212"/>
              <a:gd name="T18" fmla="*/ 10 w 9995"/>
              <a:gd name="T19" fmla="*/ 2616 h 9212"/>
              <a:gd name="T20" fmla="*/ 0 w 9995"/>
              <a:gd name="T21" fmla="*/ 9212 h 9212"/>
              <a:gd name="T22" fmla="*/ 9995 w 9995"/>
              <a:gd name="T23" fmla="*/ 9212 h 9212"/>
              <a:gd name="T24" fmla="*/ 9973 w 9995"/>
              <a:gd name="T25" fmla="*/ 8837 h 9212"/>
              <a:gd name="T26" fmla="*/ 9926 w 9995"/>
              <a:gd name="T27" fmla="*/ 8106 h 9212"/>
              <a:gd name="T28" fmla="*/ 9861 w 9995"/>
              <a:gd name="T29" fmla="*/ 7200 h 9212"/>
              <a:gd name="T30" fmla="*/ 9813 w 9995"/>
              <a:gd name="T31" fmla="*/ 6443 h 9212"/>
              <a:gd name="T32" fmla="*/ 9748 w 9995"/>
              <a:gd name="T33" fmla="*/ 5543 h 9212"/>
              <a:gd name="T34" fmla="*/ 9673 w 9995"/>
              <a:gd name="T35" fmla="*/ 4425 h 9212"/>
              <a:gd name="T36" fmla="*/ 9626 w 9995"/>
              <a:gd name="T37" fmla="*/ 3681 h 9212"/>
              <a:gd name="T38" fmla="*/ 9561 w 9995"/>
              <a:gd name="T39" fmla="*/ 2775 h 9212"/>
              <a:gd name="T40" fmla="*/ 9481 w 9995"/>
              <a:gd name="T41" fmla="*/ 1593 h 9212"/>
              <a:gd name="T42" fmla="*/ 9443 w 9995"/>
              <a:gd name="T43" fmla="*/ 993 h 9212"/>
              <a:gd name="T44" fmla="*/ 9362 w 9995"/>
              <a:gd name="T45" fmla="*/ 12 h 9212"/>
              <a:gd name="T46" fmla="*/ 8137 w 9995"/>
              <a:gd name="T47" fmla="*/ 12 h 9212"/>
              <a:gd name="T48" fmla="*/ 4858 w 9995"/>
              <a:gd name="T49" fmla="*/ 4332 h 9212"/>
              <a:gd name="T50" fmla="*/ 4792 w 9995"/>
              <a:gd name="T51" fmla="*/ 4445 h 9212"/>
              <a:gd name="T52" fmla="*/ 4397 w 9995"/>
              <a:gd name="T53" fmla="*/ 5097 h 9212"/>
              <a:gd name="T54" fmla="*/ 4287 w 9995"/>
              <a:gd name="T55" fmla="*/ 5275 h 9212"/>
              <a:gd name="T56" fmla="*/ 4177 w 9995"/>
              <a:gd name="T57" fmla="*/ 5452 h 9212"/>
              <a:gd name="T58" fmla="*/ 4022 w 9995"/>
              <a:gd name="T59" fmla="*/ 5697 h 9212"/>
              <a:gd name="T60" fmla="*/ 3912 w 9995"/>
              <a:gd name="T61" fmla="*/ 5875 h 9212"/>
              <a:gd name="T62" fmla="*/ 3802 w 9995"/>
              <a:gd name="T63" fmla="*/ 6052 h 9212"/>
              <a:gd name="T64" fmla="*/ 4265 w 9995"/>
              <a:gd name="T65" fmla="*/ 6225 h 9212"/>
              <a:gd name="T66" fmla="*/ 2580 w 9995"/>
              <a:gd name="T67" fmla="*/ 8483 h 9212"/>
              <a:gd name="T68" fmla="*/ 3287 w 9995"/>
              <a:gd name="T69" fmla="*/ 7028 h 9212"/>
              <a:gd name="T70" fmla="*/ 2805 w 9995"/>
              <a:gd name="T71" fmla="*/ 7000 h 9212"/>
              <a:gd name="T72" fmla="*/ 2450 w 9995"/>
              <a:gd name="T73" fmla="*/ 6818 h 9212"/>
              <a:gd name="T74" fmla="*/ 2516 w 9995"/>
              <a:gd name="T75" fmla="*/ 6706 h 9212"/>
              <a:gd name="T76" fmla="*/ 2683 w 9995"/>
              <a:gd name="T77" fmla="*/ 6418 h 9212"/>
              <a:gd name="T78" fmla="*/ 2750 w 9995"/>
              <a:gd name="T79" fmla="*/ 6306 h 9212"/>
              <a:gd name="T80" fmla="*/ 2862 w 9995"/>
              <a:gd name="T81" fmla="*/ 6112 h 9212"/>
              <a:gd name="T82" fmla="*/ 2975 w 9995"/>
              <a:gd name="T83" fmla="*/ 5918 h 9212"/>
              <a:gd name="T84" fmla="*/ 3041 w 9995"/>
              <a:gd name="T85" fmla="*/ 5806 h 9212"/>
              <a:gd name="T86" fmla="*/ 3208 w 9995"/>
              <a:gd name="T87" fmla="*/ 5518 h 9212"/>
              <a:gd name="T88" fmla="*/ 3275 w 9995"/>
              <a:gd name="T89" fmla="*/ 5406 h 9212"/>
              <a:gd name="T90" fmla="*/ 3387 w 9995"/>
              <a:gd name="T91" fmla="*/ 5212 h 9212"/>
              <a:gd name="T92" fmla="*/ 3500 w 9995"/>
              <a:gd name="T93" fmla="*/ 5018 h 9212"/>
              <a:gd name="T94" fmla="*/ 3566 w 9995"/>
              <a:gd name="T95" fmla="*/ 4906 h 9212"/>
              <a:gd name="T96" fmla="*/ 4403 w 9995"/>
              <a:gd name="T97" fmla="*/ 4280 h 9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9995" h="9212">
                <a:moveTo>
                  <a:pt x="8137" y="12"/>
                </a:moveTo>
                <a:cubicBezTo>
                  <a:pt x="8123" y="21"/>
                  <a:pt x="8117" y="64"/>
                  <a:pt x="8111" y="196"/>
                </a:cubicBezTo>
                <a:cubicBezTo>
                  <a:pt x="8102" y="364"/>
                  <a:pt x="8087" y="584"/>
                  <a:pt x="8061" y="925"/>
                </a:cubicBezTo>
                <a:cubicBezTo>
                  <a:pt x="8053" y="1017"/>
                  <a:pt x="8043" y="1181"/>
                  <a:pt x="8037" y="1287"/>
                </a:cubicBezTo>
                <a:cubicBezTo>
                  <a:pt x="8031" y="1393"/>
                  <a:pt x="8021" y="1564"/>
                  <a:pt x="8013" y="1668"/>
                </a:cubicBezTo>
                <a:cubicBezTo>
                  <a:pt x="8005" y="1771"/>
                  <a:pt x="7991" y="1973"/>
                  <a:pt x="7981" y="2118"/>
                </a:cubicBezTo>
                <a:cubicBezTo>
                  <a:pt x="7971" y="2262"/>
                  <a:pt x="7957" y="2464"/>
                  <a:pt x="7948" y="2568"/>
                </a:cubicBezTo>
                <a:cubicBezTo>
                  <a:pt x="7941" y="2671"/>
                  <a:pt x="7930" y="2843"/>
                  <a:pt x="7925" y="2950"/>
                </a:cubicBezTo>
                <a:cubicBezTo>
                  <a:pt x="7915" y="3150"/>
                  <a:pt x="7901" y="3343"/>
                  <a:pt x="7868" y="3756"/>
                </a:cubicBezTo>
                <a:cubicBezTo>
                  <a:pt x="7857" y="3886"/>
                  <a:pt x="7850" y="4021"/>
                  <a:pt x="7850" y="4056"/>
                </a:cubicBezTo>
                <a:cubicBezTo>
                  <a:pt x="7850" y="4090"/>
                  <a:pt x="7842" y="4225"/>
                  <a:pt x="7831" y="4356"/>
                </a:cubicBezTo>
                <a:cubicBezTo>
                  <a:pt x="7800" y="4751"/>
                  <a:pt x="7786" y="4959"/>
                  <a:pt x="7775" y="5156"/>
                </a:cubicBezTo>
                <a:cubicBezTo>
                  <a:pt x="7766" y="5332"/>
                  <a:pt x="7753" y="5505"/>
                  <a:pt x="7725" y="5896"/>
                </a:cubicBezTo>
                <a:cubicBezTo>
                  <a:pt x="7717" y="5987"/>
                  <a:pt x="7708" y="6070"/>
                  <a:pt x="7705" y="6081"/>
                </a:cubicBezTo>
                <a:cubicBezTo>
                  <a:pt x="7697" y="6097"/>
                  <a:pt x="7648" y="6100"/>
                  <a:pt x="7288" y="6097"/>
                </a:cubicBezTo>
                <a:lnTo>
                  <a:pt x="6881" y="6093"/>
                </a:lnTo>
                <a:lnTo>
                  <a:pt x="6875" y="5006"/>
                </a:lnTo>
                <a:lnTo>
                  <a:pt x="6868" y="2607"/>
                </a:lnTo>
                <a:lnTo>
                  <a:pt x="3445" y="2604"/>
                </a:lnTo>
                <a:cubicBezTo>
                  <a:pt x="713" y="2601"/>
                  <a:pt x="18" y="2604"/>
                  <a:pt x="10" y="2616"/>
                </a:cubicBezTo>
                <a:cubicBezTo>
                  <a:pt x="5" y="2625"/>
                  <a:pt x="0" y="5128"/>
                  <a:pt x="0" y="6577"/>
                </a:cubicBezTo>
                <a:lnTo>
                  <a:pt x="0" y="9212"/>
                </a:lnTo>
                <a:lnTo>
                  <a:pt x="4997" y="9212"/>
                </a:lnTo>
                <a:lnTo>
                  <a:pt x="9995" y="9212"/>
                </a:lnTo>
                <a:lnTo>
                  <a:pt x="9991" y="9096"/>
                </a:lnTo>
                <a:cubicBezTo>
                  <a:pt x="9988" y="9033"/>
                  <a:pt x="9981" y="8916"/>
                  <a:pt x="9973" y="8837"/>
                </a:cubicBezTo>
                <a:cubicBezTo>
                  <a:pt x="9966" y="8758"/>
                  <a:pt x="9956" y="8603"/>
                  <a:pt x="9950" y="8493"/>
                </a:cubicBezTo>
                <a:cubicBezTo>
                  <a:pt x="9945" y="8383"/>
                  <a:pt x="9933" y="8208"/>
                  <a:pt x="9926" y="8106"/>
                </a:cubicBezTo>
                <a:cubicBezTo>
                  <a:pt x="9917" y="8002"/>
                  <a:pt x="9903" y="7800"/>
                  <a:pt x="9893" y="7656"/>
                </a:cubicBezTo>
                <a:cubicBezTo>
                  <a:pt x="9883" y="7511"/>
                  <a:pt x="9868" y="7306"/>
                  <a:pt x="9861" y="7200"/>
                </a:cubicBezTo>
                <a:cubicBezTo>
                  <a:pt x="9853" y="7093"/>
                  <a:pt x="9842" y="6921"/>
                  <a:pt x="9837" y="6818"/>
                </a:cubicBezTo>
                <a:cubicBezTo>
                  <a:pt x="9831" y="6715"/>
                  <a:pt x="9821" y="6546"/>
                  <a:pt x="9813" y="6443"/>
                </a:cubicBezTo>
                <a:cubicBezTo>
                  <a:pt x="9805" y="6340"/>
                  <a:pt x="9791" y="6137"/>
                  <a:pt x="9781" y="5993"/>
                </a:cubicBezTo>
                <a:cubicBezTo>
                  <a:pt x="9771" y="5848"/>
                  <a:pt x="9757" y="5646"/>
                  <a:pt x="9748" y="5543"/>
                </a:cubicBezTo>
                <a:cubicBezTo>
                  <a:pt x="9741" y="5440"/>
                  <a:pt x="9731" y="5271"/>
                  <a:pt x="9725" y="5168"/>
                </a:cubicBezTo>
                <a:cubicBezTo>
                  <a:pt x="9715" y="4981"/>
                  <a:pt x="9698" y="4741"/>
                  <a:pt x="9673" y="4425"/>
                </a:cubicBezTo>
                <a:cubicBezTo>
                  <a:pt x="9666" y="4332"/>
                  <a:pt x="9656" y="4168"/>
                  <a:pt x="9650" y="4062"/>
                </a:cubicBezTo>
                <a:cubicBezTo>
                  <a:pt x="9643" y="3956"/>
                  <a:pt x="9633" y="3783"/>
                  <a:pt x="9626" y="3681"/>
                </a:cubicBezTo>
                <a:cubicBezTo>
                  <a:pt x="9617" y="3577"/>
                  <a:pt x="9603" y="3375"/>
                  <a:pt x="9593" y="3231"/>
                </a:cubicBezTo>
                <a:cubicBezTo>
                  <a:pt x="9583" y="3086"/>
                  <a:pt x="9568" y="2881"/>
                  <a:pt x="9561" y="2775"/>
                </a:cubicBezTo>
                <a:cubicBezTo>
                  <a:pt x="9553" y="2668"/>
                  <a:pt x="9542" y="2496"/>
                  <a:pt x="9537" y="2393"/>
                </a:cubicBezTo>
                <a:cubicBezTo>
                  <a:pt x="9526" y="2197"/>
                  <a:pt x="9512" y="1992"/>
                  <a:pt x="9481" y="1593"/>
                </a:cubicBezTo>
                <a:cubicBezTo>
                  <a:pt x="9470" y="1462"/>
                  <a:pt x="9462" y="1327"/>
                  <a:pt x="9462" y="1293"/>
                </a:cubicBezTo>
                <a:cubicBezTo>
                  <a:pt x="9462" y="1258"/>
                  <a:pt x="9455" y="1123"/>
                  <a:pt x="9443" y="993"/>
                </a:cubicBezTo>
                <a:cubicBezTo>
                  <a:pt x="9412" y="596"/>
                  <a:pt x="9397" y="377"/>
                  <a:pt x="9388" y="196"/>
                </a:cubicBezTo>
                <a:cubicBezTo>
                  <a:pt x="9382" y="64"/>
                  <a:pt x="9376" y="21"/>
                  <a:pt x="9362" y="12"/>
                </a:cubicBezTo>
                <a:cubicBezTo>
                  <a:pt x="9351" y="4"/>
                  <a:pt x="9096" y="0"/>
                  <a:pt x="8750" y="0"/>
                </a:cubicBezTo>
                <a:cubicBezTo>
                  <a:pt x="8403" y="0"/>
                  <a:pt x="8148" y="4"/>
                  <a:pt x="8137" y="12"/>
                </a:cubicBezTo>
                <a:close/>
                <a:moveTo>
                  <a:pt x="4869" y="4290"/>
                </a:moveTo>
                <a:cubicBezTo>
                  <a:pt x="4873" y="4295"/>
                  <a:pt x="4867" y="4314"/>
                  <a:pt x="4858" y="4332"/>
                </a:cubicBezTo>
                <a:cubicBezTo>
                  <a:pt x="4848" y="4348"/>
                  <a:pt x="4834" y="4373"/>
                  <a:pt x="4827" y="4387"/>
                </a:cubicBezTo>
                <a:cubicBezTo>
                  <a:pt x="4819" y="4400"/>
                  <a:pt x="4804" y="4427"/>
                  <a:pt x="4792" y="4445"/>
                </a:cubicBezTo>
                <a:cubicBezTo>
                  <a:pt x="4781" y="4464"/>
                  <a:pt x="4506" y="4926"/>
                  <a:pt x="4475" y="4975"/>
                </a:cubicBezTo>
                <a:cubicBezTo>
                  <a:pt x="4443" y="5023"/>
                  <a:pt x="4408" y="5078"/>
                  <a:pt x="4397" y="5097"/>
                </a:cubicBezTo>
                <a:cubicBezTo>
                  <a:pt x="4385" y="5116"/>
                  <a:pt x="4370" y="5142"/>
                  <a:pt x="4362" y="5156"/>
                </a:cubicBezTo>
                <a:cubicBezTo>
                  <a:pt x="4356" y="5169"/>
                  <a:pt x="4321" y="5223"/>
                  <a:pt x="4287" y="5275"/>
                </a:cubicBezTo>
                <a:cubicBezTo>
                  <a:pt x="4253" y="5326"/>
                  <a:pt x="4218" y="5380"/>
                  <a:pt x="4212" y="5393"/>
                </a:cubicBezTo>
                <a:cubicBezTo>
                  <a:pt x="4205" y="5407"/>
                  <a:pt x="4190" y="5433"/>
                  <a:pt x="4177" y="5452"/>
                </a:cubicBezTo>
                <a:cubicBezTo>
                  <a:pt x="4166" y="5471"/>
                  <a:pt x="4131" y="5526"/>
                  <a:pt x="4100" y="5575"/>
                </a:cubicBezTo>
                <a:cubicBezTo>
                  <a:pt x="4068" y="5623"/>
                  <a:pt x="4033" y="5678"/>
                  <a:pt x="4022" y="5697"/>
                </a:cubicBezTo>
                <a:cubicBezTo>
                  <a:pt x="4010" y="5716"/>
                  <a:pt x="3995" y="5742"/>
                  <a:pt x="3987" y="5756"/>
                </a:cubicBezTo>
                <a:cubicBezTo>
                  <a:pt x="3981" y="5769"/>
                  <a:pt x="3946" y="5823"/>
                  <a:pt x="3912" y="5875"/>
                </a:cubicBezTo>
                <a:cubicBezTo>
                  <a:pt x="3878" y="5926"/>
                  <a:pt x="3843" y="5980"/>
                  <a:pt x="3837" y="5993"/>
                </a:cubicBezTo>
                <a:cubicBezTo>
                  <a:pt x="3830" y="6007"/>
                  <a:pt x="3815" y="6033"/>
                  <a:pt x="3802" y="6052"/>
                </a:cubicBezTo>
                <a:cubicBezTo>
                  <a:pt x="3716" y="6187"/>
                  <a:pt x="3702" y="6211"/>
                  <a:pt x="3710" y="6217"/>
                </a:cubicBezTo>
                <a:cubicBezTo>
                  <a:pt x="3713" y="6221"/>
                  <a:pt x="3963" y="6225"/>
                  <a:pt x="4265" y="6225"/>
                </a:cubicBezTo>
                <a:cubicBezTo>
                  <a:pt x="4777" y="6225"/>
                  <a:pt x="4812" y="6226"/>
                  <a:pt x="4812" y="6246"/>
                </a:cubicBezTo>
                <a:cubicBezTo>
                  <a:pt x="4812" y="6272"/>
                  <a:pt x="2592" y="8496"/>
                  <a:pt x="2580" y="8483"/>
                </a:cubicBezTo>
                <a:cubicBezTo>
                  <a:pt x="2571" y="8476"/>
                  <a:pt x="2582" y="8443"/>
                  <a:pt x="2612" y="8387"/>
                </a:cubicBezTo>
                <a:cubicBezTo>
                  <a:pt x="2681" y="8260"/>
                  <a:pt x="3287" y="7037"/>
                  <a:pt x="3287" y="7028"/>
                </a:cubicBezTo>
                <a:cubicBezTo>
                  <a:pt x="3287" y="7021"/>
                  <a:pt x="3278" y="7011"/>
                  <a:pt x="3267" y="7007"/>
                </a:cubicBezTo>
                <a:cubicBezTo>
                  <a:pt x="3256" y="7003"/>
                  <a:pt x="3048" y="7000"/>
                  <a:pt x="2805" y="7000"/>
                </a:cubicBezTo>
                <a:cubicBezTo>
                  <a:pt x="2561" y="7000"/>
                  <a:pt x="2362" y="6996"/>
                  <a:pt x="2362" y="6991"/>
                </a:cubicBezTo>
                <a:cubicBezTo>
                  <a:pt x="2362" y="6980"/>
                  <a:pt x="2422" y="6861"/>
                  <a:pt x="2450" y="6818"/>
                </a:cubicBezTo>
                <a:cubicBezTo>
                  <a:pt x="2463" y="6797"/>
                  <a:pt x="2480" y="6770"/>
                  <a:pt x="2487" y="6756"/>
                </a:cubicBezTo>
                <a:cubicBezTo>
                  <a:pt x="2495" y="6742"/>
                  <a:pt x="2507" y="6720"/>
                  <a:pt x="2516" y="6706"/>
                </a:cubicBezTo>
                <a:cubicBezTo>
                  <a:pt x="2525" y="6692"/>
                  <a:pt x="2562" y="6627"/>
                  <a:pt x="2600" y="6562"/>
                </a:cubicBezTo>
                <a:cubicBezTo>
                  <a:pt x="2637" y="6497"/>
                  <a:pt x="2675" y="6432"/>
                  <a:pt x="2683" y="6418"/>
                </a:cubicBezTo>
                <a:cubicBezTo>
                  <a:pt x="2692" y="6405"/>
                  <a:pt x="2705" y="6382"/>
                  <a:pt x="2712" y="6368"/>
                </a:cubicBezTo>
                <a:cubicBezTo>
                  <a:pt x="2720" y="6355"/>
                  <a:pt x="2736" y="6326"/>
                  <a:pt x="2750" y="6306"/>
                </a:cubicBezTo>
                <a:cubicBezTo>
                  <a:pt x="2763" y="6285"/>
                  <a:pt x="2778" y="6260"/>
                  <a:pt x="2783" y="6250"/>
                </a:cubicBezTo>
                <a:cubicBezTo>
                  <a:pt x="2788" y="6240"/>
                  <a:pt x="2823" y="6177"/>
                  <a:pt x="2862" y="6112"/>
                </a:cubicBezTo>
                <a:cubicBezTo>
                  <a:pt x="2901" y="6047"/>
                  <a:pt x="2936" y="5984"/>
                  <a:pt x="2941" y="5975"/>
                </a:cubicBezTo>
                <a:cubicBezTo>
                  <a:pt x="2946" y="5965"/>
                  <a:pt x="2961" y="5938"/>
                  <a:pt x="2975" y="5918"/>
                </a:cubicBezTo>
                <a:cubicBezTo>
                  <a:pt x="2988" y="5897"/>
                  <a:pt x="3005" y="5869"/>
                  <a:pt x="3012" y="5856"/>
                </a:cubicBezTo>
                <a:cubicBezTo>
                  <a:pt x="3020" y="5842"/>
                  <a:pt x="3032" y="5819"/>
                  <a:pt x="3041" y="5806"/>
                </a:cubicBezTo>
                <a:cubicBezTo>
                  <a:pt x="3050" y="5792"/>
                  <a:pt x="3087" y="5727"/>
                  <a:pt x="3125" y="5662"/>
                </a:cubicBezTo>
                <a:cubicBezTo>
                  <a:pt x="3162" y="5597"/>
                  <a:pt x="3200" y="5532"/>
                  <a:pt x="3208" y="5518"/>
                </a:cubicBezTo>
                <a:cubicBezTo>
                  <a:pt x="3217" y="5505"/>
                  <a:pt x="3230" y="5482"/>
                  <a:pt x="3237" y="5468"/>
                </a:cubicBezTo>
                <a:cubicBezTo>
                  <a:pt x="3245" y="5455"/>
                  <a:pt x="3261" y="5426"/>
                  <a:pt x="3275" y="5406"/>
                </a:cubicBezTo>
                <a:cubicBezTo>
                  <a:pt x="3288" y="5384"/>
                  <a:pt x="3303" y="5359"/>
                  <a:pt x="3308" y="5350"/>
                </a:cubicBezTo>
                <a:cubicBezTo>
                  <a:pt x="3313" y="5340"/>
                  <a:pt x="3348" y="5277"/>
                  <a:pt x="3387" y="5212"/>
                </a:cubicBezTo>
                <a:cubicBezTo>
                  <a:pt x="3426" y="5147"/>
                  <a:pt x="3461" y="5084"/>
                  <a:pt x="3466" y="5075"/>
                </a:cubicBezTo>
                <a:cubicBezTo>
                  <a:pt x="3471" y="5065"/>
                  <a:pt x="3486" y="5038"/>
                  <a:pt x="3500" y="5018"/>
                </a:cubicBezTo>
                <a:cubicBezTo>
                  <a:pt x="3513" y="4997"/>
                  <a:pt x="3530" y="4969"/>
                  <a:pt x="3537" y="4956"/>
                </a:cubicBezTo>
                <a:cubicBezTo>
                  <a:pt x="3545" y="4942"/>
                  <a:pt x="3557" y="4919"/>
                  <a:pt x="3566" y="4906"/>
                </a:cubicBezTo>
                <a:cubicBezTo>
                  <a:pt x="3575" y="4892"/>
                  <a:pt x="3839" y="4440"/>
                  <a:pt x="3863" y="4399"/>
                </a:cubicBezTo>
                <a:cubicBezTo>
                  <a:pt x="3938" y="4268"/>
                  <a:pt x="3881" y="4280"/>
                  <a:pt x="4403" y="4280"/>
                </a:cubicBezTo>
                <a:cubicBezTo>
                  <a:pt x="4656" y="4280"/>
                  <a:pt x="4866" y="4285"/>
                  <a:pt x="4869" y="429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85" name="Earth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C173AD6-46E1-C721-F2A6-88552D019B4D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977501" y="2053010"/>
            <a:ext cx="687395" cy="687395"/>
            <a:chOff x="31" y="32"/>
            <a:chExt cx="423" cy="423"/>
          </a:xfrm>
          <a:solidFill>
            <a:schemeClr val="bg1"/>
          </a:solidFill>
        </p:grpSpPr>
        <p:sp>
          <p:nvSpPr>
            <p:cNvPr id="186" name="Earth2">
              <a:extLst>
                <a:ext uri="{FF2B5EF4-FFF2-40B4-BE49-F238E27FC236}">
                  <a16:creationId xmlns:a16="http://schemas.microsoft.com/office/drawing/2014/main" id="{2F8BDA37-A02B-9622-5B01-C3D6064C7F84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355" y="163"/>
              <a:ext cx="33" cy="20"/>
            </a:xfrm>
            <a:custGeom>
              <a:avLst/>
              <a:gdLst>
                <a:gd name="T0" fmla="*/ 9 w 88"/>
                <a:gd name="T1" fmla="*/ 53 h 55"/>
                <a:gd name="T2" fmla="*/ 48 w 88"/>
                <a:gd name="T3" fmla="*/ 47 h 55"/>
                <a:gd name="T4" fmla="*/ 77 w 88"/>
                <a:gd name="T5" fmla="*/ 55 h 55"/>
                <a:gd name="T6" fmla="*/ 88 w 88"/>
                <a:gd name="T7" fmla="*/ 35 h 55"/>
                <a:gd name="T8" fmla="*/ 20 w 88"/>
                <a:gd name="T9" fmla="*/ 0 h 55"/>
                <a:gd name="T10" fmla="*/ 0 w 88"/>
                <a:gd name="T11" fmla="*/ 37 h 55"/>
                <a:gd name="T12" fmla="*/ 9 w 88"/>
                <a:gd name="T13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55">
                  <a:moveTo>
                    <a:pt x="9" y="53"/>
                  </a:moveTo>
                  <a:lnTo>
                    <a:pt x="48" y="47"/>
                  </a:lnTo>
                  <a:lnTo>
                    <a:pt x="77" y="55"/>
                  </a:lnTo>
                  <a:lnTo>
                    <a:pt x="88" y="35"/>
                  </a:lnTo>
                  <a:lnTo>
                    <a:pt x="20" y="0"/>
                  </a:lnTo>
                  <a:lnTo>
                    <a:pt x="0" y="37"/>
                  </a:lnTo>
                  <a:lnTo>
                    <a:pt x="9" y="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Earth2">
              <a:extLst>
                <a:ext uri="{FF2B5EF4-FFF2-40B4-BE49-F238E27FC236}">
                  <a16:creationId xmlns:a16="http://schemas.microsoft.com/office/drawing/2014/main" id="{56F45CC9-844F-45C3-C685-5A74A71D4CA5}"/>
                </a:ext>
              </a:extLst>
            </p:cNvPr>
            <p:cNvSpPr>
              <a:spLocks noEditPoints="1"/>
            </p:cNvSpPr>
            <p:nvPr>
              <p:custDataLst>
                <p:tags r:id="rId47"/>
              </p:custDataLst>
            </p:nvPr>
          </p:nvSpPr>
          <p:spPr bwMode="auto">
            <a:xfrm>
              <a:off x="31" y="32"/>
              <a:ext cx="423" cy="423"/>
            </a:xfrm>
            <a:custGeom>
              <a:avLst/>
              <a:gdLst>
                <a:gd name="T0" fmla="*/ 761 w 1126"/>
                <a:gd name="T1" fmla="*/ 35 h 1125"/>
                <a:gd name="T2" fmla="*/ 719 w 1126"/>
                <a:gd name="T3" fmla="*/ 21 h 1125"/>
                <a:gd name="T4" fmla="*/ 656 w 1126"/>
                <a:gd name="T5" fmla="*/ 7 h 1125"/>
                <a:gd name="T6" fmla="*/ 608 w 1126"/>
                <a:gd name="T7" fmla="*/ 1 h 1125"/>
                <a:gd name="T8" fmla="*/ 544 w 1126"/>
                <a:gd name="T9" fmla="*/ 0 h 1125"/>
                <a:gd name="T10" fmla="*/ 506 w 1126"/>
                <a:gd name="T11" fmla="*/ 2 h 1125"/>
                <a:gd name="T12" fmla="*/ 469 w 1126"/>
                <a:gd name="T13" fmla="*/ 7 h 1125"/>
                <a:gd name="T14" fmla="*/ 437 w 1126"/>
                <a:gd name="T15" fmla="*/ 14 h 1125"/>
                <a:gd name="T16" fmla="*/ 400 w 1126"/>
                <a:gd name="T17" fmla="*/ 24 h 1125"/>
                <a:gd name="T18" fmla="*/ 371 w 1126"/>
                <a:gd name="T19" fmla="*/ 33 h 1125"/>
                <a:gd name="T20" fmla="*/ 334 w 1126"/>
                <a:gd name="T21" fmla="*/ 48 h 1125"/>
                <a:gd name="T22" fmla="*/ 308 w 1126"/>
                <a:gd name="T23" fmla="*/ 60 h 1125"/>
                <a:gd name="T24" fmla="*/ 273 w 1126"/>
                <a:gd name="T25" fmla="*/ 80 h 1125"/>
                <a:gd name="T26" fmla="*/ 250 w 1126"/>
                <a:gd name="T27" fmla="*/ 94 h 1125"/>
                <a:gd name="T28" fmla="*/ 218 w 1126"/>
                <a:gd name="T29" fmla="*/ 118 h 1125"/>
                <a:gd name="T30" fmla="*/ 197 w 1126"/>
                <a:gd name="T31" fmla="*/ 135 h 1125"/>
                <a:gd name="T32" fmla="*/ 167 w 1126"/>
                <a:gd name="T33" fmla="*/ 162 h 1125"/>
                <a:gd name="T34" fmla="*/ 48 w 1126"/>
                <a:gd name="T35" fmla="*/ 335 h 1125"/>
                <a:gd name="T36" fmla="*/ 35 w 1126"/>
                <a:gd name="T37" fmla="*/ 367 h 1125"/>
                <a:gd name="T38" fmla="*/ 17 w 1126"/>
                <a:gd name="T39" fmla="*/ 426 h 1125"/>
                <a:gd name="T40" fmla="*/ 9 w 1126"/>
                <a:gd name="T41" fmla="*/ 462 h 1125"/>
                <a:gd name="T42" fmla="*/ 3 w 1126"/>
                <a:gd name="T43" fmla="*/ 508 h 1125"/>
                <a:gd name="T44" fmla="*/ 1 w 1126"/>
                <a:gd name="T45" fmla="*/ 546 h 1125"/>
                <a:gd name="T46" fmla="*/ 1013 w 1126"/>
                <a:gd name="T47" fmla="*/ 344 h 1125"/>
                <a:gd name="T48" fmla="*/ 1015 w 1126"/>
                <a:gd name="T49" fmla="*/ 387 h 1125"/>
                <a:gd name="T50" fmla="*/ 1020 w 1126"/>
                <a:gd name="T51" fmla="*/ 494 h 1125"/>
                <a:gd name="T52" fmla="*/ 1062 w 1126"/>
                <a:gd name="T53" fmla="*/ 532 h 1125"/>
                <a:gd name="T54" fmla="*/ 953 w 1126"/>
                <a:gd name="T55" fmla="*/ 613 h 1125"/>
                <a:gd name="T56" fmla="*/ 916 w 1126"/>
                <a:gd name="T57" fmla="*/ 784 h 1125"/>
                <a:gd name="T58" fmla="*/ 745 w 1126"/>
                <a:gd name="T59" fmla="*/ 639 h 1125"/>
                <a:gd name="T60" fmla="*/ 758 w 1126"/>
                <a:gd name="T61" fmla="*/ 423 h 1125"/>
                <a:gd name="T62" fmla="*/ 903 w 1126"/>
                <a:gd name="T63" fmla="*/ 462 h 1125"/>
                <a:gd name="T64" fmla="*/ 832 w 1126"/>
                <a:gd name="T65" fmla="*/ 431 h 1125"/>
                <a:gd name="T66" fmla="*/ 773 w 1126"/>
                <a:gd name="T67" fmla="*/ 378 h 1125"/>
                <a:gd name="T68" fmla="*/ 709 w 1126"/>
                <a:gd name="T69" fmla="*/ 388 h 1125"/>
                <a:gd name="T70" fmla="*/ 674 w 1126"/>
                <a:gd name="T71" fmla="*/ 349 h 1125"/>
                <a:gd name="T72" fmla="*/ 741 w 1126"/>
                <a:gd name="T73" fmla="*/ 266 h 1125"/>
                <a:gd name="T74" fmla="*/ 846 w 1126"/>
                <a:gd name="T75" fmla="*/ 248 h 1125"/>
                <a:gd name="T76" fmla="*/ 824 w 1126"/>
                <a:gd name="T77" fmla="*/ 186 h 1125"/>
                <a:gd name="T78" fmla="*/ 838 w 1126"/>
                <a:gd name="T79" fmla="*/ 145 h 1125"/>
                <a:gd name="T80" fmla="*/ 999 w 1126"/>
                <a:gd name="T81" fmla="*/ 765 h 1125"/>
                <a:gd name="T82" fmla="*/ 524 w 1126"/>
                <a:gd name="T83" fmla="*/ 177 h 1125"/>
                <a:gd name="T84" fmla="*/ 393 w 1126"/>
                <a:gd name="T85" fmla="*/ 92 h 1125"/>
                <a:gd name="T86" fmla="*/ 812 w 1126"/>
                <a:gd name="T87" fmla="*/ 161 h 1125"/>
                <a:gd name="T88" fmla="*/ 761 w 1126"/>
                <a:gd name="T89" fmla="*/ 219 h 1125"/>
                <a:gd name="T90" fmla="*/ 765 w 1126"/>
                <a:gd name="T91" fmla="*/ 120 h 1125"/>
                <a:gd name="T92" fmla="*/ 631 w 1126"/>
                <a:gd name="T93" fmla="*/ 220 h 1125"/>
                <a:gd name="T94" fmla="*/ 696 w 1126"/>
                <a:gd name="T95" fmla="*/ 246 h 1125"/>
                <a:gd name="T96" fmla="*/ 316 w 1126"/>
                <a:gd name="T97" fmla="*/ 146 h 1125"/>
                <a:gd name="T98" fmla="*/ 316 w 1126"/>
                <a:gd name="T99" fmla="*/ 331 h 1125"/>
                <a:gd name="T100" fmla="*/ 446 w 1126"/>
                <a:gd name="T101" fmla="*/ 382 h 1125"/>
                <a:gd name="T102" fmla="*/ 281 w 1126"/>
                <a:gd name="T103" fmla="*/ 519 h 1125"/>
                <a:gd name="T104" fmla="*/ 238 w 1126"/>
                <a:gd name="T105" fmla="*/ 537 h 1125"/>
                <a:gd name="T106" fmla="*/ 297 w 1126"/>
                <a:gd name="T107" fmla="*/ 606 h 1125"/>
                <a:gd name="T108" fmla="*/ 526 w 1126"/>
                <a:gd name="T109" fmla="*/ 703 h 1125"/>
                <a:gd name="T110" fmla="*/ 316 w 1126"/>
                <a:gd name="T111" fmla="*/ 971 h 1125"/>
                <a:gd name="T112" fmla="*/ 328 w 1126"/>
                <a:gd name="T113" fmla="*/ 758 h 1125"/>
                <a:gd name="T114" fmla="*/ 244 w 1126"/>
                <a:gd name="T115" fmla="*/ 580 h 1125"/>
                <a:gd name="T116" fmla="*/ 86 w 1126"/>
                <a:gd name="T117" fmla="*/ 411 h 1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26" h="1125">
                  <a:moveTo>
                    <a:pt x="839" y="72"/>
                  </a:moveTo>
                  <a:cubicBezTo>
                    <a:pt x="839" y="72"/>
                    <a:pt x="839" y="72"/>
                    <a:pt x="839" y="72"/>
                  </a:cubicBezTo>
                  <a:cubicBezTo>
                    <a:pt x="826" y="65"/>
                    <a:pt x="814" y="58"/>
                    <a:pt x="801" y="52"/>
                  </a:cubicBezTo>
                  <a:cubicBezTo>
                    <a:pt x="801" y="52"/>
                    <a:pt x="800" y="52"/>
                    <a:pt x="800" y="52"/>
                  </a:cubicBezTo>
                  <a:cubicBezTo>
                    <a:pt x="787" y="46"/>
                    <a:pt x="774" y="40"/>
                    <a:pt x="761" y="35"/>
                  </a:cubicBezTo>
                  <a:cubicBezTo>
                    <a:pt x="761" y="35"/>
                    <a:pt x="760" y="35"/>
                    <a:pt x="760" y="35"/>
                  </a:cubicBezTo>
                  <a:cubicBezTo>
                    <a:pt x="753" y="32"/>
                    <a:pt x="747" y="30"/>
                    <a:pt x="740" y="28"/>
                  </a:cubicBezTo>
                  <a:cubicBezTo>
                    <a:pt x="740" y="28"/>
                    <a:pt x="739" y="28"/>
                    <a:pt x="738" y="27"/>
                  </a:cubicBezTo>
                  <a:cubicBezTo>
                    <a:pt x="732" y="25"/>
                    <a:pt x="725" y="23"/>
                    <a:pt x="719" y="21"/>
                  </a:cubicBezTo>
                  <a:cubicBezTo>
                    <a:pt x="719" y="21"/>
                    <a:pt x="719" y="21"/>
                    <a:pt x="719" y="21"/>
                  </a:cubicBezTo>
                  <a:cubicBezTo>
                    <a:pt x="712" y="19"/>
                    <a:pt x="705" y="18"/>
                    <a:pt x="699" y="16"/>
                  </a:cubicBezTo>
                  <a:cubicBezTo>
                    <a:pt x="698" y="16"/>
                    <a:pt x="697" y="15"/>
                    <a:pt x="696" y="15"/>
                  </a:cubicBezTo>
                  <a:cubicBezTo>
                    <a:pt x="689" y="14"/>
                    <a:pt x="682" y="12"/>
                    <a:pt x="676" y="11"/>
                  </a:cubicBezTo>
                  <a:lnTo>
                    <a:pt x="675" y="11"/>
                  </a:lnTo>
                  <a:cubicBezTo>
                    <a:pt x="669" y="9"/>
                    <a:pt x="662" y="8"/>
                    <a:pt x="656" y="7"/>
                  </a:cubicBezTo>
                  <a:cubicBezTo>
                    <a:pt x="654" y="7"/>
                    <a:pt x="653" y="7"/>
                    <a:pt x="652" y="7"/>
                  </a:cubicBezTo>
                  <a:cubicBezTo>
                    <a:pt x="646" y="5"/>
                    <a:pt x="639" y="5"/>
                    <a:pt x="632" y="4"/>
                  </a:cubicBezTo>
                  <a:cubicBezTo>
                    <a:pt x="631" y="4"/>
                    <a:pt x="630" y="3"/>
                    <a:pt x="629" y="3"/>
                  </a:cubicBezTo>
                  <a:cubicBezTo>
                    <a:pt x="623" y="3"/>
                    <a:pt x="617" y="2"/>
                    <a:pt x="611" y="2"/>
                  </a:cubicBezTo>
                  <a:cubicBezTo>
                    <a:pt x="610" y="1"/>
                    <a:pt x="609" y="1"/>
                    <a:pt x="608" y="1"/>
                  </a:cubicBezTo>
                  <a:cubicBezTo>
                    <a:pt x="601" y="1"/>
                    <a:pt x="595" y="0"/>
                    <a:pt x="588" y="0"/>
                  </a:cubicBezTo>
                  <a:cubicBezTo>
                    <a:pt x="586" y="0"/>
                    <a:pt x="585" y="0"/>
                    <a:pt x="583" y="0"/>
                  </a:cubicBezTo>
                  <a:cubicBezTo>
                    <a:pt x="577" y="0"/>
                    <a:pt x="570" y="0"/>
                    <a:pt x="563" y="0"/>
                  </a:cubicBezTo>
                  <a:cubicBezTo>
                    <a:pt x="558" y="0"/>
                    <a:pt x="553" y="0"/>
                    <a:pt x="548" y="0"/>
                  </a:cubicBezTo>
                  <a:cubicBezTo>
                    <a:pt x="547" y="0"/>
                    <a:pt x="546" y="0"/>
                    <a:pt x="544" y="0"/>
                  </a:cubicBezTo>
                  <a:cubicBezTo>
                    <a:pt x="541" y="0"/>
                    <a:pt x="538" y="0"/>
                    <a:pt x="534" y="0"/>
                  </a:cubicBezTo>
                  <a:cubicBezTo>
                    <a:pt x="532" y="0"/>
                    <a:pt x="530" y="0"/>
                    <a:pt x="528" y="1"/>
                  </a:cubicBezTo>
                  <a:cubicBezTo>
                    <a:pt x="525" y="1"/>
                    <a:pt x="522" y="1"/>
                    <a:pt x="520" y="1"/>
                  </a:cubicBezTo>
                  <a:cubicBezTo>
                    <a:pt x="517" y="1"/>
                    <a:pt x="515" y="2"/>
                    <a:pt x="513" y="2"/>
                  </a:cubicBezTo>
                  <a:cubicBezTo>
                    <a:pt x="511" y="2"/>
                    <a:pt x="508" y="2"/>
                    <a:pt x="506" y="2"/>
                  </a:cubicBezTo>
                  <a:cubicBezTo>
                    <a:pt x="503" y="3"/>
                    <a:pt x="501" y="3"/>
                    <a:pt x="498" y="3"/>
                  </a:cubicBezTo>
                  <a:cubicBezTo>
                    <a:pt x="496" y="4"/>
                    <a:pt x="494" y="4"/>
                    <a:pt x="492" y="4"/>
                  </a:cubicBezTo>
                  <a:cubicBezTo>
                    <a:pt x="489" y="4"/>
                    <a:pt x="486" y="5"/>
                    <a:pt x="483" y="5"/>
                  </a:cubicBezTo>
                  <a:cubicBezTo>
                    <a:pt x="481" y="5"/>
                    <a:pt x="480" y="6"/>
                    <a:pt x="478" y="6"/>
                  </a:cubicBezTo>
                  <a:cubicBezTo>
                    <a:pt x="475" y="6"/>
                    <a:pt x="472" y="7"/>
                    <a:pt x="469" y="7"/>
                  </a:cubicBezTo>
                  <a:cubicBezTo>
                    <a:pt x="467" y="8"/>
                    <a:pt x="465" y="8"/>
                    <a:pt x="464" y="8"/>
                  </a:cubicBezTo>
                  <a:cubicBezTo>
                    <a:pt x="461" y="9"/>
                    <a:pt x="458" y="9"/>
                    <a:pt x="455" y="10"/>
                  </a:cubicBezTo>
                  <a:cubicBezTo>
                    <a:pt x="453" y="10"/>
                    <a:pt x="452" y="10"/>
                    <a:pt x="450" y="11"/>
                  </a:cubicBezTo>
                  <a:cubicBezTo>
                    <a:pt x="447" y="11"/>
                    <a:pt x="444" y="12"/>
                    <a:pt x="441" y="13"/>
                  </a:cubicBezTo>
                  <a:cubicBezTo>
                    <a:pt x="439" y="13"/>
                    <a:pt x="438" y="13"/>
                    <a:pt x="437" y="14"/>
                  </a:cubicBezTo>
                  <a:cubicBezTo>
                    <a:pt x="433" y="15"/>
                    <a:pt x="430" y="15"/>
                    <a:pt x="427" y="16"/>
                  </a:cubicBezTo>
                  <a:cubicBezTo>
                    <a:pt x="426" y="16"/>
                    <a:pt x="424" y="17"/>
                    <a:pt x="423" y="17"/>
                  </a:cubicBezTo>
                  <a:cubicBezTo>
                    <a:pt x="420" y="18"/>
                    <a:pt x="417" y="19"/>
                    <a:pt x="413" y="20"/>
                  </a:cubicBezTo>
                  <a:cubicBezTo>
                    <a:pt x="412" y="20"/>
                    <a:pt x="411" y="20"/>
                    <a:pt x="410" y="21"/>
                  </a:cubicBezTo>
                  <a:cubicBezTo>
                    <a:pt x="406" y="22"/>
                    <a:pt x="403" y="23"/>
                    <a:pt x="400" y="24"/>
                  </a:cubicBezTo>
                  <a:cubicBezTo>
                    <a:pt x="399" y="24"/>
                    <a:pt x="398" y="24"/>
                    <a:pt x="397" y="25"/>
                  </a:cubicBezTo>
                  <a:cubicBezTo>
                    <a:pt x="393" y="26"/>
                    <a:pt x="390" y="27"/>
                    <a:pt x="386" y="28"/>
                  </a:cubicBezTo>
                  <a:cubicBezTo>
                    <a:pt x="385" y="28"/>
                    <a:pt x="384" y="28"/>
                    <a:pt x="383" y="29"/>
                  </a:cubicBezTo>
                  <a:cubicBezTo>
                    <a:pt x="380" y="30"/>
                    <a:pt x="376" y="31"/>
                    <a:pt x="373" y="32"/>
                  </a:cubicBezTo>
                  <a:cubicBezTo>
                    <a:pt x="372" y="33"/>
                    <a:pt x="371" y="33"/>
                    <a:pt x="371" y="33"/>
                  </a:cubicBezTo>
                  <a:cubicBezTo>
                    <a:pt x="367" y="35"/>
                    <a:pt x="363" y="36"/>
                    <a:pt x="360" y="37"/>
                  </a:cubicBezTo>
                  <a:cubicBezTo>
                    <a:pt x="359" y="38"/>
                    <a:pt x="359" y="38"/>
                    <a:pt x="358" y="38"/>
                  </a:cubicBezTo>
                  <a:cubicBezTo>
                    <a:pt x="354" y="40"/>
                    <a:pt x="351" y="41"/>
                    <a:pt x="347" y="42"/>
                  </a:cubicBezTo>
                  <a:cubicBezTo>
                    <a:pt x="346" y="43"/>
                    <a:pt x="346" y="43"/>
                    <a:pt x="345" y="43"/>
                  </a:cubicBezTo>
                  <a:cubicBezTo>
                    <a:pt x="342" y="45"/>
                    <a:pt x="338" y="46"/>
                    <a:pt x="334" y="48"/>
                  </a:cubicBezTo>
                  <a:cubicBezTo>
                    <a:pt x="334" y="48"/>
                    <a:pt x="333" y="48"/>
                    <a:pt x="333" y="49"/>
                  </a:cubicBezTo>
                  <a:cubicBezTo>
                    <a:pt x="329" y="50"/>
                    <a:pt x="325" y="52"/>
                    <a:pt x="322" y="54"/>
                  </a:cubicBezTo>
                  <a:cubicBezTo>
                    <a:pt x="321" y="54"/>
                    <a:pt x="321" y="54"/>
                    <a:pt x="320" y="54"/>
                  </a:cubicBezTo>
                  <a:cubicBezTo>
                    <a:pt x="317" y="56"/>
                    <a:pt x="313" y="58"/>
                    <a:pt x="309" y="60"/>
                  </a:cubicBezTo>
                  <a:cubicBezTo>
                    <a:pt x="309" y="60"/>
                    <a:pt x="309" y="60"/>
                    <a:pt x="308" y="60"/>
                  </a:cubicBezTo>
                  <a:cubicBezTo>
                    <a:pt x="305" y="62"/>
                    <a:pt x="301" y="64"/>
                    <a:pt x="297" y="66"/>
                  </a:cubicBezTo>
                  <a:cubicBezTo>
                    <a:pt x="297" y="66"/>
                    <a:pt x="297" y="67"/>
                    <a:pt x="296" y="67"/>
                  </a:cubicBezTo>
                  <a:cubicBezTo>
                    <a:pt x="293" y="69"/>
                    <a:pt x="289" y="71"/>
                    <a:pt x="285" y="73"/>
                  </a:cubicBezTo>
                  <a:cubicBezTo>
                    <a:pt x="285" y="73"/>
                    <a:pt x="285" y="73"/>
                    <a:pt x="285" y="73"/>
                  </a:cubicBezTo>
                  <a:cubicBezTo>
                    <a:pt x="281" y="75"/>
                    <a:pt x="277" y="77"/>
                    <a:pt x="273" y="80"/>
                  </a:cubicBezTo>
                  <a:lnTo>
                    <a:pt x="273" y="80"/>
                  </a:lnTo>
                  <a:cubicBezTo>
                    <a:pt x="269" y="82"/>
                    <a:pt x="266" y="85"/>
                    <a:pt x="262" y="87"/>
                  </a:cubicBezTo>
                  <a:lnTo>
                    <a:pt x="262" y="87"/>
                  </a:lnTo>
                  <a:cubicBezTo>
                    <a:pt x="258" y="89"/>
                    <a:pt x="254" y="92"/>
                    <a:pt x="251" y="94"/>
                  </a:cubicBezTo>
                  <a:cubicBezTo>
                    <a:pt x="250" y="94"/>
                    <a:pt x="250" y="94"/>
                    <a:pt x="250" y="94"/>
                  </a:cubicBezTo>
                  <a:cubicBezTo>
                    <a:pt x="247" y="97"/>
                    <a:pt x="243" y="99"/>
                    <a:pt x="239" y="102"/>
                  </a:cubicBezTo>
                  <a:lnTo>
                    <a:pt x="239" y="102"/>
                  </a:lnTo>
                  <a:cubicBezTo>
                    <a:pt x="236" y="105"/>
                    <a:pt x="232" y="107"/>
                    <a:pt x="228" y="110"/>
                  </a:cubicBezTo>
                  <a:lnTo>
                    <a:pt x="228" y="110"/>
                  </a:lnTo>
                  <a:cubicBezTo>
                    <a:pt x="225" y="113"/>
                    <a:pt x="221" y="115"/>
                    <a:pt x="218" y="118"/>
                  </a:cubicBezTo>
                  <a:lnTo>
                    <a:pt x="218" y="118"/>
                  </a:lnTo>
                  <a:cubicBezTo>
                    <a:pt x="214" y="121"/>
                    <a:pt x="211" y="124"/>
                    <a:pt x="207" y="126"/>
                  </a:cubicBezTo>
                  <a:lnTo>
                    <a:pt x="207" y="126"/>
                  </a:lnTo>
                  <a:cubicBezTo>
                    <a:pt x="204" y="129"/>
                    <a:pt x="200" y="132"/>
                    <a:pt x="197" y="135"/>
                  </a:cubicBezTo>
                  <a:lnTo>
                    <a:pt x="197" y="135"/>
                  </a:lnTo>
                  <a:cubicBezTo>
                    <a:pt x="193" y="138"/>
                    <a:pt x="190" y="141"/>
                    <a:pt x="187" y="144"/>
                  </a:cubicBezTo>
                  <a:lnTo>
                    <a:pt x="187" y="144"/>
                  </a:lnTo>
                  <a:cubicBezTo>
                    <a:pt x="184" y="147"/>
                    <a:pt x="180" y="150"/>
                    <a:pt x="177" y="153"/>
                  </a:cubicBezTo>
                  <a:lnTo>
                    <a:pt x="177" y="153"/>
                  </a:lnTo>
                  <a:cubicBezTo>
                    <a:pt x="174" y="156"/>
                    <a:pt x="171" y="159"/>
                    <a:pt x="167" y="162"/>
                  </a:cubicBezTo>
                  <a:cubicBezTo>
                    <a:pt x="167" y="162"/>
                    <a:pt x="167" y="162"/>
                    <a:pt x="167" y="162"/>
                  </a:cubicBezTo>
                  <a:lnTo>
                    <a:pt x="167" y="162"/>
                  </a:lnTo>
                  <a:cubicBezTo>
                    <a:pt x="121" y="208"/>
                    <a:pt x="83" y="261"/>
                    <a:pt x="55" y="321"/>
                  </a:cubicBezTo>
                  <a:cubicBezTo>
                    <a:pt x="54" y="322"/>
                    <a:pt x="54" y="323"/>
                    <a:pt x="53" y="324"/>
                  </a:cubicBezTo>
                  <a:cubicBezTo>
                    <a:pt x="52" y="327"/>
                    <a:pt x="50" y="331"/>
                    <a:pt x="48" y="335"/>
                  </a:cubicBezTo>
                  <a:cubicBezTo>
                    <a:pt x="48" y="336"/>
                    <a:pt x="47" y="337"/>
                    <a:pt x="47" y="338"/>
                  </a:cubicBezTo>
                  <a:cubicBezTo>
                    <a:pt x="45" y="342"/>
                    <a:pt x="44" y="345"/>
                    <a:pt x="42" y="349"/>
                  </a:cubicBezTo>
                  <a:cubicBezTo>
                    <a:pt x="42" y="350"/>
                    <a:pt x="41" y="351"/>
                    <a:pt x="41" y="353"/>
                  </a:cubicBezTo>
                  <a:cubicBezTo>
                    <a:pt x="39" y="356"/>
                    <a:pt x="38" y="360"/>
                    <a:pt x="36" y="364"/>
                  </a:cubicBezTo>
                  <a:cubicBezTo>
                    <a:pt x="36" y="365"/>
                    <a:pt x="36" y="366"/>
                    <a:pt x="35" y="367"/>
                  </a:cubicBezTo>
                  <a:cubicBezTo>
                    <a:pt x="32" y="377"/>
                    <a:pt x="28" y="386"/>
                    <a:pt x="25" y="396"/>
                  </a:cubicBezTo>
                  <a:cubicBezTo>
                    <a:pt x="25" y="397"/>
                    <a:pt x="25" y="399"/>
                    <a:pt x="24" y="400"/>
                  </a:cubicBezTo>
                  <a:cubicBezTo>
                    <a:pt x="23" y="403"/>
                    <a:pt x="22" y="407"/>
                    <a:pt x="21" y="411"/>
                  </a:cubicBezTo>
                  <a:cubicBezTo>
                    <a:pt x="21" y="413"/>
                    <a:pt x="20" y="414"/>
                    <a:pt x="20" y="416"/>
                  </a:cubicBezTo>
                  <a:cubicBezTo>
                    <a:pt x="19" y="419"/>
                    <a:pt x="18" y="423"/>
                    <a:pt x="17" y="426"/>
                  </a:cubicBezTo>
                  <a:cubicBezTo>
                    <a:pt x="17" y="428"/>
                    <a:pt x="16" y="429"/>
                    <a:pt x="16" y="431"/>
                  </a:cubicBezTo>
                  <a:cubicBezTo>
                    <a:pt x="15" y="435"/>
                    <a:pt x="14" y="438"/>
                    <a:pt x="13" y="442"/>
                  </a:cubicBezTo>
                  <a:cubicBezTo>
                    <a:pt x="13" y="443"/>
                    <a:pt x="13" y="445"/>
                    <a:pt x="12" y="446"/>
                  </a:cubicBezTo>
                  <a:cubicBezTo>
                    <a:pt x="12" y="451"/>
                    <a:pt x="11" y="455"/>
                    <a:pt x="10" y="459"/>
                  </a:cubicBezTo>
                  <a:cubicBezTo>
                    <a:pt x="10" y="460"/>
                    <a:pt x="10" y="461"/>
                    <a:pt x="9" y="462"/>
                  </a:cubicBezTo>
                  <a:cubicBezTo>
                    <a:pt x="8" y="467"/>
                    <a:pt x="8" y="472"/>
                    <a:pt x="7" y="477"/>
                  </a:cubicBezTo>
                  <a:cubicBezTo>
                    <a:pt x="7" y="478"/>
                    <a:pt x="7" y="479"/>
                    <a:pt x="6" y="480"/>
                  </a:cubicBezTo>
                  <a:cubicBezTo>
                    <a:pt x="6" y="484"/>
                    <a:pt x="5" y="489"/>
                    <a:pt x="5" y="493"/>
                  </a:cubicBezTo>
                  <a:cubicBezTo>
                    <a:pt x="5" y="494"/>
                    <a:pt x="4" y="496"/>
                    <a:pt x="4" y="498"/>
                  </a:cubicBezTo>
                  <a:cubicBezTo>
                    <a:pt x="4" y="501"/>
                    <a:pt x="3" y="505"/>
                    <a:pt x="3" y="508"/>
                  </a:cubicBezTo>
                  <a:cubicBezTo>
                    <a:pt x="3" y="510"/>
                    <a:pt x="3" y="512"/>
                    <a:pt x="3" y="514"/>
                  </a:cubicBezTo>
                  <a:cubicBezTo>
                    <a:pt x="2" y="517"/>
                    <a:pt x="2" y="521"/>
                    <a:pt x="2" y="524"/>
                  </a:cubicBezTo>
                  <a:cubicBezTo>
                    <a:pt x="2" y="526"/>
                    <a:pt x="2" y="528"/>
                    <a:pt x="1" y="530"/>
                  </a:cubicBezTo>
                  <a:cubicBezTo>
                    <a:pt x="1" y="534"/>
                    <a:pt x="1" y="537"/>
                    <a:pt x="1" y="541"/>
                  </a:cubicBezTo>
                  <a:cubicBezTo>
                    <a:pt x="1" y="543"/>
                    <a:pt x="1" y="544"/>
                    <a:pt x="1" y="546"/>
                  </a:cubicBezTo>
                  <a:cubicBezTo>
                    <a:pt x="1" y="551"/>
                    <a:pt x="0" y="557"/>
                    <a:pt x="0" y="562"/>
                  </a:cubicBezTo>
                  <a:cubicBezTo>
                    <a:pt x="0" y="873"/>
                    <a:pt x="252" y="1125"/>
                    <a:pt x="563" y="1125"/>
                  </a:cubicBezTo>
                  <a:cubicBezTo>
                    <a:pt x="874" y="1125"/>
                    <a:pt x="1126" y="873"/>
                    <a:pt x="1126" y="562"/>
                  </a:cubicBezTo>
                  <a:cubicBezTo>
                    <a:pt x="1126" y="352"/>
                    <a:pt x="1010" y="168"/>
                    <a:pt x="839" y="72"/>
                  </a:cubicBezTo>
                  <a:close/>
                  <a:moveTo>
                    <a:pt x="1013" y="344"/>
                  </a:moveTo>
                  <a:lnTo>
                    <a:pt x="977" y="364"/>
                  </a:lnTo>
                  <a:lnTo>
                    <a:pt x="991" y="400"/>
                  </a:lnTo>
                  <a:lnTo>
                    <a:pt x="985" y="425"/>
                  </a:lnTo>
                  <a:lnTo>
                    <a:pt x="1021" y="428"/>
                  </a:lnTo>
                  <a:lnTo>
                    <a:pt x="1015" y="387"/>
                  </a:lnTo>
                  <a:lnTo>
                    <a:pt x="1001" y="368"/>
                  </a:lnTo>
                  <a:lnTo>
                    <a:pt x="1017" y="361"/>
                  </a:lnTo>
                  <a:lnTo>
                    <a:pt x="1017" y="353"/>
                  </a:lnTo>
                  <a:cubicBezTo>
                    <a:pt x="1038" y="399"/>
                    <a:pt x="1053" y="449"/>
                    <a:pt x="1059" y="501"/>
                  </a:cubicBezTo>
                  <a:lnTo>
                    <a:pt x="1020" y="494"/>
                  </a:lnTo>
                  <a:lnTo>
                    <a:pt x="998" y="475"/>
                  </a:lnTo>
                  <a:lnTo>
                    <a:pt x="986" y="481"/>
                  </a:lnTo>
                  <a:lnTo>
                    <a:pt x="1003" y="520"/>
                  </a:lnTo>
                  <a:lnTo>
                    <a:pt x="1028" y="507"/>
                  </a:lnTo>
                  <a:lnTo>
                    <a:pt x="1062" y="532"/>
                  </a:lnTo>
                  <a:lnTo>
                    <a:pt x="1062" y="533"/>
                  </a:lnTo>
                  <a:lnTo>
                    <a:pt x="962" y="592"/>
                  </a:lnTo>
                  <a:lnTo>
                    <a:pt x="911" y="491"/>
                  </a:lnTo>
                  <a:lnTo>
                    <a:pt x="900" y="492"/>
                  </a:lnTo>
                  <a:lnTo>
                    <a:pt x="953" y="613"/>
                  </a:lnTo>
                  <a:lnTo>
                    <a:pt x="1004" y="589"/>
                  </a:lnTo>
                  <a:lnTo>
                    <a:pt x="988" y="645"/>
                  </a:lnTo>
                  <a:lnTo>
                    <a:pt x="937" y="692"/>
                  </a:lnTo>
                  <a:lnTo>
                    <a:pt x="944" y="761"/>
                  </a:lnTo>
                  <a:lnTo>
                    <a:pt x="916" y="784"/>
                  </a:lnTo>
                  <a:lnTo>
                    <a:pt x="862" y="884"/>
                  </a:lnTo>
                  <a:lnTo>
                    <a:pt x="809" y="894"/>
                  </a:lnTo>
                  <a:lnTo>
                    <a:pt x="762" y="781"/>
                  </a:lnTo>
                  <a:lnTo>
                    <a:pt x="774" y="729"/>
                  </a:lnTo>
                  <a:lnTo>
                    <a:pt x="745" y="639"/>
                  </a:lnTo>
                  <a:lnTo>
                    <a:pt x="646" y="645"/>
                  </a:lnTo>
                  <a:lnTo>
                    <a:pt x="592" y="592"/>
                  </a:lnTo>
                  <a:lnTo>
                    <a:pt x="601" y="505"/>
                  </a:lnTo>
                  <a:lnTo>
                    <a:pt x="654" y="441"/>
                  </a:lnTo>
                  <a:lnTo>
                    <a:pt x="758" y="423"/>
                  </a:lnTo>
                  <a:lnTo>
                    <a:pt x="764" y="450"/>
                  </a:lnTo>
                  <a:lnTo>
                    <a:pt x="806" y="478"/>
                  </a:lnTo>
                  <a:lnTo>
                    <a:pt x="822" y="455"/>
                  </a:lnTo>
                  <a:lnTo>
                    <a:pt x="886" y="472"/>
                  </a:lnTo>
                  <a:lnTo>
                    <a:pt x="903" y="462"/>
                  </a:lnTo>
                  <a:lnTo>
                    <a:pt x="910" y="437"/>
                  </a:lnTo>
                  <a:lnTo>
                    <a:pt x="866" y="430"/>
                  </a:lnTo>
                  <a:lnTo>
                    <a:pt x="851" y="405"/>
                  </a:lnTo>
                  <a:lnTo>
                    <a:pt x="841" y="400"/>
                  </a:lnTo>
                  <a:lnTo>
                    <a:pt x="832" y="431"/>
                  </a:lnTo>
                  <a:lnTo>
                    <a:pt x="812" y="407"/>
                  </a:lnTo>
                  <a:lnTo>
                    <a:pt x="814" y="386"/>
                  </a:lnTo>
                  <a:lnTo>
                    <a:pt x="787" y="365"/>
                  </a:lnTo>
                  <a:lnTo>
                    <a:pt x="772" y="357"/>
                  </a:lnTo>
                  <a:lnTo>
                    <a:pt x="773" y="378"/>
                  </a:lnTo>
                  <a:lnTo>
                    <a:pt x="806" y="400"/>
                  </a:lnTo>
                  <a:lnTo>
                    <a:pt x="789" y="420"/>
                  </a:lnTo>
                  <a:lnTo>
                    <a:pt x="765" y="388"/>
                  </a:lnTo>
                  <a:lnTo>
                    <a:pt x="748" y="369"/>
                  </a:lnTo>
                  <a:lnTo>
                    <a:pt x="709" y="388"/>
                  </a:lnTo>
                  <a:lnTo>
                    <a:pt x="682" y="432"/>
                  </a:lnTo>
                  <a:lnTo>
                    <a:pt x="640" y="425"/>
                  </a:lnTo>
                  <a:lnTo>
                    <a:pt x="637" y="373"/>
                  </a:lnTo>
                  <a:lnTo>
                    <a:pt x="691" y="377"/>
                  </a:lnTo>
                  <a:lnTo>
                    <a:pt x="674" y="349"/>
                  </a:lnTo>
                  <a:lnTo>
                    <a:pt x="663" y="327"/>
                  </a:lnTo>
                  <a:lnTo>
                    <a:pt x="704" y="314"/>
                  </a:lnTo>
                  <a:lnTo>
                    <a:pt x="726" y="284"/>
                  </a:lnTo>
                  <a:lnTo>
                    <a:pt x="744" y="283"/>
                  </a:lnTo>
                  <a:lnTo>
                    <a:pt x="741" y="266"/>
                  </a:lnTo>
                  <a:lnTo>
                    <a:pt x="752" y="250"/>
                  </a:lnTo>
                  <a:lnTo>
                    <a:pt x="761" y="276"/>
                  </a:lnTo>
                  <a:lnTo>
                    <a:pt x="812" y="277"/>
                  </a:lnTo>
                  <a:lnTo>
                    <a:pt x="827" y="241"/>
                  </a:lnTo>
                  <a:lnTo>
                    <a:pt x="846" y="248"/>
                  </a:lnTo>
                  <a:lnTo>
                    <a:pt x="840" y="223"/>
                  </a:lnTo>
                  <a:lnTo>
                    <a:pt x="870" y="213"/>
                  </a:lnTo>
                  <a:lnTo>
                    <a:pt x="861" y="202"/>
                  </a:lnTo>
                  <a:lnTo>
                    <a:pt x="833" y="210"/>
                  </a:lnTo>
                  <a:lnTo>
                    <a:pt x="824" y="186"/>
                  </a:lnTo>
                  <a:lnTo>
                    <a:pt x="822" y="186"/>
                  </a:lnTo>
                  <a:lnTo>
                    <a:pt x="823" y="184"/>
                  </a:lnTo>
                  <a:lnTo>
                    <a:pt x="819" y="174"/>
                  </a:lnTo>
                  <a:lnTo>
                    <a:pt x="830" y="167"/>
                  </a:lnTo>
                  <a:lnTo>
                    <a:pt x="838" y="145"/>
                  </a:lnTo>
                  <a:cubicBezTo>
                    <a:pt x="913" y="194"/>
                    <a:pt x="973" y="263"/>
                    <a:pt x="1013" y="344"/>
                  </a:cubicBezTo>
                  <a:close/>
                  <a:moveTo>
                    <a:pt x="957" y="819"/>
                  </a:moveTo>
                  <a:lnTo>
                    <a:pt x="958" y="767"/>
                  </a:lnTo>
                  <a:lnTo>
                    <a:pt x="994" y="739"/>
                  </a:lnTo>
                  <a:lnTo>
                    <a:pt x="999" y="765"/>
                  </a:lnTo>
                  <a:lnTo>
                    <a:pt x="978" y="828"/>
                  </a:lnTo>
                  <a:lnTo>
                    <a:pt x="957" y="819"/>
                  </a:lnTo>
                  <a:close/>
                  <a:moveTo>
                    <a:pt x="531" y="97"/>
                  </a:moveTo>
                  <a:lnTo>
                    <a:pt x="548" y="132"/>
                  </a:lnTo>
                  <a:lnTo>
                    <a:pt x="524" y="177"/>
                  </a:lnTo>
                  <a:lnTo>
                    <a:pt x="523" y="201"/>
                  </a:lnTo>
                  <a:lnTo>
                    <a:pt x="499" y="216"/>
                  </a:lnTo>
                  <a:lnTo>
                    <a:pt x="496" y="278"/>
                  </a:lnTo>
                  <a:lnTo>
                    <a:pt x="461" y="269"/>
                  </a:lnTo>
                  <a:lnTo>
                    <a:pt x="393" y="92"/>
                  </a:lnTo>
                  <a:cubicBezTo>
                    <a:pt x="431" y="78"/>
                    <a:pt x="471" y="69"/>
                    <a:pt x="512" y="65"/>
                  </a:cubicBezTo>
                  <a:lnTo>
                    <a:pt x="531" y="97"/>
                  </a:lnTo>
                  <a:close/>
                  <a:moveTo>
                    <a:pt x="832" y="141"/>
                  </a:moveTo>
                  <a:lnTo>
                    <a:pt x="829" y="141"/>
                  </a:lnTo>
                  <a:lnTo>
                    <a:pt x="812" y="161"/>
                  </a:lnTo>
                  <a:lnTo>
                    <a:pt x="798" y="193"/>
                  </a:lnTo>
                  <a:lnTo>
                    <a:pt x="814" y="210"/>
                  </a:lnTo>
                  <a:lnTo>
                    <a:pt x="798" y="251"/>
                  </a:lnTo>
                  <a:lnTo>
                    <a:pt x="775" y="260"/>
                  </a:lnTo>
                  <a:lnTo>
                    <a:pt x="761" y="219"/>
                  </a:lnTo>
                  <a:lnTo>
                    <a:pt x="734" y="234"/>
                  </a:lnTo>
                  <a:lnTo>
                    <a:pt x="721" y="227"/>
                  </a:lnTo>
                  <a:lnTo>
                    <a:pt x="722" y="186"/>
                  </a:lnTo>
                  <a:lnTo>
                    <a:pt x="746" y="168"/>
                  </a:lnTo>
                  <a:lnTo>
                    <a:pt x="765" y="120"/>
                  </a:lnTo>
                  <a:lnTo>
                    <a:pt x="780" y="112"/>
                  </a:lnTo>
                  <a:cubicBezTo>
                    <a:pt x="798" y="120"/>
                    <a:pt x="815" y="130"/>
                    <a:pt x="832" y="141"/>
                  </a:cubicBezTo>
                  <a:close/>
                  <a:moveTo>
                    <a:pt x="653" y="245"/>
                  </a:moveTo>
                  <a:lnTo>
                    <a:pt x="630" y="245"/>
                  </a:lnTo>
                  <a:lnTo>
                    <a:pt x="631" y="220"/>
                  </a:lnTo>
                  <a:lnTo>
                    <a:pt x="651" y="197"/>
                  </a:lnTo>
                  <a:lnTo>
                    <a:pt x="649" y="179"/>
                  </a:lnTo>
                  <a:lnTo>
                    <a:pt x="670" y="164"/>
                  </a:lnTo>
                  <a:lnTo>
                    <a:pt x="705" y="232"/>
                  </a:lnTo>
                  <a:lnTo>
                    <a:pt x="696" y="246"/>
                  </a:lnTo>
                  <a:lnTo>
                    <a:pt x="664" y="261"/>
                  </a:lnTo>
                  <a:lnTo>
                    <a:pt x="664" y="214"/>
                  </a:lnTo>
                  <a:lnTo>
                    <a:pt x="653" y="245"/>
                  </a:lnTo>
                  <a:close/>
                  <a:moveTo>
                    <a:pt x="280" y="150"/>
                  </a:moveTo>
                  <a:lnTo>
                    <a:pt x="316" y="146"/>
                  </a:lnTo>
                  <a:lnTo>
                    <a:pt x="316" y="224"/>
                  </a:lnTo>
                  <a:lnTo>
                    <a:pt x="254" y="236"/>
                  </a:lnTo>
                  <a:lnTo>
                    <a:pt x="242" y="269"/>
                  </a:lnTo>
                  <a:lnTo>
                    <a:pt x="301" y="333"/>
                  </a:lnTo>
                  <a:lnTo>
                    <a:pt x="316" y="331"/>
                  </a:lnTo>
                  <a:lnTo>
                    <a:pt x="326" y="251"/>
                  </a:lnTo>
                  <a:lnTo>
                    <a:pt x="365" y="249"/>
                  </a:lnTo>
                  <a:lnTo>
                    <a:pt x="381" y="294"/>
                  </a:lnTo>
                  <a:lnTo>
                    <a:pt x="401" y="281"/>
                  </a:lnTo>
                  <a:lnTo>
                    <a:pt x="446" y="382"/>
                  </a:lnTo>
                  <a:lnTo>
                    <a:pt x="383" y="411"/>
                  </a:lnTo>
                  <a:lnTo>
                    <a:pt x="334" y="437"/>
                  </a:lnTo>
                  <a:lnTo>
                    <a:pt x="295" y="490"/>
                  </a:lnTo>
                  <a:lnTo>
                    <a:pt x="295" y="517"/>
                  </a:lnTo>
                  <a:lnTo>
                    <a:pt x="281" y="519"/>
                  </a:lnTo>
                  <a:lnTo>
                    <a:pt x="271" y="490"/>
                  </a:lnTo>
                  <a:lnTo>
                    <a:pt x="215" y="499"/>
                  </a:lnTo>
                  <a:lnTo>
                    <a:pt x="203" y="533"/>
                  </a:lnTo>
                  <a:lnTo>
                    <a:pt x="217" y="554"/>
                  </a:lnTo>
                  <a:lnTo>
                    <a:pt x="238" y="537"/>
                  </a:lnTo>
                  <a:lnTo>
                    <a:pt x="258" y="539"/>
                  </a:lnTo>
                  <a:lnTo>
                    <a:pt x="248" y="568"/>
                  </a:lnTo>
                  <a:lnTo>
                    <a:pt x="273" y="570"/>
                  </a:lnTo>
                  <a:lnTo>
                    <a:pt x="281" y="601"/>
                  </a:lnTo>
                  <a:lnTo>
                    <a:pt x="297" y="606"/>
                  </a:lnTo>
                  <a:lnTo>
                    <a:pt x="309" y="586"/>
                  </a:lnTo>
                  <a:lnTo>
                    <a:pt x="391" y="595"/>
                  </a:lnTo>
                  <a:lnTo>
                    <a:pt x="446" y="636"/>
                  </a:lnTo>
                  <a:lnTo>
                    <a:pt x="455" y="668"/>
                  </a:lnTo>
                  <a:lnTo>
                    <a:pt x="526" y="703"/>
                  </a:lnTo>
                  <a:lnTo>
                    <a:pt x="485" y="787"/>
                  </a:lnTo>
                  <a:lnTo>
                    <a:pt x="445" y="793"/>
                  </a:lnTo>
                  <a:lnTo>
                    <a:pt x="438" y="826"/>
                  </a:lnTo>
                  <a:lnTo>
                    <a:pt x="354" y="898"/>
                  </a:lnTo>
                  <a:lnTo>
                    <a:pt x="316" y="971"/>
                  </a:lnTo>
                  <a:lnTo>
                    <a:pt x="344" y="1002"/>
                  </a:lnTo>
                  <a:lnTo>
                    <a:pt x="310" y="993"/>
                  </a:lnTo>
                  <a:cubicBezTo>
                    <a:pt x="305" y="990"/>
                    <a:pt x="300" y="987"/>
                    <a:pt x="295" y="984"/>
                  </a:cubicBezTo>
                  <a:lnTo>
                    <a:pt x="281" y="949"/>
                  </a:lnTo>
                  <a:lnTo>
                    <a:pt x="328" y="758"/>
                  </a:lnTo>
                  <a:lnTo>
                    <a:pt x="289" y="724"/>
                  </a:lnTo>
                  <a:lnTo>
                    <a:pt x="271" y="650"/>
                  </a:lnTo>
                  <a:lnTo>
                    <a:pt x="293" y="614"/>
                  </a:lnTo>
                  <a:lnTo>
                    <a:pt x="273" y="617"/>
                  </a:lnTo>
                  <a:lnTo>
                    <a:pt x="244" y="580"/>
                  </a:lnTo>
                  <a:lnTo>
                    <a:pt x="219" y="568"/>
                  </a:lnTo>
                  <a:lnTo>
                    <a:pt x="162" y="548"/>
                  </a:lnTo>
                  <a:lnTo>
                    <a:pt x="115" y="474"/>
                  </a:lnTo>
                  <a:lnTo>
                    <a:pt x="86" y="421"/>
                  </a:lnTo>
                  <a:lnTo>
                    <a:pt x="86" y="411"/>
                  </a:lnTo>
                  <a:cubicBezTo>
                    <a:pt x="120" y="304"/>
                    <a:pt x="189" y="213"/>
                    <a:pt x="280" y="15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16" name="Energy_Audi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D76D290-687A-CE75-25D0-8B71822A839B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auto">
          <a:xfrm>
            <a:off x="2863602" y="2004138"/>
            <a:ext cx="511868" cy="708860"/>
            <a:chOff x="8" y="8"/>
            <a:chExt cx="330" cy="457"/>
          </a:xfrm>
          <a:solidFill>
            <a:schemeClr val="bg1">
              <a:lumMod val="95000"/>
            </a:schemeClr>
          </a:solidFill>
        </p:grpSpPr>
        <p:sp>
          <p:nvSpPr>
            <p:cNvPr id="217" name="Energy_Audit">
              <a:extLst>
                <a:ext uri="{FF2B5EF4-FFF2-40B4-BE49-F238E27FC236}">
                  <a16:creationId xmlns:a16="http://schemas.microsoft.com/office/drawing/2014/main" id="{992ABAF9-6C47-BEC2-54E1-4BB6C49C7678}"/>
                </a:ext>
              </a:extLst>
            </p:cNvPr>
            <p:cNvSpPr>
              <a:spLocks noEditPoints="1"/>
            </p:cNvSpPr>
            <p:nvPr>
              <p:custDataLst>
                <p:tags r:id="rId38"/>
              </p:custDataLst>
            </p:nvPr>
          </p:nvSpPr>
          <p:spPr bwMode="auto">
            <a:xfrm>
              <a:off x="8" y="8"/>
              <a:ext cx="330" cy="457"/>
            </a:xfrm>
            <a:custGeom>
              <a:avLst/>
              <a:gdLst>
                <a:gd name="T0" fmla="*/ 613 w 650"/>
                <a:gd name="T1" fmla="*/ 113 h 900"/>
                <a:gd name="T2" fmla="*/ 511 w 650"/>
                <a:gd name="T3" fmla="*/ 113 h 900"/>
                <a:gd name="T4" fmla="*/ 463 w 650"/>
                <a:gd name="T5" fmla="*/ 75 h 900"/>
                <a:gd name="T6" fmla="*/ 386 w 650"/>
                <a:gd name="T7" fmla="*/ 75 h 900"/>
                <a:gd name="T8" fmla="*/ 388 w 650"/>
                <a:gd name="T9" fmla="*/ 63 h 900"/>
                <a:gd name="T10" fmla="*/ 325 w 650"/>
                <a:gd name="T11" fmla="*/ 0 h 900"/>
                <a:gd name="T12" fmla="*/ 263 w 650"/>
                <a:gd name="T13" fmla="*/ 63 h 900"/>
                <a:gd name="T14" fmla="*/ 264 w 650"/>
                <a:gd name="T15" fmla="*/ 75 h 900"/>
                <a:gd name="T16" fmla="*/ 188 w 650"/>
                <a:gd name="T17" fmla="*/ 75 h 900"/>
                <a:gd name="T18" fmla="*/ 139 w 650"/>
                <a:gd name="T19" fmla="*/ 113 h 900"/>
                <a:gd name="T20" fmla="*/ 38 w 650"/>
                <a:gd name="T21" fmla="*/ 113 h 900"/>
                <a:gd name="T22" fmla="*/ 0 w 650"/>
                <a:gd name="T23" fmla="*/ 150 h 900"/>
                <a:gd name="T24" fmla="*/ 0 w 650"/>
                <a:gd name="T25" fmla="*/ 863 h 900"/>
                <a:gd name="T26" fmla="*/ 38 w 650"/>
                <a:gd name="T27" fmla="*/ 900 h 900"/>
                <a:gd name="T28" fmla="*/ 613 w 650"/>
                <a:gd name="T29" fmla="*/ 900 h 900"/>
                <a:gd name="T30" fmla="*/ 650 w 650"/>
                <a:gd name="T31" fmla="*/ 863 h 900"/>
                <a:gd name="T32" fmla="*/ 650 w 650"/>
                <a:gd name="T33" fmla="*/ 150 h 900"/>
                <a:gd name="T34" fmla="*/ 613 w 650"/>
                <a:gd name="T35" fmla="*/ 113 h 900"/>
                <a:gd name="T36" fmla="*/ 288 w 650"/>
                <a:gd name="T37" fmla="*/ 63 h 900"/>
                <a:gd name="T38" fmla="*/ 325 w 650"/>
                <a:gd name="T39" fmla="*/ 25 h 900"/>
                <a:gd name="T40" fmla="*/ 363 w 650"/>
                <a:gd name="T41" fmla="*/ 63 h 900"/>
                <a:gd name="T42" fmla="*/ 360 w 650"/>
                <a:gd name="T43" fmla="*/ 75 h 900"/>
                <a:gd name="T44" fmla="*/ 325 w 650"/>
                <a:gd name="T45" fmla="*/ 100 h 900"/>
                <a:gd name="T46" fmla="*/ 290 w 650"/>
                <a:gd name="T47" fmla="*/ 75 h 900"/>
                <a:gd name="T48" fmla="*/ 288 w 650"/>
                <a:gd name="T49" fmla="*/ 63 h 900"/>
                <a:gd name="T50" fmla="*/ 600 w 650"/>
                <a:gd name="T51" fmla="*/ 825 h 900"/>
                <a:gd name="T52" fmla="*/ 50 w 650"/>
                <a:gd name="T53" fmla="*/ 825 h 900"/>
                <a:gd name="T54" fmla="*/ 50 w 650"/>
                <a:gd name="T55" fmla="*/ 163 h 900"/>
                <a:gd name="T56" fmla="*/ 138 w 650"/>
                <a:gd name="T57" fmla="*/ 163 h 900"/>
                <a:gd name="T58" fmla="*/ 138 w 650"/>
                <a:gd name="T59" fmla="*/ 200 h 900"/>
                <a:gd name="T60" fmla="*/ 513 w 650"/>
                <a:gd name="T61" fmla="*/ 200 h 900"/>
                <a:gd name="T62" fmla="*/ 513 w 650"/>
                <a:gd name="T63" fmla="*/ 163 h 900"/>
                <a:gd name="T64" fmla="*/ 600 w 650"/>
                <a:gd name="T65" fmla="*/ 163 h 900"/>
                <a:gd name="T66" fmla="*/ 600 w 650"/>
                <a:gd name="T67" fmla="*/ 825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50" h="900">
                  <a:moveTo>
                    <a:pt x="613" y="113"/>
                  </a:moveTo>
                  <a:lnTo>
                    <a:pt x="511" y="113"/>
                  </a:lnTo>
                  <a:cubicBezTo>
                    <a:pt x="505" y="91"/>
                    <a:pt x="486" y="75"/>
                    <a:pt x="463" y="75"/>
                  </a:cubicBezTo>
                  <a:lnTo>
                    <a:pt x="386" y="75"/>
                  </a:lnTo>
                  <a:cubicBezTo>
                    <a:pt x="387" y="71"/>
                    <a:pt x="388" y="67"/>
                    <a:pt x="388" y="63"/>
                  </a:cubicBezTo>
                  <a:cubicBezTo>
                    <a:pt x="388" y="28"/>
                    <a:pt x="359" y="0"/>
                    <a:pt x="325" y="0"/>
                  </a:cubicBezTo>
                  <a:cubicBezTo>
                    <a:pt x="291" y="0"/>
                    <a:pt x="263" y="28"/>
                    <a:pt x="263" y="63"/>
                  </a:cubicBezTo>
                  <a:cubicBezTo>
                    <a:pt x="263" y="67"/>
                    <a:pt x="263" y="71"/>
                    <a:pt x="264" y="75"/>
                  </a:cubicBezTo>
                  <a:lnTo>
                    <a:pt x="188" y="75"/>
                  </a:lnTo>
                  <a:cubicBezTo>
                    <a:pt x="164" y="75"/>
                    <a:pt x="145" y="91"/>
                    <a:pt x="139" y="113"/>
                  </a:cubicBezTo>
                  <a:lnTo>
                    <a:pt x="38" y="113"/>
                  </a:lnTo>
                  <a:cubicBezTo>
                    <a:pt x="17" y="113"/>
                    <a:pt x="0" y="129"/>
                    <a:pt x="0" y="150"/>
                  </a:cubicBezTo>
                  <a:lnTo>
                    <a:pt x="0" y="863"/>
                  </a:lnTo>
                  <a:cubicBezTo>
                    <a:pt x="0" y="883"/>
                    <a:pt x="17" y="900"/>
                    <a:pt x="38" y="900"/>
                  </a:cubicBezTo>
                  <a:lnTo>
                    <a:pt x="613" y="900"/>
                  </a:lnTo>
                  <a:cubicBezTo>
                    <a:pt x="633" y="900"/>
                    <a:pt x="650" y="883"/>
                    <a:pt x="650" y="863"/>
                  </a:cubicBezTo>
                  <a:lnTo>
                    <a:pt x="650" y="150"/>
                  </a:lnTo>
                  <a:cubicBezTo>
                    <a:pt x="650" y="129"/>
                    <a:pt x="633" y="113"/>
                    <a:pt x="613" y="113"/>
                  </a:cubicBezTo>
                  <a:close/>
                  <a:moveTo>
                    <a:pt x="288" y="63"/>
                  </a:moveTo>
                  <a:cubicBezTo>
                    <a:pt x="288" y="42"/>
                    <a:pt x="304" y="25"/>
                    <a:pt x="325" y="25"/>
                  </a:cubicBezTo>
                  <a:cubicBezTo>
                    <a:pt x="346" y="25"/>
                    <a:pt x="363" y="42"/>
                    <a:pt x="363" y="63"/>
                  </a:cubicBezTo>
                  <a:cubicBezTo>
                    <a:pt x="363" y="67"/>
                    <a:pt x="362" y="71"/>
                    <a:pt x="360" y="75"/>
                  </a:cubicBezTo>
                  <a:cubicBezTo>
                    <a:pt x="355" y="90"/>
                    <a:pt x="341" y="100"/>
                    <a:pt x="325" y="100"/>
                  </a:cubicBezTo>
                  <a:cubicBezTo>
                    <a:pt x="309" y="100"/>
                    <a:pt x="295" y="90"/>
                    <a:pt x="290" y="75"/>
                  </a:cubicBezTo>
                  <a:cubicBezTo>
                    <a:pt x="288" y="71"/>
                    <a:pt x="288" y="67"/>
                    <a:pt x="288" y="63"/>
                  </a:cubicBezTo>
                  <a:close/>
                  <a:moveTo>
                    <a:pt x="600" y="825"/>
                  </a:moveTo>
                  <a:lnTo>
                    <a:pt x="50" y="825"/>
                  </a:lnTo>
                  <a:lnTo>
                    <a:pt x="50" y="163"/>
                  </a:lnTo>
                  <a:lnTo>
                    <a:pt x="138" y="163"/>
                  </a:lnTo>
                  <a:lnTo>
                    <a:pt x="138" y="200"/>
                  </a:lnTo>
                  <a:lnTo>
                    <a:pt x="513" y="200"/>
                  </a:lnTo>
                  <a:lnTo>
                    <a:pt x="513" y="163"/>
                  </a:lnTo>
                  <a:lnTo>
                    <a:pt x="600" y="163"/>
                  </a:lnTo>
                  <a:lnTo>
                    <a:pt x="600" y="8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8" name="Energy_Audit">
              <a:extLst>
                <a:ext uri="{FF2B5EF4-FFF2-40B4-BE49-F238E27FC236}">
                  <a16:creationId xmlns:a16="http://schemas.microsoft.com/office/drawing/2014/main" id="{5ACD1554-CB04-A15E-9FBB-50234C90578B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59" y="167"/>
              <a:ext cx="83" cy="127"/>
            </a:xfrm>
            <a:custGeom>
              <a:avLst/>
              <a:gdLst>
                <a:gd name="T0" fmla="*/ 88 w 163"/>
                <a:gd name="T1" fmla="*/ 0 h 250"/>
                <a:gd name="T2" fmla="*/ 0 w 163"/>
                <a:gd name="T3" fmla="*/ 150 h 250"/>
                <a:gd name="T4" fmla="*/ 63 w 163"/>
                <a:gd name="T5" fmla="*/ 150 h 250"/>
                <a:gd name="T6" fmla="*/ 13 w 163"/>
                <a:gd name="T7" fmla="*/ 250 h 250"/>
                <a:gd name="T8" fmla="*/ 163 w 163"/>
                <a:gd name="T9" fmla="*/ 100 h 250"/>
                <a:gd name="T10" fmla="*/ 88 w 163"/>
                <a:gd name="T11" fmla="*/ 100 h 250"/>
                <a:gd name="T12" fmla="*/ 150 w 163"/>
                <a:gd name="T13" fmla="*/ 0 h 250"/>
                <a:gd name="T14" fmla="*/ 88 w 163"/>
                <a:gd name="T15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3" h="250">
                  <a:moveTo>
                    <a:pt x="88" y="0"/>
                  </a:moveTo>
                  <a:lnTo>
                    <a:pt x="0" y="150"/>
                  </a:lnTo>
                  <a:lnTo>
                    <a:pt x="63" y="150"/>
                  </a:lnTo>
                  <a:lnTo>
                    <a:pt x="13" y="250"/>
                  </a:lnTo>
                  <a:lnTo>
                    <a:pt x="163" y="100"/>
                  </a:lnTo>
                  <a:lnTo>
                    <a:pt x="88" y="100"/>
                  </a:lnTo>
                  <a:lnTo>
                    <a:pt x="150" y="0"/>
                  </a:lnTo>
                  <a:lnTo>
                    <a:pt x="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9" name="Energy_Audit">
              <a:extLst>
                <a:ext uri="{FF2B5EF4-FFF2-40B4-BE49-F238E27FC236}">
                  <a16:creationId xmlns:a16="http://schemas.microsoft.com/office/drawing/2014/main" id="{08535681-44C7-79CF-DDAE-A8F9AE2DABC3}"/>
                </a:ext>
              </a:extLst>
            </p:cNvPr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auto">
            <a:xfrm>
              <a:off x="186" y="167"/>
              <a:ext cx="108" cy="1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0" name="Energy_Audit">
              <a:extLst>
                <a:ext uri="{FF2B5EF4-FFF2-40B4-BE49-F238E27FC236}">
                  <a16:creationId xmlns:a16="http://schemas.microsoft.com/office/drawing/2014/main" id="{D52DA150-E70E-5819-A477-EAE5A396F5D7}"/>
                </a:ext>
              </a:extLst>
            </p:cNvPr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auto">
            <a:xfrm>
              <a:off x="186" y="205"/>
              <a:ext cx="108" cy="1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1" name="Energy_Audit">
              <a:extLst>
                <a:ext uri="{FF2B5EF4-FFF2-40B4-BE49-F238E27FC236}">
                  <a16:creationId xmlns:a16="http://schemas.microsoft.com/office/drawing/2014/main" id="{E2A3C675-F679-DFCB-712B-5325EE51E09D}"/>
                </a:ext>
              </a:extLst>
            </p:cNvPr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auto">
            <a:xfrm>
              <a:off x="186" y="243"/>
              <a:ext cx="108" cy="1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2" name="Energy_Audit">
              <a:extLst>
                <a:ext uri="{FF2B5EF4-FFF2-40B4-BE49-F238E27FC236}">
                  <a16:creationId xmlns:a16="http://schemas.microsoft.com/office/drawing/2014/main" id="{05B06BF9-F681-C0AA-330C-4D6F04BB2577}"/>
                </a:ext>
              </a:extLst>
            </p:cNvPr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auto">
            <a:xfrm>
              <a:off x="186" y="281"/>
              <a:ext cx="108" cy="1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3" name="Energy_Audit">
              <a:extLst>
                <a:ext uri="{FF2B5EF4-FFF2-40B4-BE49-F238E27FC236}">
                  <a16:creationId xmlns:a16="http://schemas.microsoft.com/office/drawing/2014/main" id="{ECB62BF5-1904-D886-9D7D-3C1562B362B6}"/>
                </a:ext>
              </a:extLst>
            </p:cNvPr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auto">
            <a:xfrm>
              <a:off x="186" y="320"/>
              <a:ext cx="108" cy="1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4" name="Energy_Audit">
              <a:extLst>
                <a:ext uri="{FF2B5EF4-FFF2-40B4-BE49-F238E27FC236}">
                  <a16:creationId xmlns:a16="http://schemas.microsoft.com/office/drawing/2014/main" id="{0C9653FE-BA99-7FF3-16E5-D263C00D8571}"/>
                </a:ext>
              </a:extLst>
            </p:cNvPr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auto">
            <a:xfrm>
              <a:off x="186" y="358"/>
              <a:ext cx="108" cy="1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28" name="Rectangle: Rounded Corners 227">
            <a:extLst>
              <a:ext uri="{FF2B5EF4-FFF2-40B4-BE49-F238E27FC236}">
                <a16:creationId xmlns:a16="http://schemas.microsoft.com/office/drawing/2014/main" id="{55490FCA-3B3F-9F1E-6A7E-95D39B9BC398}"/>
              </a:ext>
            </a:extLst>
          </p:cNvPr>
          <p:cNvSpPr/>
          <p:nvPr/>
        </p:nvSpPr>
        <p:spPr>
          <a:xfrm>
            <a:off x="548650" y="1238240"/>
            <a:ext cx="1425465" cy="459090"/>
          </a:xfrm>
          <a:prstGeom prst="roundRect">
            <a:avLst/>
          </a:prstGeom>
          <a:ln w="38100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Reconnaissan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Exploration</a:t>
            </a:r>
          </a:p>
        </p:txBody>
      </p:sp>
      <p:sp>
        <p:nvSpPr>
          <p:cNvPr id="229" name="Rectangle: Rounded Corners 228">
            <a:extLst>
              <a:ext uri="{FF2B5EF4-FFF2-40B4-BE49-F238E27FC236}">
                <a16:creationId xmlns:a16="http://schemas.microsoft.com/office/drawing/2014/main" id="{ACE4B4C2-6F97-7413-3716-DF7293D61CDB}"/>
              </a:ext>
            </a:extLst>
          </p:cNvPr>
          <p:cNvSpPr/>
          <p:nvPr/>
        </p:nvSpPr>
        <p:spPr>
          <a:xfrm>
            <a:off x="2383898" y="1246259"/>
            <a:ext cx="1425465" cy="459090"/>
          </a:xfrm>
          <a:prstGeom prst="roundRect">
            <a:avLst/>
          </a:prstGeom>
          <a:solidFill>
            <a:schemeClr val="accent2"/>
          </a:solidFill>
          <a:ln w="38100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Pre-Feasibility</a:t>
            </a:r>
          </a:p>
        </p:txBody>
      </p:sp>
      <p:sp>
        <p:nvSpPr>
          <p:cNvPr id="230" name="Rectangle: Rounded Corners 229">
            <a:extLst>
              <a:ext uri="{FF2B5EF4-FFF2-40B4-BE49-F238E27FC236}">
                <a16:creationId xmlns:a16="http://schemas.microsoft.com/office/drawing/2014/main" id="{5B4E80A0-2662-8EB0-1102-89EEFEBF0572}"/>
              </a:ext>
            </a:extLst>
          </p:cNvPr>
          <p:cNvSpPr/>
          <p:nvPr/>
        </p:nvSpPr>
        <p:spPr>
          <a:xfrm>
            <a:off x="4202833" y="1246259"/>
            <a:ext cx="1425465" cy="459090"/>
          </a:xfrm>
          <a:prstGeom prst="roundRect">
            <a:avLst/>
          </a:prstGeom>
          <a:solidFill>
            <a:schemeClr val="accent3"/>
          </a:solidFill>
          <a:ln w="38100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Feasibility</a:t>
            </a:r>
          </a:p>
        </p:txBody>
      </p:sp>
      <p:sp>
        <p:nvSpPr>
          <p:cNvPr id="232" name="Rectangle: Rounded Corners 231">
            <a:extLst>
              <a:ext uri="{FF2B5EF4-FFF2-40B4-BE49-F238E27FC236}">
                <a16:creationId xmlns:a16="http://schemas.microsoft.com/office/drawing/2014/main" id="{51555DC5-F4F4-7072-E4BC-0C586EA230E7}"/>
              </a:ext>
            </a:extLst>
          </p:cNvPr>
          <p:cNvSpPr/>
          <p:nvPr/>
        </p:nvSpPr>
        <p:spPr>
          <a:xfrm>
            <a:off x="5964710" y="1246259"/>
            <a:ext cx="1425465" cy="459090"/>
          </a:xfrm>
          <a:prstGeom prst="roundRect">
            <a:avLst/>
          </a:prstGeom>
          <a:solidFill>
            <a:srgbClr val="5161FF"/>
          </a:solidFill>
          <a:ln w="38100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Developme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Drilling</a:t>
            </a:r>
          </a:p>
        </p:txBody>
      </p:sp>
      <p:sp>
        <p:nvSpPr>
          <p:cNvPr id="233" name="Rectangle: Rounded Corners 232">
            <a:extLst>
              <a:ext uri="{FF2B5EF4-FFF2-40B4-BE49-F238E27FC236}">
                <a16:creationId xmlns:a16="http://schemas.microsoft.com/office/drawing/2014/main" id="{2A00A6C4-6543-9741-6D98-75C1AAA93508}"/>
              </a:ext>
            </a:extLst>
          </p:cNvPr>
          <p:cNvSpPr/>
          <p:nvPr/>
        </p:nvSpPr>
        <p:spPr>
          <a:xfrm>
            <a:off x="7804725" y="1238240"/>
            <a:ext cx="1425465" cy="459090"/>
          </a:xfrm>
          <a:prstGeom prst="roundRect">
            <a:avLst/>
          </a:prstGeom>
          <a:solidFill>
            <a:srgbClr val="5161FF"/>
          </a:solidFill>
          <a:ln w="38100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Power Plant</a:t>
            </a:r>
          </a:p>
        </p:txBody>
      </p:sp>
      <p:sp>
        <p:nvSpPr>
          <p:cNvPr id="234" name="Rectangle: Rounded Corners 233">
            <a:extLst>
              <a:ext uri="{FF2B5EF4-FFF2-40B4-BE49-F238E27FC236}">
                <a16:creationId xmlns:a16="http://schemas.microsoft.com/office/drawing/2014/main" id="{749C7E49-D57B-3EB3-790C-C2B3FE8340D1}"/>
              </a:ext>
            </a:extLst>
          </p:cNvPr>
          <p:cNvSpPr/>
          <p:nvPr/>
        </p:nvSpPr>
        <p:spPr>
          <a:xfrm>
            <a:off x="9577744" y="1246259"/>
            <a:ext cx="1425465" cy="459090"/>
          </a:xfrm>
          <a:prstGeom prst="roundRect">
            <a:avLst/>
          </a:prstGeom>
          <a:solidFill>
            <a:srgbClr val="007E84"/>
          </a:solidFill>
          <a:ln w="38100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Operations</a:t>
            </a:r>
          </a:p>
        </p:txBody>
      </p:sp>
      <p:sp>
        <p:nvSpPr>
          <p:cNvPr id="17" name="TextBox 19">
            <a:extLst>
              <a:ext uri="{FF2B5EF4-FFF2-40B4-BE49-F238E27FC236}">
                <a16:creationId xmlns:a16="http://schemas.microsoft.com/office/drawing/2014/main" id="{B1B5C940-25CC-C02D-4FE0-79ECB88F603E}"/>
              </a:ext>
            </a:extLst>
          </p:cNvPr>
          <p:cNvSpPr txBox="1"/>
          <p:nvPr/>
        </p:nvSpPr>
        <p:spPr>
          <a:xfrm>
            <a:off x="28454" y="6657974"/>
            <a:ext cx="2291436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Source: www.slb.com/Geothermal</a:t>
            </a: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577D6568-71BD-902D-7C10-D6414AE9E95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82625" y="4249738"/>
            <a:ext cx="1785938" cy="2143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SLB Sans" panose="02000503040000020004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2pPr>
            <a:lvl3pPr marL="342900" indent="-3429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→"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3pPr>
            <a:lvl4pPr marL="684000" indent="-342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−"/>
              <a:tabLst/>
              <a:defRPr sz="18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Medium" panose="02000503040000020004" pitchFamily="50" charset="0"/>
                <a:ea typeface="+mn-ea"/>
                <a:cs typeface="+mn-cs"/>
                <a:sym typeface="SLB Sans Medium" panose="02000503040000020004" pitchFamily="50" charset="0"/>
              </a:rPr>
              <a:t>Year 1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LB Sans Medium" panose="02000503040000020004" pitchFamily="50" charset="0"/>
              <a:ea typeface="+mn-ea"/>
              <a:cs typeface="+mn-cs"/>
              <a:sym typeface="SLB Sans Medium" panose="02000503040000020004" pitchFamily="50" charset="0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178554A9-E6AD-0CB3-73C3-CE0324A8C8E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468563" y="4249738"/>
            <a:ext cx="1790700" cy="2143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SLB Sans" panose="02000503040000020004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2pPr>
            <a:lvl3pPr marL="342900" indent="-3429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→"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3pPr>
            <a:lvl4pPr marL="684000" indent="-342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−"/>
              <a:tabLst/>
              <a:defRPr sz="18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Medium" panose="02000503040000020004" pitchFamily="50" charset="0"/>
                <a:ea typeface="+mn-ea"/>
                <a:cs typeface="+mn-cs"/>
                <a:sym typeface="SLB Sans Medium" panose="02000503040000020004" pitchFamily="50" charset="0"/>
              </a:rPr>
              <a:t>Year 1-2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LB Sans Medium" panose="02000503040000020004" pitchFamily="50" charset="0"/>
              <a:ea typeface="+mn-ea"/>
              <a:cs typeface="+mn-cs"/>
              <a:sym typeface="SLB Sans Medium" panose="02000503040000020004" pitchFamily="50" charset="0"/>
            </a:endParaRPr>
          </a:p>
        </p:txBody>
      </p:sp>
      <p:sp>
        <p:nvSpPr>
          <p:cNvPr id="256" name="Text Placeholder 2">
            <a:extLst>
              <a:ext uri="{FF2B5EF4-FFF2-40B4-BE49-F238E27FC236}">
                <a16:creationId xmlns:a16="http://schemas.microsoft.com/office/drawing/2014/main" id="{077188C4-4695-00EC-1DBE-96C9BA2C652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259263" y="4249738"/>
            <a:ext cx="1785938" cy="2143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SLB Sans" panose="02000503040000020004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2pPr>
            <a:lvl3pPr marL="342900" indent="-3429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→"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3pPr>
            <a:lvl4pPr marL="684000" indent="-342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−"/>
              <a:tabLst/>
              <a:defRPr sz="18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Medium" panose="02000503040000020004" pitchFamily="50" charset="0"/>
                <a:ea typeface="+mn-ea"/>
                <a:cs typeface="+mn-cs"/>
                <a:sym typeface="SLB Sans Medium" panose="02000503040000020004" pitchFamily="50" charset="0"/>
              </a:rPr>
              <a:t>Year 2-3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LB Sans Medium" panose="02000503040000020004" pitchFamily="50" charset="0"/>
              <a:ea typeface="+mn-ea"/>
              <a:cs typeface="+mn-cs"/>
              <a:sym typeface="SLB Sans Medium" panose="02000503040000020004" pitchFamily="50" charset="0"/>
            </a:endParaRPr>
          </a:p>
        </p:txBody>
      </p:sp>
      <p:sp>
        <p:nvSpPr>
          <p:cNvPr id="257" name="Text Placeholder 2">
            <a:extLst>
              <a:ext uri="{FF2B5EF4-FFF2-40B4-BE49-F238E27FC236}">
                <a16:creationId xmlns:a16="http://schemas.microsoft.com/office/drawing/2014/main" id="{5FE3BAFC-BA17-08CB-D6DB-3E1AD55984D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045200" y="4249738"/>
            <a:ext cx="1785938" cy="2143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SLB Sans" panose="02000503040000020004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2pPr>
            <a:lvl3pPr marL="342900" indent="-3429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→"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3pPr>
            <a:lvl4pPr marL="684000" indent="-342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−"/>
              <a:tabLst/>
              <a:defRPr sz="18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Medium" panose="02000503040000020004" pitchFamily="50" charset="0"/>
                <a:ea typeface="+mn-ea"/>
                <a:cs typeface="+mn-cs"/>
                <a:sym typeface="SLB Sans Medium" panose="02000503040000020004" pitchFamily="50" charset="0"/>
              </a:rPr>
              <a:t>Year 3-4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LB Sans Medium" panose="02000503040000020004" pitchFamily="50" charset="0"/>
              <a:ea typeface="+mn-ea"/>
              <a:cs typeface="+mn-cs"/>
              <a:sym typeface="SLB Sans Medium" panose="02000503040000020004" pitchFamily="50" charset="0"/>
            </a:endParaRPr>
          </a:p>
        </p:txBody>
      </p:sp>
      <p:sp>
        <p:nvSpPr>
          <p:cNvPr id="258" name="Text Placeholder 2">
            <a:extLst>
              <a:ext uri="{FF2B5EF4-FFF2-40B4-BE49-F238E27FC236}">
                <a16:creationId xmlns:a16="http://schemas.microsoft.com/office/drawing/2014/main" id="{67D46F2F-84AE-9DEF-D290-1FCA86EAC5C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831138" y="4249738"/>
            <a:ext cx="1785938" cy="2143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SLB Sans" panose="02000503040000020004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2pPr>
            <a:lvl3pPr marL="342900" indent="-3429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→"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3pPr>
            <a:lvl4pPr marL="684000" indent="-342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−"/>
              <a:tabLst/>
              <a:defRPr sz="18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Medium" panose="02000503040000020004" pitchFamily="50" charset="0"/>
                <a:ea typeface="+mn-ea"/>
                <a:cs typeface="+mn-cs"/>
                <a:sym typeface="SLB Sans Medium" panose="02000503040000020004" pitchFamily="50" charset="0"/>
              </a:rPr>
              <a:t>Year 4-5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LB Sans Medium" panose="02000503040000020004" pitchFamily="50" charset="0"/>
              <a:ea typeface="+mn-ea"/>
              <a:cs typeface="+mn-cs"/>
              <a:sym typeface="SLB Sans Medium" panose="02000503040000020004" pitchFamily="50" charset="0"/>
            </a:endParaRPr>
          </a:p>
        </p:txBody>
      </p:sp>
      <p:sp>
        <p:nvSpPr>
          <p:cNvPr id="259" name="Text Placeholder 2">
            <a:extLst>
              <a:ext uri="{FF2B5EF4-FFF2-40B4-BE49-F238E27FC236}">
                <a16:creationId xmlns:a16="http://schemas.microsoft.com/office/drawing/2014/main" id="{878F9688-C7F5-549A-C640-54288E4269F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617075" y="4249738"/>
            <a:ext cx="1790700" cy="2143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0638" rIns="0" bIns="2063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SLB Sans" panose="02000503040000020004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2pPr>
            <a:lvl3pPr marL="342900" indent="-3429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→"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3pPr>
            <a:lvl4pPr marL="684000" indent="-342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−"/>
              <a:tabLst/>
              <a:defRPr sz="18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en-US" sz="1200" dirty="0">
                <a:solidFill>
                  <a:srgbClr val="000000"/>
                </a:solidFill>
                <a:latin typeface="SLB Sans Medium" panose="02000503040000020004" pitchFamily="50" charset="0"/>
                <a:sym typeface="SLB Sans Medium" panose="02000503040000020004" pitchFamily="50" charset="0"/>
              </a:rPr>
              <a:t>Year</a:t>
            </a:r>
            <a:r>
              <a:rPr kumimoji="0" lang="en-US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Medium" panose="02000503040000020004" pitchFamily="50" charset="0"/>
                <a:ea typeface="+mn-ea"/>
                <a:cs typeface="+mn-cs"/>
                <a:sym typeface="SLB Sans Medium" panose="02000503040000020004" pitchFamily="50" charset="0"/>
              </a:rPr>
              <a:t> 5+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LB Sans Medium" panose="02000503040000020004" pitchFamily="50" charset="0"/>
              <a:ea typeface="+mn-ea"/>
              <a:cs typeface="+mn-cs"/>
              <a:sym typeface="SLB Sans Medium" panose="02000503040000020004" pitchFamily="50" charset="0"/>
            </a:endParaRPr>
          </a:p>
        </p:txBody>
      </p:sp>
      <p:cxnSp>
        <p:nvCxnSpPr>
          <p:cNvPr id="272" name="Straight Connector 271">
            <a:extLst>
              <a:ext uri="{FF2B5EF4-FFF2-40B4-BE49-F238E27FC236}">
                <a16:creationId xmlns:a16="http://schemas.microsoft.com/office/drawing/2014/main" id="{E372472E-F41F-EDBE-CD5E-9202DFA3051C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2468563" y="4464050"/>
            <a:ext cx="0" cy="2006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sm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3" name="Straight Connector 272">
            <a:extLst>
              <a:ext uri="{FF2B5EF4-FFF2-40B4-BE49-F238E27FC236}">
                <a16:creationId xmlns:a16="http://schemas.microsoft.com/office/drawing/2014/main" id="{91F563FD-00CC-0274-4CB9-856163E74C55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4259263" y="4464050"/>
            <a:ext cx="0" cy="2006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sm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4" name="Straight Connector 273">
            <a:extLst>
              <a:ext uri="{FF2B5EF4-FFF2-40B4-BE49-F238E27FC236}">
                <a16:creationId xmlns:a16="http://schemas.microsoft.com/office/drawing/2014/main" id="{2AB43808-9B73-D304-ABE7-54F5086F7475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6045200" y="4464050"/>
            <a:ext cx="0" cy="2006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sm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5" name="Straight Connector 274">
            <a:extLst>
              <a:ext uri="{FF2B5EF4-FFF2-40B4-BE49-F238E27FC236}">
                <a16:creationId xmlns:a16="http://schemas.microsoft.com/office/drawing/2014/main" id="{89609FE2-394B-2EB2-BDA1-31D067CA6BDD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7831138" y="4464050"/>
            <a:ext cx="0" cy="2006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sm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6" name="Straight Connector 275">
            <a:extLst>
              <a:ext uri="{FF2B5EF4-FFF2-40B4-BE49-F238E27FC236}">
                <a16:creationId xmlns:a16="http://schemas.microsoft.com/office/drawing/2014/main" id="{12EEDB8D-B848-082B-48A9-E248C08AA306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9617075" y="4464050"/>
            <a:ext cx="0" cy="20066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sm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0" name="Straight Connector 259">
            <a:extLst>
              <a:ext uri="{FF2B5EF4-FFF2-40B4-BE49-F238E27FC236}">
                <a16:creationId xmlns:a16="http://schemas.microsoft.com/office/drawing/2014/main" id="{3FC0661E-7983-529F-7A41-55D098A96CF0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682625" y="4464050"/>
            <a:ext cx="0" cy="2006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sm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8" name="Straight Connector 277">
            <a:extLst>
              <a:ext uri="{FF2B5EF4-FFF2-40B4-BE49-F238E27FC236}">
                <a16:creationId xmlns:a16="http://schemas.microsoft.com/office/drawing/2014/main" id="{B0FCE56B-10BE-0ABB-B2AF-9D54F436592B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11407775" y="4464050"/>
            <a:ext cx="0" cy="2006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sm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1" name="Straight Connector 270">
            <a:extLst>
              <a:ext uri="{FF2B5EF4-FFF2-40B4-BE49-F238E27FC236}">
                <a16:creationId xmlns:a16="http://schemas.microsoft.com/office/drawing/2014/main" id="{5C807615-8069-0856-37E5-46DC942905A7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238125" y="4464050"/>
            <a:ext cx="0" cy="20066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sm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9" name="Straight Connector 278">
            <a:extLst>
              <a:ext uri="{FF2B5EF4-FFF2-40B4-BE49-F238E27FC236}">
                <a16:creationId xmlns:a16="http://schemas.microsoft.com/office/drawing/2014/main" id="{0E9D753E-E8DB-1A7D-0DD8-226D3B6C1E8C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238125" y="6470650"/>
            <a:ext cx="1116965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sm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0" name="Straight Connector 279">
            <a:extLst>
              <a:ext uri="{FF2B5EF4-FFF2-40B4-BE49-F238E27FC236}">
                <a16:creationId xmlns:a16="http://schemas.microsoft.com/office/drawing/2014/main" id="{D90D86F5-4526-B637-FC0E-9410D3D05A92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238125" y="4464050"/>
            <a:ext cx="1116965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sm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F19A163E-39A7-38D7-B0F4-66BACC963C10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9725025" y="4960938"/>
            <a:ext cx="1784350" cy="158750"/>
          </a:xfrm>
          <a:prstGeom prst="rightArrow">
            <a:avLst>
              <a:gd name="adj1" fmla="val 50000"/>
              <a:gd name="adj2" fmla="val 40660"/>
            </a:avLst>
          </a:prstGeom>
          <a:solidFill>
            <a:srgbClr val="007E84"/>
          </a:solidFill>
          <a:ln w="19050" algn="ctr">
            <a:solidFill>
              <a:srgbClr val="007E8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</p:txBody>
      </p:sp>
      <p:sp>
        <p:nvSpPr>
          <p:cNvPr id="301" name="Text Placeholder 2">
            <a:extLst>
              <a:ext uri="{FF2B5EF4-FFF2-40B4-BE49-F238E27FC236}">
                <a16:creationId xmlns:a16="http://schemas.microsoft.com/office/drawing/2014/main" id="{CF33A176-85AF-58E8-7610-39859E71005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09563" y="4970463"/>
            <a:ext cx="301625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SLB Sans" panose="02000503040000020004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2pPr>
            <a:lvl3pPr marL="342900" indent="-3429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→"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3pPr>
            <a:lvl4pPr marL="684000" indent="-342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−"/>
              <a:tabLst/>
              <a:defRPr sz="18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" panose="02000503040000020004" pitchFamily="2" charset="0"/>
                <a:ea typeface="+mn-ea"/>
                <a:cs typeface="+mn-cs"/>
              </a:rPr>
              <a:t>Cost</a:t>
            </a: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LB Sans" panose="02000503040000020004" pitchFamily="50" charset="0"/>
              <a:ea typeface="+mn-ea"/>
              <a:cs typeface="+mn-cs"/>
            </a:endParaRPr>
          </a:p>
        </p:txBody>
      </p:sp>
      <p:sp useBgFill="1">
        <p:nvSpPr>
          <p:cNvPr id="16" name="Text Placeholder 2">
            <a:extLst>
              <a:ext uri="{FF2B5EF4-FFF2-40B4-BE49-F238E27FC236}">
                <a16:creationId xmlns:a16="http://schemas.microsoft.com/office/drawing/2014/main" id="{437F641F-EEE0-954C-B342-1F2D575C336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9966325" y="5106988"/>
            <a:ext cx="1190625" cy="30480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SLB Sans" panose="02000503040000020004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2pPr>
            <a:lvl3pPr marL="342900" indent="-3429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→"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3pPr>
            <a:lvl4pPr marL="684000" indent="-342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−"/>
              <a:tabLst/>
              <a:defRPr sz="18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" panose="02000503040000020004" pitchFamily="2" charset="0"/>
                <a:ea typeface="+mn-ea"/>
                <a:cs typeface="+mn-cs"/>
              </a:rPr>
              <a:t>Routine Operations</a:t>
            </a:r>
          </a:p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" panose="02000503040000020004" pitchFamily="50" charset="0"/>
                <a:ea typeface="+mn-ea"/>
                <a:cs typeface="+mn-cs"/>
              </a:rPr>
              <a:t>Opex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" panose="02000503040000020004" pitchFamily="50" charset="0"/>
                <a:ea typeface="+mn-ea"/>
                <a:cs typeface="+mn-cs"/>
              </a:rPr>
              <a:t> driven</a:t>
            </a:r>
          </a:p>
        </p:txBody>
      </p:sp>
      <p:sp>
        <p:nvSpPr>
          <p:cNvPr id="306" name="Text Placeholder 2">
            <a:extLst>
              <a:ext uri="{FF2B5EF4-FFF2-40B4-BE49-F238E27FC236}">
                <a16:creationId xmlns:a16="http://schemas.microsoft.com/office/drawing/2014/main" id="{64E9AE0B-502B-81A0-B73E-0EF386A217F2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309563" y="5805488"/>
            <a:ext cx="269875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SLB Sans" panose="02000503040000020004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2pPr>
            <a:lvl3pPr marL="342900" indent="-3429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→"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3pPr>
            <a:lvl4pPr marL="684000" indent="-342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−"/>
              <a:tabLst/>
              <a:defRPr sz="18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" panose="02000503040000020004" pitchFamily="2" charset="0"/>
                <a:ea typeface="+mn-ea"/>
                <a:cs typeface="+mn-cs"/>
              </a:rPr>
              <a:t>Risk</a:t>
            </a: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LB Sans" panose="02000503040000020004" pitchFamily="50" charset="0"/>
              <a:ea typeface="+mn-ea"/>
              <a:cs typeface="+mn-cs"/>
            </a:endParaRPr>
          </a:p>
        </p:txBody>
      </p:sp>
      <p:graphicFrame>
        <p:nvGraphicFramePr>
          <p:cNvPr id="270" name="Chart 269">
            <a:extLst>
              <a:ext uri="{FF2B5EF4-FFF2-40B4-BE49-F238E27FC236}">
                <a16:creationId xmlns:a16="http://schemas.microsoft.com/office/drawing/2014/main" id="{53F56D55-1305-5C57-FDCE-562D7FAB14C7}"/>
              </a:ext>
            </a:extLst>
          </p:cNvPr>
          <p:cNvGraphicFramePr/>
          <p:nvPr>
            <p:custDataLst>
              <p:tags r:id="rId28"/>
            </p:custDataLst>
          </p:nvPr>
        </p:nvGraphicFramePr>
        <p:xfrm>
          <a:off x="596900" y="5154613"/>
          <a:ext cx="5529263" cy="319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368FA5F5-A6F4-83D6-C2D2-CBF04F8F21B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365250" y="5191125"/>
            <a:ext cx="414338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SLB Sans" panose="02000503040000020004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2pPr>
            <a:lvl3pPr marL="342900" indent="-3429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→"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3pPr>
            <a:lvl4pPr marL="684000" indent="-342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−"/>
              <a:tabLst/>
              <a:defRPr sz="18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75EA49F-F66A-4FDA-8C61-798465F655CA}" type="datetime'''''''''''''''0.''1%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" panose="02000503040000020004" pitchFamily="2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.1%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LB Sans" panose="02000503040000020004" pitchFamily="50" charset="0"/>
              <a:ea typeface="+mn-ea"/>
              <a:cs typeface="+mn-cs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368FA5F5-A6F4-83D6-C2D2-CBF04F8F21BA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154363" y="5175250"/>
            <a:ext cx="414338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SLB Sans" panose="02000503040000020004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2pPr>
            <a:lvl3pPr marL="342900" indent="-3429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→"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3pPr>
            <a:lvl4pPr marL="684000" indent="-342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−"/>
              <a:tabLst/>
              <a:defRPr sz="18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3A78B79-D9FF-4B0C-9DDB-E85CC4F56115}" type="datetime'''1''.''0''''''''''''''''''''''''''''''''%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" panose="02000503040000020004" pitchFamily="50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.0%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LB Sans" panose="02000503040000020004" pitchFamily="50" charset="0"/>
              <a:ea typeface="+mn-ea"/>
              <a:cs typeface="+mn-cs"/>
            </a:endParaRPr>
          </a:p>
        </p:txBody>
      </p:sp>
      <p:sp>
        <p:nvSpPr>
          <p:cNvPr id="481" name="Text Placeholder 2">
            <a:extLst>
              <a:ext uri="{FF2B5EF4-FFF2-40B4-BE49-F238E27FC236}">
                <a16:creationId xmlns:a16="http://schemas.microsoft.com/office/drawing/2014/main" id="{368FA5F5-A6F4-83D6-C2D2-CBF04F8F21BA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941888" y="5038725"/>
            <a:ext cx="414338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SLB Sans" panose="02000503040000020004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2pPr>
            <a:lvl3pPr marL="342900" indent="-3429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→"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3pPr>
            <a:lvl4pPr marL="684000" indent="-342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−"/>
              <a:tabLst/>
              <a:defRPr sz="18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6080FA4-E740-41D3-ADEF-C2918E6DBF29}" type="datetime'''''''''''''9''''.0''%''''''''''''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" panose="02000503040000020004" pitchFamily="50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9.0%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LB Sans" panose="02000503040000020004" pitchFamily="50" charset="0"/>
              <a:ea typeface="+mn-ea"/>
              <a:cs typeface="+mn-cs"/>
            </a:endParaRP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715B6618-1D74-98FD-2EE4-0AA0DE8C1736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733425" y="4565650"/>
            <a:ext cx="187325" cy="1397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</p:txBody>
      </p:sp>
      <p:sp>
        <p:nvSpPr>
          <p:cNvPr id="231" name="Text Placeholder 2">
            <a:extLst>
              <a:ext uri="{FF2B5EF4-FFF2-40B4-BE49-F238E27FC236}">
                <a16:creationId xmlns:a16="http://schemas.microsoft.com/office/drawing/2014/main" id="{368FA5F5-A6F4-83D6-C2D2-CBF04F8F21B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971550" y="4567238"/>
            <a:ext cx="1698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SLB Sans" panose="02000503040000020004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2pPr>
            <a:lvl3pPr marL="342900" indent="-3429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→"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3pPr>
            <a:lvl4pPr marL="684000" indent="-342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−"/>
              <a:tabLst/>
              <a:defRPr sz="18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E7C75B5-9F6B-4340-9773-806CB5312F5B}" type="datetime'Sp''''end'''' a''s %'' of T''''''''otal'''' C''''ap''''''''ex'">
              <a:rPr kumimoji="0" lang="en-US" altLang="en-US" sz="105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" panose="02000503040000020004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pend as % of Total Capex</a:t>
            </a:fld>
            <a:r>
              <a:rPr kumimoji="0" lang="en-US" altLang="en-US" sz="1050" b="1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" panose="02000503040000020004" pitchFamily="2" charset="0"/>
                <a:ea typeface="+mn-ea"/>
                <a:cs typeface="+mn-cs"/>
              </a:rPr>
              <a:t>1</a:t>
            </a:r>
            <a:endParaRPr kumimoji="0" lang="en-US" sz="1050" b="1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LB Sans" panose="02000503040000020004" pitchFamily="50" charset="0"/>
              <a:ea typeface="+mn-ea"/>
              <a:cs typeface="+mn-cs"/>
            </a:endParaRPr>
          </a:p>
        </p:txBody>
      </p:sp>
      <p:cxnSp>
        <p:nvCxnSpPr>
          <p:cNvPr id="237" name="Straight Connector 236">
            <a:extLst>
              <a:ext uri="{FF2B5EF4-FFF2-40B4-BE49-F238E27FC236}">
                <a16:creationId xmlns:a16="http://schemas.microsoft.com/office/drawing/2014/main" id="{46FEAED6-0D78-9339-B530-21AEF9CC76AA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>
            <a:off x="679450" y="6010275"/>
            <a:ext cx="8950325" cy="0"/>
          </a:xfrm>
          <a:prstGeom prst="line">
            <a:avLst/>
          </a:prstGeom>
          <a:ln w="9525" cap="flat" cmpd="sng" algn="ctr">
            <a:solidFill>
              <a:srgbClr val="C0C0C0"/>
            </a:solidFill>
            <a:prstDash val="lgDash"/>
            <a:miter lim="800000"/>
            <a:headEnd type="none" w="med" len="med"/>
            <a:tailEnd type="none" w="med" len="sm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68" name="Chart 267">
            <a:extLst>
              <a:ext uri="{FF2B5EF4-FFF2-40B4-BE49-F238E27FC236}">
                <a16:creationId xmlns:a16="http://schemas.microsoft.com/office/drawing/2014/main" id="{BB98A2EE-2165-ACF2-977F-25F98D917496}"/>
              </a:ext>
            </a:extLst>
          </p:cNvPr>
          <p:cNvGraphicFramePr/>
          <p:nvPr>
            <p:custDataLst>
              <p:tags r:id="rId35"/>
            </p:custDataLst>
          </p:nvPr>
        </p:nvGraphicFramePr>
        <p:xfrm>
          <a:off x="596900" y="5467350"/>
          <a:ext cx="9115425" cy="1085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sp>
        <p:nvSpPr>
          <p:cNvPr id="244" name="TextBox 243">
            <a:extLst>
              <a:ext uri="{FF2B5EF4-FFF2-40B4-BE49-F238E27FC236}">
                <a16:creationId xmlns:a16="http://schemas.microsoft.com/office/drawing/2014/main" id="{660ADF41-FC2E-2352-653A-6EF0CC86A66B}"/>
              </a:ext>
            </a:extLst>
          </p:cNvPr>
          <p:cNvSpPr txBox="1"/>
          <p:nvPr/>
        </p:nvSpPr>
        <p:spPr>
          <a:xfrm>
            <a:off x="662085" y="5565859"/>
            <a:ext cx="52685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114300" indent="-114300">
              <a:buFont typeface="Wingdings" panose="05000000000000000000" pitchFamily="2" charset="2"/>
              <a:buChar char="§"/>
              <a:defRPr sz="105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High</a:t>
            </a: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B70D47E2-4FAA-4D44-B6E9-49B9E93AE557}"/>
              </a:ext>
            </a:extLst>
          </p:cNvPr>
          <p:cNvSpPr txBox="1"/>
          <p:nvPr/>
        </p:nvSpPr>
        <p:spPr>
          <a:xfrm>
            <a:off x="9250461" y="6088941"/>
            <a:ext cx="52685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114300" indent="-114300">
              <a:buFont typeface="Wingdings" panose="05000000000000000000" pitchFamily="2" charset="2"/>
              <a:buChar char="§"/>
              <a:defRPr sz="105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Low</a:t>
            </a:r>
          </a:p>
        </p:txBody>
      </p:sp>
      <p:sp>
        <p:nvSpPr>
          <p:cNvPr id="490" name="TextBox 489">
            <a:extLst>
              <a:ext uri="{FF2B5EF4-FFF2-40B4-BE49-F238E27FC236}">
                <a16:creationId xmlns:a16="http://schemas.microsoft.com/office/drawing/2014/main" id="{13B91C64-2D83-CC66-2D27-F1C7B58659C1}"/>
              </a:ext>
            </a:extLst>
          </p:cNvPr>
          <p:cNvSpPr txBox="1"/>
          <p:nvPr/>
        </p:nvSpPr>
        <p:spPr>
          <a:xfrm>
            <a:off x="9726" y="6499373"/>
            <a:ext cx="221599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1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. Hypothetical 20 MW project</a:t>
            </a:r>
          </a:p>
        </p:txBody>
      </p:sp>
      <p:sp>
        <p:nvSpPr>
          <p:cNvPr id="497" name="TextBox 496">
            <a:extLst>
              <a:ext uri="{FF2B5EF4-FFF2-40B4-BE49-F238E27FC236}">
                <a16:creationId xmlns:a16="http://schemas.microsoft.com/office/drawing/2014/main" id="{5543F074-7368-0AB2-F46A-327B9123E636}"/>
              </a:ext>
            </a:extLst>
          </p:cNvPr>
          <p:cNvSpPr txBox="1"/>
          <p:nvPr/>
        </p:nvSpPr>
        <p:spPr>
          <a:xfrm>
            <a:off x="5964710" y="847725"/>
            <a:ext cx="3265479" cy="318894"/>
          </a:xfrm>
          <a:prstGeom prst="rect">
            <a:avLst/>
          </a:prstGeom>
          <a:solidFill>
            <a:srgbClr val="5161FF"/>
          </a:solidFill>
          <a:ln w="38100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200" b="1">
                <a:solidFill>
                  <a:srgbClr val="FFFFFF"/>
                </a:solidFill>
                <a:latin typeface="Arial Nova" panose="020B05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Detailed design &amp; Construction</a:t>
            </a:r>
          </a:p>
        </p:txBody>
      </p:sp>
      <p:graphicFrame>
        <p:nvGraphicFramePr>
          <p:cNvPr id="269" name="Chart 268">
            <a:extLst>
              <a:ext uri="{FF2B5EF4-FFF2-40B4-BE49-F238E27FC236}">
                <a16:creationId xmlns:a16="http://schemas.microsoft.com/office/drawing/2014/main" id="{12D927D3-42A7-0E5C-1E20-C914556CC22A}"/>
              </a:ext>
            </a:extLst>
          </p:cNvPr>
          <p:cNvGraphicFramePr/>
          <p:nvPr>
            <p:custDataLst>
              <p:tags r:id="rId36"/>
            </p:custDataLst>
          </p:nvPr>
        </p:nvGraphicFramePr>
        <p:xfrm>
          <a:off x="6061075" y="4691063"/>
          <a:ext cx="3651250" cy="782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6"/>
          </a:graphicData>
        </a:graphic>
      </p:graphicFrame>
      <p:sp>
        <p:nvSpPr>
          <p:cNvPr id="500" name="Text Placeholder 2">
            <a:extLst>
              <a:ext uri="{FF2B5EF4-FFF2-40B4-BE49-F238E27FC236}">
                <a16:creationId xmlns:a16="http://schemas.microsoft.com/office/drawing/2014/main" id="{406C593B-20D0-8917-0DCA-6B30D553594C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7632700" y="4575175"/>
            <a:ext cx="509588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SLB Sans" panose="02000503040000020004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2pPr>
            <a:lvl3pPr marL="342900" indent="-3429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→"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3pPr>
            <a:lvl4pPr marL="684000" indent="-3420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−"/>
              <a:tabLst/>
              <a:defRPr sz="18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SLB Sans Book" panose="0200050304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5049D34-8F10-4221-BE41-6CDC69E9D8C1}" type="datetime'8''''''9''''''''''''''''''''''''.''9''''''''''''''''''%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LB Sans" panose="02000503040000020004" pitchFamily="2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89.9%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LB Sans" panose="02000503040000020004" pitchFamily="50" charset="0"/>
              <a:ea typeface="+mn-ea"/>
              <a:cs typeface="+mn-cs"/>
            </a:endParaRP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DCC0CA38-2D31-DFD2-6D69-204FA946402C}"/>
              </a:ext>
            </a:extLst>
          </p:cNvPr>
          <p:cNvSpPr txBox="1">
            <a:spLocks/>
          </p:cNvSpPr>
          <p:nvPr/>
        </p:nvSpPr>
        <p:spPr>
          <a:xfrm>
            <a:off x="11658600" y="6389924"/>
            <a:ext cx="684212" cy="23024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37C662-D0ED-4587-B264-5C4F0D975D18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CC"/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49491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5CC8F3DC-390E-41E0-A988-331C4C0BE70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8223250" cy="6858000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887747-F320-4DEF-84F2-890B2D829D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887747-F320-4DEF-84F2-890B2D829D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4">
            <a:extLst>
              <a:ext uri="{FF2B5EF4-FFF2-40B4-BE49-F238E27FC236}">
                <a16:creationId xmlns:a16="http://schemas.microsoft.com/office/drawing/2014/main" id="{14C7A7E4-ADF1-6E84-E312-2F09DA89B942}"/>
              </a:ext>
            </a:extLst>
          </p:cNvPr>
          <p:cNvSpPr txBox="1">
            <a:spLocks/>
          </p:cNvSpPr>
          <p:nvPr/>
        </p:nvSpPr>
        <p:spPr>
          <a:xfrm>
            <a:off x="7769225" y="2047164"/>
            <a:ext cx="3651250" cy="2061286"/>
          </a:xfrm>
          <a:prstGeom prst="rect">
            <a:avLst/>
          </a:prstGeom>
        </p:spPr>
        <p:txBody>
          <a:bodyPr vert="horz" lIns="0" tIns="0" rIns="0" bIns="0" rtlCol="0" anchor="t">
            <a:normAutofit fontScale="97500"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48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SLB Sans Light"/>
                <a:ea typeface="+mj-ea"/>
                <a:cs typeface="+mj-cs"/>
              </a:rPr>
              <a:t>Our geothermal capabilitie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E7D3608-3E61-D4B5-E69D-56B7346B134C}"/>
              </a:ext>
            </a:extLst>
          </p:cNvPr>
          <p:cNvSpPr txBox="1">
            <a:spLocks/>
          </p:cNvSpPr>
          <p:nvPr/>
        </p:nvSpPr>
        <p:spPr>
          <a:xfrm>
            <a:off x="8961121" y="4339989"/>
            <a:ext cx="2702796" cy="15972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i="0">
                <a:solidFill>
                  <a:schemeClr val="accent1"/>
                </a:solidFill>
                <a:latin typeface="SLB Sans" panose="02000503040000020004" pitchFamily="2" charset="0"/>
              </a:defRPr>
            </a:lvl1pPr>
            <a:lvl2pPr marL="0" indent="0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>
                <a:solidFill>
                  <a:schemeClr val="accent1"/>
                </a:solidFill>
                <a:latin typeface="SLB Sans Book" panose="02000503040000020004" pitchFamily="2" charset="0"/>
              </a:defRPr>
            </a:lvl2pPr>
            <a:lvl3pPr marL="342900" indent="-342900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→"/>
              <a:defRPr sz="1600" b="0">
                <a:solidFill>
                  <a:schemeClr val="accent1"/>
                </a:solidFill>
                <a:latin typeface="SLB Sans Book" panose="02000503040000020004" pitchFamily="2" charset="0"/>
              </a:defRPr>
            </a:lvl3pPr>
            <a:lvl4pPr marL="684000" indent="-342000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SLB Sans Book" panose="02000503040000020004" pitchFamily="2" charset="0"/>
              <a:buChar char="−"/>
              <a:tabLst/>
              <a:defRPr sz="1600" b="0">
                <a:solidFill>
                  <a:schemeClr val="accent1"/>
                </a:solidFill>
                <a:latin typeface="SLB Sans Book" panose="02000503040000020004" pitchFamily="2" charset="0"/>
              </a:defRPr>
            </a:lvl4pPr>
            <a:lvl5pPr marL="0" indent="0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>
                <a:solidFill>
                  <a:schemeClr val="accent1"/>
                </a:solidFill>
                <a:latin typeface="SLB Sans Book" panose="02000503040000020004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EFFFF"/>
                </a:solidFill>
                <a:effectLst/>
                <a:uLnTx/>
                <a:uFillTx/>
                <a:latin typeface="SLB Sans" panose="02000503040000020004" pitchFamily="2" charset="0"/>
                <a:ea typeface="+mn-ea"/>
                <a:cs typeface="+mn-cs"/>
              </a:rPr>
              <a:t>Half a Century of Geothermal Leadership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D1C66C0-0A67-99C3-BF47-920E1EB3662E}"/>
              </a:ext>
            </a:extLst>
          </p:cNvPr>
          <p:cNvSpPr/>
          <p:nvPr/>
        </p:nvSpPr>
        <p:spPr>
          <a:xfrm>
            <a:off x="9763125" y="142875"/>
            <a:ext cx="2333625" cy="1000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14DB"/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48163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1">
            <a:extLst>
              <a:ext uri="{FF2B5EF4-FFF2-40B4-BE49-F238E27FC236}">
                <a16:creationId xmlns:a16="http://schemas.microsoft.com/office/drawing/2014/main" id="{2439C65B-9254-7ABE-68CD-5EF040DE7D5B}"/>
              </a:ext>
            </a:extLst>
          </p:cNvPr>
          <p:cNvSpPr txBox="1">
            <a:spLocks/>
          </p:cNvSpPr>
          <p:nvPr/>
        </p:nvSpPr>
        <p:spPr>
          <a:xfrm>
            <a:off x="379607" y="361881"/>
            <a:ext cx="11432787" cy="1023573"/>
          </a:xfrm>
          <a:prstGeom prst="rect">
            <a:avLst/>
          </a:prstGeom>
        </p:spPr>
        <p:txBody>
          <a:bodyPr vert="horz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Light"/>
                <a:ea typeface="+mj-ea"/>
                <a:cs typeface="+mj-cs"/>
              </a:rPr>
              <a:t>Geothermal Subsurface Evaluation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0" i="0" u="none" strike="noStrike" kern="1200" cap="none" spc="0" normalizeH="0" baseline="0" noProof="0" dirty="0" err="1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Light"/>
                <a:ea typeface="+mj-ea"/>
                <a:cs typeface="+mj-cs"/>
              </a:rPr>
              <a:t>GeothermEx</a:t>
            </a:r>
            <a:r>
              <a:rPr kumimoji="0" lang="en-US" sz="27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Light"/>
                <a:ea typeface="+mj-ea"/>
                <a:cs typeface="+mj-cs"/>
              </a:rPr>
              <a:t>: gold standard for resource assessment in geothermal industr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766F773-C4F8-9131-3F96-C058F81018C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67725" y="2655727"/>
            <a:ext cx="8507897" cy="3788113"/>
          </a:xfrm>
          <a:prstGeom prst="rect">
            <a:avLst/>
          </a:prstGeom>
        </p:spPr>
      </p:pic>
      <p:sp>
        <p:nvSpPr>
          <p:cNvPr id="24" name="TextBox 1">
            <a:extLst>
              <a:ext uri="{FF2B5EF4-FFF2-40B4-BE49-F238E27FC236}">
                <a16:creationId xmlns:a16="http://schemas.microsoft.com/office/drawing/2014/main" id="{4192F989-F9B1-8B87-8D22-42E6FD150A6E}"/>
              </a:ext>
            </a:extLst>
          </p:cNvPr>
          <p:cNvSpPr txBox="1"/>
          <p:nvPr/>
        </p:nvSpPr>
        <p:spPr>
          <a:xfrm>
            <a:off x="379606" y="1508574"/>
            <a:ext cx="8739455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17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5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53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7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886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063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240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417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Experience &amp; Capabilities</a:t>
            </a:r>
          </a:p>
          <a:p>
            <a:pPr marL="742927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Exploration, development, modeling and optimization of geothermal resource</a:t>
            </a:r>
          </a:p>
          <a:p>
            <a:pPr marL="742927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Resource assessment: quantification of power, heat and minerals in solution</a:t>
            </a:r>
          </a:p>
          <a:p>
            <a:pPr marL="742927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Conventional, EGS and closed-loop (AGS) solutions</a:t>
            </a:r>
          </a:p>
          <a:p>
            <a:pPr marL="742927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14DC"/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Expertise</a:t>
            </a:r>
          </a:p>
          <a:p>
            <a:pPr marL="742927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Geosciences</a:t>
            </a:r>
          </a:p>
          <a:p>
            <a:pPr marL="742927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Reservoir engineering</a:t>
            </a:r>
          </a:p>
          <a:p>
            <a:pPr marL="742927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Field development</a:t>
            </a:r>
          </a:p>
          <a:p>
            <a:pPr marL="742927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Project de-risking</a:t>
            </a:r>
          </a:p>
          <a:p>
            <a:pPr marL="742927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Well testing</a:t>
            </a:r>
          </a:p>
          <a:p>
            <a:pPr marL="742927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Production optimization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14DC"/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</p:txBody>
      </p:sp>
      <p:sp>
        <p:nvSpPr>
          <p:cNvPr id="25" name="TextBox 1">
            <a:extLst>
              <a:ext uri="{FF2B5EF4-FFF2-40B4-BE49-F238E27FC236}">
                <a16:creationId xmlns:a16="http://schemas.microsoft.com/office/drawing/2014/main" id="{8318D048-4E21-5D7B-C5DB-703FEC0FABDB}"/>
              </a:ext>
            </a:extLst>
          </p:cNvPr>
          <p:cNvSpPr txBox="1"/>
          <p:nvPr/>
        </p:nvSpPr>
        <p:spPr>
          <a:xfrm>
            <a:off x="379605" y="4308394"/>
            <a:ext cx="3253057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17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5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53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7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886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063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240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417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Achievements &amp; Experience</a:t>
            </a:r>
          </a:p>
          <a:p>
            <a:pPr marL="742927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50 years in geothermal</a:t>
            </a:r>
          </a:p>
          <a:p>
            <a:pPr marL="742927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Support for project financing for 8.5 GW geothermal power</a:t>
            </a:r>
          </a:p>
          <a:p>
            <a:pPr marL="742927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Involved in $14B+ invested in geothermal projects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</a:b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14DC"/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18197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1">
            <a:extLst>
              <a:ext uri="{FF2B5EF4-FFF2-40B4-BE49-F238E27FC236}">
                <a16:creationId xmlns:a16="http://schemas.microsoft.com/office/drawing/2014/main" id="{2439C65B-9254-7ABE-68CD-5EF040DE7D5B}"/>
              </a:ext>
            </a:extLst>
          </p:cNvPr>
          <p:cNvSpPr txBox="1">
            <a:spLocks/>
          </p:cNvSpPr>
          <p:nvPr/>
        </p:nvSpPr>
        <p:spPr>
          <a:xfrm>
            <a:off x="379607" y="361881"/>
            <a:ext cx="11432787" cy="1023573"/>
          </a:xfrm>
          <a:prstGeom prst="rect">
            <a:avLst/>
          </a:prstGeom>
        </p:spPr>
        <p:txBody>
          <a:bodyPr vert="horz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Light"/>
                <a:ea typeface="+mj-ea"/>
                <a:cs typeface="+mj-cs"/>
              </a:rPr>
              <a:t>Geothermal Digital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Light"/>
                <a:ea typeface="+mj-ea"/>
                <a:cs typeface="+mj-cs"/>
              </a:rPr>
              <a:t>T</a:t>
            </a:r>
            <a:r>
              <a:rPr kumimoji="0" lang="en-US" sz="2700" b="0" i="0" u="none" strike="noStrike" kern="1200" cap="none" spc="0" normalizeH="0" baseline="0" noProof="0" dirty="0" err="1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Light"/>
                <a:ea typeface="+mj-ea"/>
                <a:cs typeface="+mj-cs"/>
              </a:rPr>
              <a:t>ransform</a:t>
            </a:r>
            <a:r>
              <a:rPr kumimoji="0" lang="en-US" sz="27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Light"/>
                <a:ea typeface="+mj-ea"/>
                <a:cs typeface="+mj-cs"/>
              </a:rPr>
              <a:t> geothermal data into business decision that maximizes asset value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EFCD4F10-223A-3FF6-1FAA-BF303A9F521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29217" y="1773451"/>
            <a:ext cx="1875284" cy="1034916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00E3E3AB-6BD2-F2BE-270B-025633399FA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19161" y="1849139"/>
            <a:ext cx="1706616" cy="1038693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4BABA228-42E5-99D6-DE09-EEAFA7FBD9A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96421" y="1865813"/>
            <a:ext cx="1693236" cy="1043412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35D84004-2CC2-9D97-A447-F7E09F97650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84215" y="1952421"/>
            <a:ext cx="1448295" cy="875504"/>
          </a:xfrm>
          <a:prstGeom prst="rect">
            <a:avLst/>
          </a:prstGeom>
        </p:spPr>
      </p:pic>
      <p:grpSp>
        <p:nvGrpSpPr>
          <p:cNvPr id="33" name="Group 32">
            <a:extLst>
              <a:ext uri="{FF2B5EF4-FFF2-40B4-BE49-F238E27FC236}">
                <a16:creationId xmlns:a16="http://schemas.microsoft.com/office/drawing/2014/main" id="{FC8EB4FE-E867-76F3-2ACB-852E7A7EB5CB}"/>
              </a:ext>
            </a:extLst>
          </p:cNvPr>
          <p:cNvGrpSpPr/>
          <p:nvPr/>
        </p:nvGrpSpPr>
        <p:grpSpPr>
          <a:xfrm>
            <a:off x="763684" y="1811897"/>
            <a:ext cx="1657483" cy="1089373"/>
            <a:chOff x="2349294" y="770471"/>
            <a:chExt cx="2069115" cy="1171936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162ED743-41CE-40C6-A907-D4703EF585E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459815" y="810536"/>
              <a:ext cx="958594" cy="724333"/>
            </a:xfrm>
            <a:prstGeom prst="rect">
              <a:avLst/>
            </a:prstGeom>
          </p:spPr>
        </p:pic>
        <p:pic>
          <p:nvPicPr>
            <p:cNvPr id="35" name="Picture 1">
              <a:extLst>
                <a:ext uri="{FF2B5EF4-FFF2-40B4-BE49-F238E27FC236}">
                  <a16:creationId xmlns:a16="http://schemas.microsoft.com/office/drawing/2014/main" id="{4DAD42E2-4D27-639B-DBBB-9B1FBDA684BE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49294" y="770471"/>
              <a:ext cx="1089167" cy="660472"/>
            </a:xfrm>
            <a:prstGeom prst="rect">
              <a:avLst/>
            </a:prstGeom>
          </p:spPr>
        </p:pic>
        <p:pic>
          <p:nvPicPr>
            <p:cNvPr id="36" name="Picture 33">
              <a:extLst>
                <a:ext uri="{FF2B5EF4-FFF2-40B4-BE49-F238E27FC236}">
                  <a16:creationId xmlns:a16="http://schemas.microsoft.com/office/drawing/2014/main" id="{4E80B8B4-4E59-BE84-A3F2-9DBC91179A52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51674" y="1422814"/>
              <a:ext cx="822345" cy="519593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7C114BB5-887E-AC41-3DAF-9AE4943999E5}"/>
                </a:ext>
              </a:extLst>
            </p:cNvPr>
            <p:cNvPicPr/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490395" y="1293363"/>
              <a:ext cx="650602" cy="519593"/>
            </a:xfrm>
            <a:prstGeom prst="rect">
              <a:avLst/>
            </a:prstGeom>
          </p:spPr>
        </p:pic>
      </p:grp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B2AF63A-F3D8-FDCB-284B-617ADE173FDF}"/>
              </a:ext>
            </a:extLst>
          </p:cNvPr>
          <p:cNvSpPr/>
          <p:nvPr/>
        </p:nvSpPr>
        <p:spPr>
          <a:xfrm>
            <a:off x="362481" y="3916936"/>
            <a:ext cx="2397279" cy="1242791"/>
          </a:xfrm>
          <a:custGeom>
            <a:avLst/>
            <a:gdLst>
              <a:gd name="connsiteX0" fmla="*/ 0 w 2591832"/>
              <a:gd name="connsiteY0" fmla="*/ 0 h 2687533"/>
              <a:gd name="connsiteX1" fmla="*/ 2591832 w 2591832"/>
              <a:gd name="connsiteY1" fmla="*/ 0 h 2687533"/>
              <a:gd name="connsiteX2" fmla="*/ 2591832 w 2591832"/>
              <a:gd name="connsiteY2" fmla="*/ 2687533 h 2687533"/>
              <a:gd name="connsiteX3" fmla="*/ 0 w 2591832"/>
              <a:gd name="connsiteY3" fmla="*/ 2687533 h 2687533"/>
              <a:gd name="connsiteX4" fmla="*/ 0 w 2591832"/>
              <a:gd name="connsiteY4" fmla="*/ 0 h 2687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91832" h="2687533">
                <a:moveTo>
                  <a:pt x="0" y="0"/>
                </a:moveTo>
                <a:lnTo>
                  <a:pt x="2591832" y="0"/>
                </a:lnTo>
                <a:lnTo>
                  <a:pt x="2591832" y="2687533"/>
                </a:lnTo>
                <a:lnTo>
                  <a:pt x="0" y="268753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0640" tIns="40640" rIns="40640" bIns="40640" numCol="1" spcCol="1270" anchor="t" anchorCtr="0">
            <a:noAutofit/>
          </a:bodyPr>
          <a:lstStyle/>
          <a:p>
            <a:pPr marL="285750" marR="0" lvl="0" indent="-28575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Geophysical (Seismic, EM, Gravity), geological and geochemical analysis</a:t>
            </a:r>
          </a:p>
          <a:p>
            <a:pPr marL="285750" marR="0" lvl="0" indent="-28575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Preliminary well tests, Core and Drilling data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9939410-888C-AE11-CF88-73F3ED28AA22}"/>
              </a:ext>
            </a:extLst>
          </p:cNvPr>
          <p:cNvSpPr/>
          <p:nvPr/>
        </p:nvSpPr>
        <p:spPr>
          <a:xfrm>
            <a:off x="9819493" y="3883476"/>
            <a:ext cx="1927942" cy="903201"/>
          </a:xfrm>
          <a:custGeom>
            <a:avLst/>
            <a:gdLst>
              <a:gd name="connsiteX0" fmla="*/ 0 w 1824152"/>
              <a:gd name="connsiteY0" fmla="*/ 0 h 2687533"/>
              <a:gd name="connsiteX1" fmla="*/ 1824152 w 1824152"/>
              <a:gd name="connsiteY1" fmla="*/ 0 h 2687533"/>
              <a:gd name="connsiteX2" fmla="*/ 1824152 w 1824152"/>
              <a:gd name="connsiteY2" fmla="*/ 2687533 h 2687533"/>
              <a:gd name="connsiteX3" fmla="*/ 0 w 1824152"/>
              <a:gd name="connsiteY3" fmla="*/ 2687533 h 2687533"/>
              <a:gd name="connsiteX4" fmla="*/ 0 w 1824152"/>
              <a:gd name="connsiteY4" fmla="*/ 0 h 2687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24152" h="2687533">
                <a:moveTo>
                  <a:pt x="0" y="0"/>
                </a:moveTo>
                <a:lnTo>
                  <a:pt x="1824152" y="0"/>
                </a:lnTo>
                <a:lnTo>
                  <a:pt x="1824152" y="2687533"/>
                </a:lnTo>
                <a:lnTo>
                  <a:pt x="0" y="268753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0640" tIns="40640" rIns="40640" bIns="40640" numCol="1" spcCol="1270" anchor="t" anchorCtr="0">
            <a:noAutofit/>
          </a:bodyPr>
          <a:lstStyle/>
          <a:p>
            <a:pPr marL="0" marR="0" lvl="1" indent="-28575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Drilling risks</a:t>
            </a:r>
          </a:p>
          <a:p>
            <a:pPr marL="0" marR="0" lvl="1" indent="-28575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Well integrity</a:t>
            </a:r>
          </a:p>
          <a:p>
            <a:pPr marL="0" marR="0" lvl="1" indent="-28575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Subsidence</a:t>
            </a:r>
          </a:p>
          <a:p>
            <a:pPr marL="0" marR="0" lvl="1" indent="-28575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Induced seismicit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A45BB8B-BF1B-0258-5179-5E4716187265}"/>
              </a:ext>
            </a:extLst>
          </p:cNvPr>
          <p:cNvSpPr txBox="1"/>
          <p:nvPr/>
        </p:nvSpPr>
        <p:spPr>
          <a:xfrm>
            <a:off x="2759760" y="3875325"/>
            <a:ext cx="2287584" cy="986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>
                <a:tab pos="57150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Advanced processing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and interpret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Conceptual static modell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274E40F-F30B-08D7-A858-10CABA2D63BF}"/>
              </a:ext>
            </a:extLst>
          </p:cNvPr>
          <p:cNvSpPr txBox="1"/>
          <p:nvPr/>
        </p:nvSpPr>
        <p:spPr>
          <a:xfrm>
            <a:off x="5029217" y="3890999"/>
            <a:ext cx="2058383" cy="94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lvl="0" indent="-28575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  <a:tabLst>
                <a:tab pos="57150" algn="l"/>
              </a:tabLst>
              <a:defRPr sz="1600">
                <a:solidFill>
                  <a:srgbClr val="002060"/>
                </a:solidFill>
              </a:defRPr>
            </a:lvl1pPr>
          </a:lstStyle>
          <a:p>
            <a:pPr marL="285750" marR="0" lvl="0" indent="-28575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>
                <a:tab pos="57150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Model dynamic behavior</a:t>
            </a:r>
          </a:p>
          <a:p>
            <a:pPr marL="285750" marR="0" lvl="0" indent="-28575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>
                <a:tab pos="57150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Fracture Prediction &amp; Well Placement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53A8129F-FE64-7273-F1E2-521A85684280}"/>
              </a:ext>
            </a:extLst>
          </p:cNvPr>
          <p:cNvSpPr/>
          <p:nvPr/>
        </p:nvSpPr>
        <p:spPr>
          <a:xfrm>
            <a:off x="7176296" y="3859523"/>
            <a:ext cx="2287583" cy="1204954"/>
          </a:xfrm>
          <a:custGeom>
            <a:avLst/>
            <a:gdLst>
              <a:gd name="connsiteX0" fmla="*/ 0 w 1824152"/>
              <a:gd name="connsiteY0" fmla="*/ 0 h 2687533"/>
              <a:gd name="connsiteX1" fmla="*/ 1824152 w 1824152"/>
              <a:gd name="connsiteY1" fmla="*/ 0 h 2687533"/>
              <a:gd name="connsiteX2" fmla="*/ 1824152 w 1824152"/>
              <a:gd name="connsiteY2" fmla="*/ 2687533 h 2687533"/>
              <a:gd name="connsiteX3" fmla="*/ 0 w 1824152"/>
              <a:gd name="connsiteY3" fmla="*/ 2687533 h 2687533"/>
              <a:gd name="connsiteX4" fmla="*/ 0 w 1824152"/>
              <a:gd name="connsiteY4" fmla="*/ 0 h 2687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24152" h="2687533">
                <a:moveTo>
                  <a:pt x="0" y="0"/>
                </a:moveTo>
                <a:lnTo>
                  <a:pt x="1824152" y="0"/>
                </a:lnTo>
                <a:lnTo>
                  <a:pt x="1824152" y="2687533"/>
                </a:lnTo>
                <a:lnTo>
                  <a:pt x="0" y="268753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0640" tIns="40640" rIns="40640" bIns="40640" numCol="1" spcCol="1270" anchor="t" anchorCtr="0">
            <a:noAutofit/>
          </a:bodyPr>
          <a:lstStyle/>
          <a:p>
            <a:pPr marL="285750" marR="0" lvl="0" indent="-28575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Well placement/design</a:t>
            </a:r>
          </a:p>
          <a:p>
            <a:pPr marL="285750" marR="0" lvl="0" indent="-28575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Completion optimization (Casing/tubing size, Optimum flow rates, Fracturing design)</a:t>
            </a:r>
          </a:p>
        </p:txBody>
      </p: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8AF387AD-74F8-4AFB-D00B-01CE7552ED27}"/>
              </a:ext>
            </a:extLst>
          </p:cNvPr>
          <p:cNvGrpSpPr/>
          <p:nvPr/>
        </p:nvGrpSpPr>
        <p:grpSpPr>
          <a:xfrm>
            <a:off x="4931333" y="5559618"/>
            <a:ext cx="3066413" cy="1006045"/>
            <a:chOff x="7266404" y="5569398"/>
            <a:chExt cx="3509355" cy="1292433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B412640E-5A0A-CE32-81DB-BED2CDFE2C79}"/>
                </a:ext>
              </a:extLst>
            </p:cNvPr>
            <p:cNvGrpSpPr/>
            <p:nvPr/>
          </p:nvGrpSpPr>
          <p:grpSpPr>
            <a:xfrm>
              <a:off x="7266404" y="5577891"/>
              <a:ext cx="1149636" cy="1204953"/>
              <a:chOff x="200162" y="4048263"/>
              <a:chExt cx="1977884" cy="2298286"/>
            </a:xfrm>
          </p:grpSpPr>
          <p:sp>
            <p:nvSpPr>
              <p:cNvPr id="3" name="Rectangle: Rounded Corners 2">
                <a:extLst>
                  <a:ext uri="{FF2B5EF4-FFF2-40B4-BE49-F238E27FC236}">
                    <a16:creationId xmlns:a16="http://schemas.microsoft.com/office/drawing/2014/main" id="{8EA3530C-11DF-6286-3E9A-4CA14B3FABEC}"/>
                  </a:ext>
                </a:extLst>
              </p:cNvPr>
              <p:cNvSpPr/>
              <p:nvPr/>
            </p:nvSpPr>
            <p:spPr>
              <a:xfrm>
                <a:off x="200162" y="4720170"/>
                <a:ext cx="1944545" cy="1126377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LB Sans Book"/>
                  <a:ea typeface="+mn-ea"/>
                  <a:cs typeface="+mn-cs"/>
                </a:endParaRPr>
              </a:p>
            </p:txBody>
          </p:sp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22861253-503A-8014-E6EB-9CD41E5E2921}"/>
                  </a:ext>
                </a:extLst>
              </p:cNvPr>
              <p:cNvGrpSpPr/>
              <p:nvPr/>
            </p:nvGrpSpPr>
            <p:grpSpPr>
              <a:xfrm>
                <a:off x="511279" y="4048263"/>
                <a:ext cx="1666767" cy="1079079"/>
                <a:chOff x="9256071" y="1692830"/>
                <a:chExt cx="1666766" cy="1079078"/>
              </a:xfrm>
            </p:grpSpPr>
            <p:pic>
              <p:nvPicPr>
                <p:cNvPr id="11" name="Picture 10">
                  <a:extLst>
                    <a:ext uri="{FF2B5EF4-FFF2-40B4-BE49-F238E27FC236}">
                      <a16:creationId xmlns:a16="http://schemas.microsoft.com/office/drawing/2014/main" id="{39EADAF6-8032-C8C3-EFB6-D77ADDE2F41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56071" y="1701491"/>
                  <a:ext cx="457200" cy="457200"/>
                </a:xfrm>
                <a:prstGeom prst="rect">
                  <a:avLst/>
                </a:prstGeom>
              </p:spPr>
            </p:pic>
            <p:pic>
              <p:nvPicPr>
                <p:cNvPr id="12" name="Picture 11">
                  <a:extLst>
                    <a:ext uri="{FF2B5EF4-FFF2-40B4-BE49-F238E27FC236}">
                      <a16:creationId xmlns:a16="http://schemas.microsoft.com/office/drawing/2014/main" id="{37862669-4B1B-E256-FD5B-05345F4045C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56071" y="2314708"/>
                  <a:ext cx="457200" cy="457200"/>
                </a:xfrm>
                <a:prstGeom prst="rect">
                  <a:avLst/>
                </a:prstGeom>
              </p:spPr>
            </p:pic>
            <p:pic>
              <p:nvPicPr>
                <p:cNvPr id="13" name="Picture 12" descr="OMNI_3D_white.png">
                  <a:extLst>
                    <a:ext uri="{FF2B5EF4-FFF2-40B4-BE49-F238E27FC236}">
                      <a16:creationId xmlns:a16="http://schemas.microsoft.com/office/drawing/2014/main" id="{DFCB906A-F3F5-2AE7-3013-4D8C4827167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 cstate="screen">
                  <a:extLst>
                    <a:ext uri="{BEBA8EAE-BF5A-486C-A8C5-ECC9F3942E4B}">
                      <a14:imgProps xmlns:a14="http://schemas.microsoft.com/office/drawing/2010/main">
                        <a14:imgLayer r:embed="rId14">
                          <a14:imgEffect>
                            <a14:artisticGlowEdges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02376" y="1692830"/>
                  <a:ext cx="1120461" cy="457200"/>
                </a:xfrm>
                <a:prstGeom prst="rect">
                  <a:avLst/>
                </a:prstGeom>
                <a:noFill/>
              </p:spPr>
            </p:pic>
            <p:pic>
              <p:nvPicPr>
                <p:cNvPr id="14" name="Picture 13">
                  <a:extLst>
                    <a:ext uri="{FF2B5EF4-FFF2-40B4-BE49-F238E27FC236}">
                      <a16:creationId xmlns:a16="http://schemas.microsoft.com/office/drawing/2014/main" id="{E32328AF-B058-DE50-2975-0C4F035728A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5" cstate="screen">
                  <a:extLst>
                    <a:ext uri="{BEBA8EAE-BF5A-486C-A8C5-ECC9F3942E4B}">
                      <a14:imgProps xmlns:a14="http://schemas.microsoft.com/office/drawing/2010/main">
                        <a14:imgLayer r:embed="rId16">
                          <a14:imgEffect>
                            <a14:artisticGlowEdges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9802376" y="2314708"/>
                  <a:ext cx="769336" cy="457200"/>
                </a:xfrm>
                <a:prstGeom prst="rect">
                  <a:avLst/>
                </a:prstGeom>
                <a:noFill/>
              </p:spPr>
            </p:pic>
          </p:grpSp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B6FB7B6D-C6D6-4C32-FEB8-D059B94C0FD3}"/>
                  </a:ext>
                </a:extLst>
              </p:cNvPr>
              <p:cNvGrpSpPr/>
              <p:nvPr/>
            </p:nvGrpSpPr>
            <p:grpSpPr>
              <a:xfrm>
                <a:off x="523351" y="5889347"/>
                <a:ext cx="1460187" cy="457202"/>
                <a:chOff x="1688074" y="2657801"/>
                <a:chExt cx="1460187" cy="457202"/>
              </a:xfrm>
            </p:grpSpPr>
            <p:pic>
              <p:nvPicPr>
                <p:cNvPr id="9" name="Picture 8">
                  <a:extLst>
                    <a:ext uri="{FF2B5EF4-FFF2-40B4-BE49-F238E27FC236}">
                      <a16:creationId xmlns:a16="http://schemas.microsoft.com/office/drawing/2014/main" id="{EDD9BAEB-3BDA-C061-2A96-C0208607BC5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2248813" y="2657803"/>
                  <a:ext cx="899448" cy="457200"/>
                </a:xfrm>
                <a:prstGeom prst="rect">
                  <a:avLst/>
                </a:prstGeom>
              </p:spPr>
            </p:pic>
            <p:pic>
              <p:nvPicPr>
                <p:cNvPr id="10" name="Picture 9">
                  <a:extLst>
                    <a:ext uri="{FF2B5EF4-FFF2-40B4-BE49-F238E27FC236}">
                      <a16:creationId xmlns:a16="http://schemas.microsoft.com/office/drawing/2014/main" id="{408D020B-FFA1-2452-FFF1-2148575AB06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8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688074" y="2657801"/>
                  <a:ext cx="459038" cy="457200"/>
                </a:xfrm>
                <a:prstGeom prst="rect">
                  <a:avLst/>
                </a:prstGeom>
              </p:spPr>
            </p:pic>
          </p:grpSp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C5B1C2C5-E2AE-4F3E-8BA0-9D899A6F5A0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080793" y="5261006"/>
                <a:ext cx="899450" cy="567853"/>
              </a:xfrm>
              <a:prstGeom prst="rect">
                <a:avLst/>
              </a:prstGeom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603365A0-DA53-2189-888B-953542A5176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20054" y="5309036"/>
                <a:ext cx="454068" cy="457200"/>
              </a:xfrm>
              <a:prstGeom prst="rect">
                <a:avLst/>
              </a:prstGeom>
            </p:spPr>
          </p:pic>
        </p:grp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26149BDA-EBE5-069F-AB56-302D1EF7EED0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99726" y="5576219"/>
              <a:ext cx="837872" cy="283915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23688569-59ED-3FC9-DC0B-BCCC09483F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493446" y="5880173"/>
              <a:ext cx="277962" cy="277245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C89EA5D6-1E97-BDD1-4F43-9B5C6D839CE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673652" y="5892161"/>
              <a:ext cx="829728" cy="229773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BC16507B-6643-F5AC-1DFA-B77817A1CF59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558728" y="6423475"/>
              <a:ext cx="1098636" cy="438356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72900AC6-6BE9-5CFB-AFDF-A0BCA25AB7D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496762" y="6530476"/>
              <a:ext cx="274125" cy="305672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8E198B3C-3882-FB3B-6F53-A4BD9DCE9EE4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8449" y="5576219"/>
              <a:ext cx="256285" cy="229774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CAF4C138-2C7F-8DD9-0030-1D11CC8D60AA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26615" y="5569398"/>
              <a:ext cx="641730" cy="243415"/>
            </a:xfrm>
            <a:prstGeom prst="rect">
              <a:avLst/>
            </a:prstGeom>
          </p:spPr>
        </p:pic>
        <p:pic>
          <p:nvPicPr>
            <p:cNvPr id="70" name="Picture 69" descr="Icon&#10;&#10;Description automatically generated">
              <a:extLst>
                <a:ext uri="{FF2B5EF4-FFF2-40B4-BE49-F238E27FC236}">
                  <a16:creationId xmlns:a16="http://schemas.microsoft.com/office/drawing/2014/main" id="{D05983B3-CE26-5858-8216-82B1F085C4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492269" y="6206892"/>
              <a:ext cx="277962" cy="281075"/>
            </a:xfrm>
            <a:prstGeom prst="rect">
              <a:avLst/>
            </a:prstGeom>
          </p:spPr>
        </p:pic>
        <p:pic>
          <p:nvPicPr>
            <p:cNvPr id="71" name="Picture 70" descr="Icon&#10;&#10;Description automatically generated">
              <a:extLst>
                <a:ext uri="{FF2B5EF4-FFF2-40B4-BE49-F238E27FC236}">
                  <a16:creationId xmlns:a16="http://schemas.microsoft.com/office/drawing/2014/main" id="{41C75BB7-5028-19B3-E1B2-67666FC9EAB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752286" y="6207922"/>
              <a:ext cx="762246" cy="215813"/>
            </a:xfrm>
            <a:prstGeom prst="rect">
              <a:avLst/>
            </a:prstGeom>
          </p:spPr>
        </p:pic>
        <p:pic>
          <p:nvPicPr>
            <p:cNvPr id="72" name="Picture 71" descr="Icon&#10;&#10;Description automatically generated">
              <a:extLst>
                <a:ext uri="{FF2B5EF4-FFF2-40B4-BE49-F238E27FC236}">
                  <a16:creationId xmlns:a16="http://schemas.microsoft.com/office/drawing/2014/main" id="{909D8D2D-CB1F-3CCF-DDCB-8F37DD4CA4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0" cstate="screen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31">
                      <a14:imgEffect>
                        <a14:brightnessContrast bright="-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827412" y="6530476"/>
              <a:ext cx="948347" cy="287440"/>
            </a:xfrm>
            <a:prstGeom prst="rect">
              <a:avLst/>
            </a:prstGeom>
          </p:spPr>
        </p:pic>
        <p:pic>
          <p:nvPicPr>
            <p:cNvPr id="73" name="Picture 72" descr="Icon&#10;&#10;Description automatically generated">
              <a:extLst>
                <a:ext uri="{FF2B5EF4-FFF2-40B4-BE49-F238E27FC236}">
                  <a16:creationId xmlns:a16="http://schemas.microsoft.com/office/drawing/2014/main" id="{8A5C7927-1ABE-4E72-8EFC-D462364F2E2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583514" y="6554392"/>
              <a:ext cx="274125" cy="280870"/>
            </a:xfrm>
            <a:prstGeom prst="rect">
              <a:avLst/>
            </a:prstGeom>
          </p:spPr>
        </p:pic>
        <p:pic>
          <p:nvPicPr>
            <p:cNvPr id="74" name="Picture 73" descr="Logo, company name&#10;&#10;Description automatically generated">
              <a:extLst>
                <a:ext uri="{FF2B5EF4-FFF2-40B4-BE49-F238E27FC236}">
                  <a16:creationId xmlns:a16="http://schemas.microsoft.com/office/drawing/2014/main" id="{D1E27DCE-4230-9C15-D5F9-580E50717A49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53330" y="5835000"/>
              <a:ext cx="1056909" cy="345368"/>
            </a:xfrm>
            <a:prstGeom prst="rect">
              <a:avLst/>
            </a:prstGeom>
          </p:spPr>
        </p:pic>
        <p:pic>
          <p:nvPicPr>
            <p:cNvPr id="75" name="Picture 74" descr="A picture containing text, clipart, tableware, dishware&#10;&#10;Description automatically generated">
              <a:extLst>
                <a:ext uri="{FF2B5EF4-FFF2-40B4-BE49-F238E27FC236}">
                  <a16:creationId xmlns:a16="http://schemas.microsoft.com/office/drawing/2014/main" id="{6C1AEB1F-6B68-5BC5-EA13-FBABD6575453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74897" y="6206385"/>
              <a:ext cx="1107976" cy="324091"/>
            </a:xfrm>
            <a:prstGeom prst="rect">
              <a:avLst/>
            </a:prstGeom>
          </p:spPr>
        </p:pic>
      </p:grpSp>
      <p:pic>
        <p:nvPicPr>
          <p:cNvPr id="76" name="Graphic 75">
            <a:extLst>
              <a:ext uri="{FF2B5EF4-FFF2-40B4-BE49-F238E27FC236}">
                <a16:creationId xmlns:a16="http://schemas.microsoft.com/office/drawing/2014/main" id="{61684BA0-F71E-FEF4-3B4C-8F778D303005}"/>
              </a:ext>
            </a:extLst>
          </p:cNvPr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3574538" y="5546285"/>
            <a:ext cx="780215" cy="829665"/>
          </a:xfrm>
          <a:prstGeom prst="rect">
            <a:avLst/>
          </a:prstGeom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</p:pic>
      <p:grpSp>
        <p:nvGrpSpPr>
          <p:cNvPr id="136" name="Group 135">
            <a:extLst>
              <a:ext uri="{FF2B5EF4-FFF2-40B4-BE49-F238E27FC236}">
                <a16:creationId xmlns:a16="http://schemas.microsoft.com/office/drawing/2014/main" id="{5F2550D5-126D-0A7D-264B-EFDF4CD76FA9}"/>
              </a:ext>
            </a:extLst>
          </p:cNvPr>
          <p:cNvGrpSpPr/>
          <p:nvPr/>
        </p:nvGrpSpPr>
        <p:grpSpPr>
          <a:xfrm>
            <a:off x="445605" y="3075822"/>
            <a:ext cx="11401902" cy="595477"/>
            <a:chOff x="161121" y="6155111"/>
            <a:chExt cx="9195065" cy="680024"/>
          </a:xfrm>
          <a:scene3d>
            <a:camera prst="orthographicFront"/>
            <a:lightRig rig="threePt" dir="t"/>
          </a:scene3d>
        </p:grpSpPr>
        <p:sp>
          <p:nvSpPr>
            <p:cNvPr id="137" name="Arrow: Chevron 136">
              <a:extLst>
                <a:ext uri="{FF2B5EF4-FFF2-40B4-BE49-F238E27FC236}">
                  <a16:creationId xmlns:a16="http://schemas.microsoft.com/office/drawing/2014/main" id="{F87183DB-5DB7-3C50-5D5C-D3868B757C14}"/>
                </a:ext>
              </a:extLst>
            </p:cNvPr>
            <p:cNvSpPr/>
            <p:nvPr/>
          </p:nvSpPr>
          <p:spPr>
            <a:xfrm>
              <a:off x="161121" y="6163073"/>
              <a:ext cx="1847689" cy="659757"/>
            </a:xfrm>
            <a:prstGeom prst="chevron">
              <a:avLst/>
            </a:prstGeom>
            <a:solidFill>
              <a:srgbClr val="0014DC"/>
            </a:solidFill>
            <a:ln w="31750">
              <a:noFill/>
            </a:ln>
            <a:sp3d>
              <a:bevelT w="44450" h="571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xploration</a:t>
              </a:r>
            </a:p>
          </p:txBody>
        </p:sp>
        <p:sp>
          <p:nvSpPr>
            <p:cNvPr id="138" name="Arrow: Chevron 137">
              <a:extLst>
                <a:ext uri="{FF2B5EF4-FFF2-40B4-BE49-F238E27FC236}">
                  <a16:creationId xmlns:a16="http://schemas.microsoft.com/office/drawing/2014/main" id="{7EB0E5E3-8A2B-E546-D7B1-1F50C084DABE}"/>
                </a:ext>
              </a:extLst>
            </p:cNvPr>
            <p:cNvSpPr/>
            <p:nvPr/>
          </p:nvSpPr>
          <p:spPr>
            <a:xfrm>
              <a:off x="1941778" y="6163073"/>
              <a:ext cx="1836859" cy="659757"/>
            </a:xfrm>
            <a:prstGeom prst="chevron">
              <a:avLst/>
            </a:prstGeom>
            <a:solidFill>
              <a:srgbClr val="00D2DC"/>
            </a:solidFill>
            <a:ln w="31750">
              <a:noFill/>
            </a:ln>
            <a:sp3d>
              <a:bevelT w="44450" h="571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easibility</a:t>
              </a:r>
            </a:p>
          </p:txBody>
        </p:sp>
        <p:sp>
          <p:nvSpPr>
            <p:cNvPr id="139" name="Arrow: Chevron 138">
              <a:extLst>
                <a:ext uri="{FF2B5EF4-FFF2-40B4-BE49-F238E27FC236}">
                  <a16:creationId xmlns:a16="http://schemas.microsoft.com/office/drawing/2014/main" id="{FF1D58FB-C8F9-B305-9D1B-706350FD4C50}"/>
                </a:ext>
              </a:extLst>
            </p:cNvPr>
            <p:cNvSpPr/>
            <p:nvPr/>
          </p:nvSpPr>
          <p:spPr>
            <a:xfrm>
              <a:off x="3721126" y="6159526"/>
              <a:ext cx="1815294" cy="666935"/>
            </a:xfrm>
            <a:prstGeom prst="chevron">
              <a:avLst/>
            </a:prstGeom>
            <a:solidFill>
              <a:srgbClr val="1E1464"/>
            </a:solidFill>
            <a:ln w="31750">
              <a:noFill/>
            </a:ln>
            <a:sp3d>
              <a:bevelT w="44450" h="571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ppraisal</a:t>
              </a:r>
            </a:p>
          </p:txBody>
        </p:sp>
        <p:sp>
          <p:nvSpPr>
            <p:cNvPr id="140" name="Arrow: Chevron 139">
              <a:extLst>
                <a:ext uri="{FF2B5EF4-FFF2-40B4-BE49-F238E27FC236}">
                  <a16:creationId xmlns:a16="http://schemas.microsoft.com/office/drawing/2014/main" id="{2959AC46-A734-CFF9-F326-779422A416E5}"/>
                </a:ext>
              </a:extLst>
            </p:cNvPr>
            <p:cNvSpPr/>
            <p:nvPr/>
          </p:nvSpPr>
          <p:spPr>
            <a:xfrm>
              <a:off x="5523479" y="6155111"/>
              <a:ext cx="1986421" cy="674011"/>
            </a:xfrm>
            <a:prstGeom prst="chevron">
              <a:avLst/>
            </a:prstGeom>
            <a:solidFill>
              <a:srgbClr val="5161FF"/>
            </a:solidFill>
            <a:ln w="31750">
              <a:noFill/>
            </a:ln>
            <a:sp3d>
              <a:bevelT w="44450" h="571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rilling &amp;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struction</a:t>
              </a:r>
            </a:p>
          </p:txBody>
        </p:sp>
        <p:sp>
          <p:nvSpPr>
            <p:cNvPr id="141" name="Arrow: Chevron 140">
              <a:extLst>
                <a:ext uri="{FF2B5EF4-FFF2-40B4-BE49-F238E27FC236}">
                  <a16:creationId xmlns:a16="http://schemas.microsoft.com/office/drawing/2014/main" id="{307D478C-E22A-6FC0-6024-DD81FD3AB99E}"/>
                </a:ext>
              </a:extLst>
            </p:cNvPr>
            <p:cNvSpPr/>
            <p:nvPr/>
          </p:nvSpPr>
          <p:spPr>
            <a:xfrm>
              <a:off x="7433909" y="6155111"/>
              <a:ext cx="1922277" cy="680024"/>
            </a:xfrm>
            <a:prstGeom prst="chevron">
              <a:avLst/>
            </a:prstGeom>
            <a:solidFill>
              <a:srgbClr val="007E84"/>
            </a:solidFill>
            <a:ln w="31750">
              <a:noFill/>
            </a:ln>
            <a:sp3d>
              <a:bevelT w="44450" h="571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perations</a:t>
              </a:r>
            </a:p>
          </p:txBody>
        </p:sp>
      </p:grpSp>
      <p:sp>
        <p:nvSpPr>
          <p:cNvPr id="143" name="Rectangle 142">
            <a:extLst>
              <a:ext uri="{FF2B5EF4-FFF2-40B4-BE49-F238E27FC236}">
                <a16:creationId xmlns:a16="http://schemas.microsoft.com/office/drawing/2014/main" id="{413EF590-1062-3237-9530-798586F4C96C}"/>
              </a:ext>
            </a:extLst>
          </p:cNvPr>
          <p:cNvSpPr/>
          <p:nvPr/>
        </p:nvSpPr>
        <p:spPr>
          <a:xfrm>
            <a:off x="4931333" y="5459202"/>
            <a:ext cx="3066413" cy="1204955"/>
          </a:xfrm>
          <a:prstGeom prst="rect">
            <a:avLst/>
          </a:prstGeom>
          <a:noFill/>
          <a:ln w="6350">
            <a:solidFill>
              <a:srgbClr val="1F1569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</p:txBody>
      </p: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D50B330B-DAD5-DD37-6FC1-5EDA9CB3CDF4}"/>
              </a:ext>
            </a:extLst>
          </p:cNvPr>
          <p:cNvCxnSpPr>
            <a:cxnSpLocks/>
            <a:stCxn id="143" idx="1"/>
          </p:cNvCxnSpPr>
          <p:nvPr/>
        </p:nvCxnSpPr>
        <p:spPr>
          <a:xfrm flipH="1">
            <a:off x="4505440" y="6061680"/>
            <a:ext cx="425893" cy="0"/>
          </a:xfrm>
          <a:prstGeom prst="line">
            <a:avLst/>
          </a:prstGeom>
          <a:ln w="9525">
            <a:solidFill>
              <a:srgbClr val="1F1569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9" name="TextBox 148">
            <a:extLst>
              <a:ext uri="{FF2B5EF4-FFF2-40B4-BE49-F238E27FC236}">
                <a16:creationId xmlns:a16="http://schemas.microsoft.com/office/drawing/2014/main" id="{E05AD5E0-D422-BC3A-AB92-B3E963468C68}"/>
              </a:ext>
            </a:extLst>
          </p:cNvPr>
          <p:cNvSpPr txBox="1"/>
          <p:nvPr/>
        </p:nvSpPr>
        <p:spPr>
          <a:xfrm>
            <a:off x="3567928" y="6380997"/>
            <a:ext cx="7857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F1569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ML/AI</a:t>
            </a:r>
          </a:p>
        </p:txBody>
      </p:sp>
    </p:spTree>
    <p:extLst>
      <p:ext uri="{BB962C8B-B14F-4D97-AF65-F5344CB8AC3E}">
        <p14:creationId xmlns:p14="http://schemas.microsoft.com/office/powerpoint/2010/main" val="12032384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  <p:bldP spid="17" grpId="0"/>
      <p:bldP spid="18" grpId="0"/>
      <p:bldP spid="1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08C8239-2FA1-D84F-9277-7590A05A0B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701" y="6531775"/>
            <a:ext cx="684212" cy="230248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37C662-D0ED-4587-B264-5C4F0D975D18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DCE1E1">
                    <a:lumMod val="75000"/>
                  </a:srgbClr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DCE1E1">
                  <a:lumMod val="75000"/>
                </a:srgbClr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498ABD8-698B-9874-86D8-632BF7059DD4}"/>
              </a:ext>
            </a:extLst>
          </p:cNvPr>
          <p:cNvSpPr/>
          <p:nvPr/>
        </p:nvSpPr>
        <p:spPr>
          <a:xfrm>
            <a:off x="6178972" y="1782843"/>
            <a:ext cx="1229177" cy="1229177"/>
          </a:xfrm>
          <a:prstGeom prst="ellipse">
            <a:avLst/>
          </a:prstGeom>
          <a:ln w="28575">
            <a:solidFill>
              <a:schemeClr val="accent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E9A4739-1C44-19A3-CFF1-20F7CA1D95EC}"/>
              </a:ext>
            </a:extLst>
          </p:cNvPr>
          <p:cNvSpPr/>
          <p:nvPr/>
        </p:nvSpPr>
        <p:spPr>
          <a:xfrm>
            <a:off x="3909160" y="3329655"/>
            <a:ext cx="1229177" cy="1229177"/>
          </a:xfrm>
          <a:prstGeom prst="ellipse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842FD7E-AFD0-ACF7-0769-B8B011CE2681}"/>
              </a:ext>
            </a:extLst>
          </p:cNvPr>
          <p:cNvSpPr/>
          <p:nvPr/>
        </p:nvSpPr>
        <p:spPr>
          <a:xfrm>
            <a:off x="4462199" y="1816644"/>
            <a:ext cx="1229177" cy="1229177"/>
          </a:xfrm>
          <a:prstGeom prst="ellipse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F2384B6-99C6-EB81-C614-E51E94EF2212}"/>
              </a:ext>
            </a:extLst>
          </p:cNvPr>
          <p:cNvSpPr txBox="1"/>
          <p:nvPr/>
        </p:nvSpPr>
        <p:spPr>
          <a:xfrm>
            <a:off x="6124928" y="2464732"/>
            <a:ext cx="133263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Operational Suppor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633F70B-C79C-2587-0947-3684A9EA8628}"/>
              </a:ext>
            </a:extLst>
          </p:cNvPr>
          <p:cNvSpPr txBox="1"/>
          <p:nvPr/>
        </p:nvSpPr>
        <p:spPr>
          <a:xfrm>
            <a:off x="3825573" y="4041035"/>
            <a:ext cx="133263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Train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A702007-28AB-A51A-53FB-1F1380FE218A}"/>
              </a:ext>
            </a:extLst>
          </p:cNvPr>
          <p:cNvSpPr txBox="1"/>
          <p:nvPr/>
        </p:nvSpPr>
        <p:spPr>
          <a:xfrm>
            <a:off x="4401554" y="2502691"/>
            <a:ext cx="133263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Engineering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1AC4543-1164-0100-F28A-996F8B95582D}"/>
              </a:ext>
            </a:extLst>
          </p:cNvPr>
          <p:cNvCxnSpPr>
            <a:cxnSpLocks/>
          </p:cNvCxnSpPr>
          <p:nvPr/>
        </p:nvCxnSpPr>
        <p:spPr>
          <a:xfrm flipH="1">
            <a:off x="7255569" y="1621850"/>
            <a:ext cx="231725" cy="362743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BCC3A64-2013-BA65-65A8-F96200C61784}"/>
              </a:ext>
            </a:extLst>
          </p:cNvPr>
          <p:cNvCxnSpPr>
            <a:cxnSpLocks/>
          </p:cNvCxnSpPr>
          <p:nvPr/>
        </p:nvCxnSpPr>
        <p:spPr>
          <a:xfrm>
            <a:off x="7481867" y="1621849"/>
            <a:ext cx="410325" cy="0"/>
          </a:xfrm>
          <a:prstGeom prst="line">
            <a:avLst/>
          </a:prstGeom>
          <a:ln w="12700">
            <a:solidFill>
              <a:schemeClr val="accent1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E80E7C5-D1FF-969F-E592-92D8EF67FA68}"/>
              </a:ext>
            </a:extLst>
          </p:cNvPr>
          <p:cNvCxnSpPr>
            <a:cxnSpLocks/>
          </p:cNvCxnSpPr>
          <p:nvPr/>
        </p:nvCxnSpPr>
        <p:spPr>
          <a:xfrm>
            <a:off x="8031462" y="4532506"/>
            <a:ext cx="483151" cy="0"/>
          </a:xfrm>
          <a:prstGeom prst="line">
            <a:avLst/>
          </a:prstGeom>
          <a:ln w="12700">
            <a:solidFill>
              <a:schemeClr val="accent1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6D404D5-4F77-5E6C-4490-456DE4F9E735}"/>
              </a:ext>
            </a:extLst>
          </p:cNvPr>
          <p:cNvCxnSpPr>
            <a:cxnSpLocks/>
          </p:cNvCxnSpPr>
          <p:nvPr/>
        </p:nvCxnSpPr>
        <p:spPr>
          <a:xfrm>
            <a:off x="6630438" y="5585862"/>
            <a:ext cx="375896" cy="0"/>
          </a:xfrm>
          <a:prstGeom prst="line">
            <a:avLst/>
          </a:prstGeom>
          <a:ln w="12700">
            <a:solidFill>
              <a:schemeClr val="accent1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755F97B-AD6A-0FDA-3AE5-D34CFA6AFC7E}"/>
              </a:ext>
            </a:extLst>
          </p:cNvPr>
          <p:cNvCxnSpPr>
            <a:cxnSpLocks/>
          </p:cNvCxnSpPr>
          <p:nvPr/>
        </p:nvCxnSpPr>
        <p:spPr>
          <a:xfrm>
            <a:off x="6425879" y="5341077"/>
            <a:ext cx="204559" cy="244785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F872BC5-56A3-F92D-6200-EB96EA26E72B}"/>
              </a:ext>
            </a:extLst>
          </p:cNvPr>
          <p:cNvCxnSpPr>
            <a:cxnSpLocks/>
          </p:cNvCxnSpPr>
          <p:nvPr/>
        </p:nvCxnSpPr>
        <p:spPr>
          <a:xfrm flipH="1">
            <a:off x="2502000" y="3857472"/>
            <a:ext cx="706597" cy="694857"/>
          </a:xfrm>
          <a:prstGeom prst="line">
            <a:avLst/>
          </a:prstGeom>
          <a:ln w="12700">
            <a:solidFill>
              <a:schemeClr val="accent1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C2F97F7-B4B8-C477-6BCD-AB529CE13897}"/>
              </a:ext>
            </a:extLst>
          </p:cNvPr>
          <p:cNvCxnSpPr>
            <a:cxnSpLocks/>
          </p:cNvCxnSpPr>
          <p:nvPr/>
        </p:nvCxnSpPr>
        <p:spPr>
          <a:xfrm flipH="1">
            <a:off x="3208597" y="3851034"/>
            <a:ext cx="474619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F4D704A-F61E-C0A6-7966-D8F677B4DEAF}"/>
              </a:ext>
            </a:extLst>
          </p:cNvPr>
          <p:cNvCxnSpPr>
            <a:cxnSpLocks/>
          </p:cNvCxnSpPr>
          <p:nvPr/>
        </p:nvCxnSpPr>
        <p:spPr>
          <a:xfrm flipH="1">
            <a:off x="3555891" y="1811660"/>
            <a:ext cx="612368" cy="0"/>
          </a:xfrm>
          <a:prstGeom prst="line">
            <a:avLst/>
          </a:prstGeom>
          <a:ln w="12700">
            <a:solidFill>
              <a:schemeClr val="accent1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C752183-AF70-A431-88AC-1F23AE321A4D}"/>
              </a:ext>
            </a:extLst>
          </p:cNvPr>
          <p:cNvCxnSpPr>
            <a:cxnSpLocks/>
          </p:cNvCxnSpPr>
          <p:nvPr/>
        </p:nvCxnSpPr>
        <p:spPr>
          <a:xfrm flipH="1" flipV="1">
            <a:off x="4158428" y="1818751"/>
            <a:ext cx="356890" cy="242533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oup 48">
            <a:extLst>
              <a:ext uri="{FF2B5EF4-FFF2-40B4-BE49-F238E27FC236}">
                <a16:creationId xmlns:a16="http://schemas.microsoft.com/office/drawing/2014/main" id="{C9AB733D-245D-9A61-C0EA-70628E43A498}"/>
              </a:ext>
            </a:extLst>
          </p:cNvPr>
          <p:cNvGrpSpPr/>
          <p:nvPr/>
        </p:nvGrpSpPr>
        <p:grpSpPr>
          <a:xfrm>
            <a:off x="5292685" y="4465989"/>
            <a:ext cx="1229177" cy="1229177"/>
            <a:chOff x="5410380" y="4957290"/>
            <a:chExt cx="1229177" cy="1229177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175A0B0D-6BB9-E94A-8FB1-63CB52DC1D0D}"/>
                </a:ext>
              </a:extLst>
            </p:cNvPr>
            <p:cNvSpPr/>
            <p:nvPr/>
          </p:nvSpPr>
          <p:spPr>
            <a:xfrm>
              <a:off x="5410380" y="4957290"/>
              <a:ext cx="1229177" cy="122917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7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AB58A91-BCFD-36CF-F2C3-B54E6B44B693}"/>
                </a:ext>
              </a:extLst>
            </p:cNvPr>
            <p:cNvSpPr txBox="1"/>
            <p:nvPr/>
          </p:nvSpPr>
          <p:spPr>
            <a:xfrm>
              <a:off x="5541758" y="5638127"/>
              <a:ext cx="966420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0014DC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Software</a:t>
              </a:r>
            </a:p>
          </p:txBody>
        </p:sp>
        <p:pic>
          <p:nvPicPr>
            <p:cNvPr id="30" name="Graphic 29" descr="Bar graph with upward trend outline">
              <a:extLst>
                <a:ext uri="{FF2B5EF4-FFF2-40B4-BE49-F238E27FC236}">
                  <a16:creationId xmlns:a16="http://schemas.microsoft.com/office/drawing/2014/main" id="{AFA99F01-4DDE-3331-9530-43AD8415315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724864" y="5043650"/>
              <a:ext cx="554890" cy="554890"/>
            </a:xfrm>
            <a:prstGeom prst="rect">
              <a:avLst/>
            </a:prstGeom>
          </p:spPr>
        </p:pic>
      </p:grpSp>
      <p:sp>
        <p:nvSpPr>
          <p:cNvPr id="32" name="TextBox 1">
            <a:extLst>
              <a:ext uri="{FF2B5EF4-FFF2-40B4-BE49-F238E27FC236}">
                <a16:creationId xmlns:a16="http://schemas.microsoft.com/office/drawing/2014/main" id="{0F5BD09B-EB95-0718-7176-44C0E708741E}"/>
              </a:ext>
            </a:extLst>
          </p:cNvPr>
          <p:cNvSpPr txBox="1"/>
          <p:nvPr/>
        </p:nvSpPr>
        <p:spPr>
          <a:xfrm>
            <a:off x="8606377" y="4246488"/>
            <a:ext cx="302379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17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5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53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7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886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063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240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417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Reduce EOU while drilling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Ranging expertise during planning and execution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14DC"/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</p:txBody>
      </p:sp>
      <p:sp>
        <p:nvSpPr>
          <p:cNvPr id="33" name="TextBox 1">
            <a:extLst>
              <a:ext uri="{FF2B5EF4-FFF2-40B4-BE49-F238E27FC236}">
                <a16:creationId xmlns:a16="http://schemas.microsoft.com/office/drawing/2014/main" id="{E61B4D9D-E926-2024-C95B-E35C44698D6C}"/>
              </a:ext>
            </a:extLst>
          </p:cNvPr>
          <p:cNvSpPr txBox="1"/>
          <p:nvPr/>
        </p:nvSpPr>
        <p:spPr>
          <a:xfrm>
            <a:off x="7892192" y="1487622"/>
            <a:ext cx="3881105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17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5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53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7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886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063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240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417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Optimize execution</a:t>
            </a:r>
          </a:p>
          <a:p>
            <a:pPr marL="742927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MSE analysis for drilling performance and disfunction identification</a:t>
            </a:r>
          </a:p>
          <a:p>
            <a:pPr marL="742927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Integrated torque &amp; drag, hydraulics, and geomechanics planning and execution</a:t>
            </a:r>
          </a:p>
          <a:p>
            <a:pPr marL="742927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14DC"/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</p:txBody>
      </p:sp>
      <p:sp>
        <p:nvSpPr>
          <p:cNvPr id="34" name="TextBox 1">
            <a:extLst>
              <a:ext uri="{FF2B5EF4-FFF2-40B4-BE49-F238E27FC236}">
                <a16:creationId xmlns:a16="http://schemas.microsoft.com/office/drawing/2014/main" id="{166124EA-05BE-78A5-852B-FF23F8D1A9B3}"/>
              </a:ext>
            </a:extLst>
          </p:cNvPr>
          <p:cNvSpPr txBox="1"/>
          <p:nvPr/>
        </p:nvSpPr>
        <p:spPr>
          <a:xfrm>
            <a:off x="1116571" y="1663834"/>
            <a:ext cx="299110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17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5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53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7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886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063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240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417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World leading engineers</a:t>
            </a:r>
          </a:p>
          <a:p>
            <a:pPr marL="742927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Feasibility studies</a:t>
            </a:r>
          </a:p>
          <a:p>
            <a:pPr marL="742927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Conceptual well design</a:t>
            </a:r>
          </a:p>
          <a:p>
            <a:pPr marL="742927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Temperature modelling</a:t>
            </a:r>
          </a:p>
          <a:p>
            <a:pPr marL="742927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Offset well a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nalysi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14DC"/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14DC"/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</p:txBody>
      </p:sp>
      <p:sp>
        <p:nvSpPr>
          <p:cNvPr id="35" name="TextBox 1">
            <a:extLst>
              <a:ext uri="{FF2B5EF4-FFF2-40B4-BE49-F238E27FC236}">
                <a16:creationId xmlns:a16="http://schemas.microsoft.com/office/drawing/2014/main" id="{4A3E393C-A88C-3284-A739-DCDDFD236F28}"/>
              </a:ext>
            </a:extLst>
          </p:cNvPr>
          <p:cNvSpPr txBox="1"/>
          <p:nvPr/>
        </p:nvSpPr>
        <p:spPr>
          <a:xfrm>
            <a:off x="483279" y="4607307"/>
            <a:ext cx="399480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17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5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53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7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886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063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240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417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World leading training courses</a:t>
            </a:r>
          </a:p>
          <a:p>
            <a:pPr marL="742927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Well design training for engineers</a:t>
            </a:r>
          </a:p>
          <a:p>
            <a:pPr marL="742927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Operational training for rig personnel</a:t>
            </a:r>
          </a:p>
          <a:p>
            <a:pPr marL="742927" marR="0" lvl="1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Each course customized to meet customer needs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14DC"/>
              </a:solidFill>
              <a:effectLst/>
              <a:uLnTx/>
              <a:uFillTx/>
              <a:latin typeface="SLB Sans Book"/>
              <a:ea typeface="+mn-ea"/>
              <a:cs typeface="+mn-cs"/>
            </a:endParaRPr>
          </a:p>
        </p:txBody>
      </p:sp>
      <p:sp>
        <p:nvSpPr>
          <p:cNvPr id="36" name="TextBox 1">
            <a:extLst>
              <a:ext uri="{FF2B5EF4-FFF2-40B4-BE49-F238E27FC236}">
                <a16:creationId xmlns:a16="http://schemas.microsoft.com/office/drawing/2014/main" id="{B8A44273-8D22-891B-8DDB-0499135C36C4}"/>
              </a:ext>
            </a:extLst>
          </p:cNvPr>
          <p:cNvSpPr txBox="1"/>
          <p:nvPr/>
        </p:nvSpPr>
        <p:spPr>
          <a:xfrm>
            <a:off x="6989015" y="5145607"/>
            <a:ext cx="506163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17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5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53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7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886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063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240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417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Industry leading well e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ngineer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 and execution software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Integrated torque, drag, hydraulics, and geomechanics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Accounts for HT effects on fluids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MSE analysis</a:t>
            </a:r>
          </a:p>
        </p:txBody>
      </p:sp>
      <p:sp>
        <p:nvSpPr>
          <p:cNvPr id="37" name="TextBox 1">
            <a:extLst>
              <a:ext uri="{FF2B5EF4-FFF2-40B4-BE49-F238E27FC236}">
                <a16:creationId xmlns:a16="http://schemas.microsoft.com/office/drawing/2014/main" id="{4D3262C6-F4BC-FFB4-0037-8A993EA1CF43}"/>
              </a:ext>
            </a:extLst>
          </p:cNvPr>
          <p:cNvSpPr txBox="1"/>
          <p:nvPr/>
        </p:nvSpPr>
        <p:spPr>
          <a:xfrm>
            <a:off x="5079802" y="3380629"/>
            <a:ext cx="18903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17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5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53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7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886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063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240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417" algn="l" defTabSz="91435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LB Sans Book"/>
                <a:ea typeface="+mn-ea"/>
                <a:cs typeface="+mn-cs"/>
              </a:rPr>
              <a:t>K&amp;M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5BF0C091-5F4C-F1DB-60AE-FDE40EE3ED39}"/>
              </a:ext>
            </a:extLst>
          </p:cNvPr>
          <p:cNvGrpSpPr/>
          <p:nvPr/>
        </p:nvGrpSpPr>
        <p:grpSpPr>
          <a:xfrm>
            <a:off x="6633532" y="3332917"/>
            <a:ext cx="1332632" cy="1229177"/>
            <a:chOff x="7237579" y="3523718"/>
            <a:chExt cx="1332632" cy="1229177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13AC7BA3-C9B4-04FA-7A33-B2D96F8B6047}"/>
                </a:ext>
              </a:extLst>
            </p:cNvPr>
            <p:cNvSpPr/>
            <p:nvPr/>
          </p:nvSpPr>
          <p:spPr>
            <a:xfrm>
              <a:off x="7280257" y="3523718"/>
              <a:ext cx="1229177" cy="1229177"/>
            </a:xfrm>
            <a:prstGeom prst="ellipse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7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725E03B-CA83-6DFA-8FB6-BE0F9242C4FF}"/>
                </a:ext>
              </a:extLst>
            </p:cNvPr>
            <p:cNvSpPr txBox="1"/>
            <p:nvPr/>
          </p:nvSpPr>
          <p:spPr>
            <a:xfrm>
              <a:off x="7237579" y="4164347"/>
              <a:ext cx="1332632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0014DC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Wellbore Placement</a:t>
              </a:r>
            </a:p>
          </p:txBody>
        </p:sp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2D7CEC8D-C2F1-9370-23BB-CAF43B269A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5186" y="1972711"/>
            <a:ext cx="557661" cy="477730"/>
          </a:xfrm>
          <a:prstGeom prst="rect">
            <a:avLst/>
          </a:prstGeom>
          <a:noFill/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F1ED2722-5E53-8E90-3711-ECE35BF8AE8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5864" y="1915769"/>
            <a:ext cx="747282" cy="568139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D11F1CCA-1FB3-04D6-A76F-5757A654E02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46557" y="3420819"/>
            <a:ext cx="545270" cy="561731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92586B5D-28C5-9E12-6100-402E1983C6E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5996" y="4618763"/>
            <a:ext cx="578720" cy="564499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BC8508C6-521C-543B-A684-EEA05B8E25ED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06334" y="3449549"/>
            <a:ext cx="517375" cy="534431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6C0898A9-6046-A63F-E540-034518240F15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2266" y="2852503"/>
            <a:ext cx="982720" cy="1360690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96E65613-AE5A-D34A-79C1-53AC9B025053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63532" y="2851620"/>
            <a:ext cx="983996" cy="1362456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D359A74E-A713-B955-5D9C-3AAA62A210EC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3638" y="2851620"/>
            <a:ext cx="990600" cy="1371600"/>
          </a:xfrm>
          <a:prstGeom prst="rect">
            <a:avLst/>
          </a:prstGeom>
        </p:spPr>
      </p:pic>
      <p:pic>
        <p:nvPicPr>
          <p:cNvPr id="63" name="Graphic 62">
            <a:extLst>
              <a:ext uri="{FF2B5EF4-FFF2-40B4-BE49-F238E27FC236}">
                <a16:creationId xmlns:a16="http://schemas.microsoft.com/office/drawing/2014/main" id="{F3DF5D11-2AEF-FA72-872D-4CD91BF5663E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99538" y="2656435"/>
            <a:ext cx="1925729" cy="1925729"/>
          </a:xfrm>
          <a:prstGeom prst="rect">
            <a:avLst/>
          </a:prstGeom>
        </p:spPr>
      </p:pic>
      <p:pic>
        <p:nvPicPr>
          <p:cNvPr id="1025" name="Picture 1024">
            <a:extLst>
              <a:ext uri="{FF2B5EF4-FFF2-40B4-BE49-F238E27FC236}">
                <a16:creationId xmlns:a16="http://schemas.microsoft.com/office/drawing/2014/main" id="{7E69A234-EE64-7460-7A3A-156DE9997313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4043" y="5695166"/>
            <a:ext cx="887597" cy="88522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B38151A-AF12-F9E1-E184-6D0F0A730080}"/>
              </a:ext>
            </a:extLst>
          </p:cNvPr>
          <p:cNvSpPr txBox="1">
            <a:spLocks/>
          </p:cNvSpPr>
          <p:nvPr/>
        </p:nvSpPr>
        <p:spPr>
          <a:xfrm>
            <a:off x="379607" y="361881"/>
            <a:ext cx="11432787" cy="1023573"/>
          </a:xfrm>
          <a:prstGeom prst="rect">
            <a:avLst/>
          </a:prstGeom>
        </p:spPr>
        <p:txBody>
          <a:bodyPr vert="horz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Light"/>
                <a:ea typeface="+mj-ea"/>
                <a:cs typeface="+mj-cs"/>
              </a:rPr>
              <a:t>Geothermal Well Engineering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0" i="0" u="none" strike="noStrike" kern="1200" cap="none" spc="0" normalizeH="0" baseline="0" noProof="0" dirty="0">
                <a:ln>
                  <a:noFill/>
                </a:ln>
                <a:solidFill>
                  <a:srgbClr val="0014DC"/>
                </a:solidFill>
                <a:effectLst/>
                <a:uLnTx/>
                <a:uFillTx/>
                <a:latin typeface="SLB Sans Light"/>
                <a:ea typeface="+mj-ea"/>
                <a:cs typeface="+mj-cs"/>
              </a:rPr>
              <a:t>From well concept to detailed engineering and optimized execution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F6F9936-3828-B535-6869-67392BA69E7A}"/>
              </a:ext>
            </a:extLst>
          </p:cNvPr>
          <p:cNvCxnSpPr>
            <a:cxnSpLocks/>
          </p:cNvCxnSpPr>
          <p:nvPr/>
        </p:nvCxnSpPr>
        <p:spPr>
          <a:xfrm flipH="1" flipV="1">
            <a:off x="7763965" y="4352139"/>
            <a:ext cx="276871" cy="180367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2240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X5u6.VLoot3pV9x0A1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illing*industry*working*productivity*construction*destruction*digging*tools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lare*petrole*oil*gas*kerosene*energy*resources*pollution*power*global warming*environmen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eothermal-energy_POWER_USER_SEPARATOR_ICONS_earth_POWER_USER_SEPARATOR_ICONS_energy_POWER_USER_SEPARATOR_ICONS_environment_POWER_USER_SEPARATOR_ICONS_heat_POWER_USER_SEPARATOR_ICONS_pow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wer-plant_POWER_USER_SEPARATOR_ICONS_plant_POWER_USER_SEPARATOR_ICONS_mill_POWER_USER_SEPARATOR_ICONS_manufacturing_POWER_USER_SEPARATOR_ICONS_manufacture_POWER_USER_SEPARATOR_ICONS_industry_POWER_USER_SEPARATOR_ICONS_industrial_POWER_USER_SEPARATOR_ICONS_factory_POWER_USER_SEPARATOR_ICONS_enterprise_POWER_USER_SEPARATOR_ICONS_energy_POWER_USER_SEPARATOR_ICONS_primary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arth_POWER_USER_SEPARATOR_ICONS_global_POWER_USER_SEPARATOR_ICONS_planet_POWER_USER_SEPARATOR_ICONS_worl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nergy-audit_POWER_USER_SEPARATOR_ICONS_electricity_POWER_USER_SEPARATOR_ICONS_energy_POWER_USER_SEPARATOR_ICONS_environmen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0aZtMsk66csJPQcLpBI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is9p__Kc4fpguk7OYH7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6hEwwb.147U1gje9p2C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8KEzA4rFt42Kpu_Nxuv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mWwFRAmthP.lEQIkI1Q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AOuLKFjR5LpJnr7I4A.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ma2E3CYl.qh_1zXIS5U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9BoGyk4q1zhJ0_v7z4q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wMcgVu3fwEU70yKVfaX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RPt2uPVLV4_rzAcpv0x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ooqyG3PomBAq7LJ95P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cep6ypItbFWh2nZuElo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SjT4MkIRfvud3lNSrez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Wh6wMIPIitQMu1M3MTX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Qr9rWnMxe165lHrxWnJ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dWBldvvcq2wNGEjfSfM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FO87vfdXUwPrYKi5HGc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0nDj6uGHPpwl_JcwPtH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vPUWuxr86kKuMfarzt.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YWVmK0qDDvPW60TJDyx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Qz2d_cJI.TCA73HLCPC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o.xyINhfYwG5xqiUetY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X3nDlbo2JZMKlkb.Beu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HOMaGtbS8TULeyo5mu7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9XevDC6s5jdTHLRYBrZ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WBCEcS7pSRSUQqS2vM.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EVel38Dj2puHXqIgBpC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aFCuGe3ZV6zIkuYvKfx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by9lA7sRrLPnMh8Wa29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l2yTcalnLWaBM18LgxR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nergy-audit_POWER_USER_SEPARATOR_ICONS_electricity_POWER_USER_SEPARATOR_ICONS_energy_POWER_USER_SEPARATOR_ICONS_environmen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nergy-audit_POWER_USER_SEPARATOR_ICONS_electricity_POWER_USER_SEPARATOR_ICONS_energy_POWER_USER_SEPARATOR_ICONS_environmen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nergy-audit_POWER_USER_SEPARATOR_ICONS_electricity_POWER_USER_SEPARATOR_ICONS_energy_POWER_USER_SEPARATOR_ICONS_environmen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nergy-audit_POWER_USER_SEPARATOR_ICONS_electricity_POWER_USER_SEPARATOR_ICONS_energy_POWER_USER_SEPARATOR_ICONS_environmen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nergy-audit_POWER_USER_SEPARATOR_ICONS_electricity_POWER_USER_SEPARATOR_ICONS_energy_POWER_USER_SEPARATOR_ICONS_environmen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nergy-audit_POWER_USER_SEPARATOR_ICONS_electricity_POWER_USER_SEPARATOR_ICONS_energy_POWER_USER_SEPARATOR_ICONS_environment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nergy-audit_POWER_USER_SEPARATOR_ICONS_electricity_POWER_USER_SEPARATOR_ICONS_energy_POWER_USER_SEPARATOR_ICONS_environmen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nergy-audit_POWER_USER_SEPARATOR_ICONS_electricity_POWER_USER_SEPARATOR_ICONS_energy_POWER_USER_SEPARATOR_ICONS_environmen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arth_POWER_USER_SEPARATOR_ICONS_global_POWER_USER_SEPARATOR_ICONS_planet_POWER_USER_SEPARATOR_ICONS_world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arth_POWER_USER_SEPARATOR_ICONS_global_POWER_USER_SEPARATOR_ICONS_planet_POWER_USER_SEPARATOR_ICONS_world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eothermal-energy_POWER_USER_SEPARATOR_ICONS_earth_POWER_USER_SEPARATOR_ICONS_energy_POWER_USER_SEPARATOR_ICONS_environment_POWER_USER_SEPARATOR_ICONS_heat_POWER_USER_SEPARATOR_ICONS_pow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eothermal-energy_POWER_USER_SEPARATOR_ICONS_earth_POWER_USER_SEPARATOR_ICONS_energy_POWER_USER_SEPARATOR_ICONS_environment_POWER_USER_SEPARATOR_ICONS_heat_POWER_USER_SEPARATOR_ICONS_pow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B Blue">
  <a:themeElements>
    <a:clrScheme name="SLB Blue">
      <a:dk1>
        <a:srgbClr val="000000"/>
      </a:dk1>
      <a:lt1>
        <a:srgbClr val="0014DB"/>
      </a:lt1>
      <a:dk2>
        <a:srgbClr val="32323C"/>
      </a:dk2>
      <a:lt2>
        <a:srgbClr val="DCE1E1"/>
      </a:lt2>
      <a:accent1>
        <a:srgbClr val="FEFFFF"/>
      </a:accent1>
      <a:accent2>
        <a:srgbClr val="00D2DC"/>
      </a:accent2>
      <a:accent3>
        <a:srgbClr val="1E1464"/>
      </a:accent3>
      <a:accent4>
        <a:srgbClr val="6E8CC8"/>
      </a:accent4>
      <a:accent5>
        <a:srgbClr val="AFBEE1"/>
      </a:accent5>
      <a:accent6>
        <a:srgbClr val="AAAAAA"/>
      </a:accent6>
      <a:hlink>
        <a:srgbClr val="000000"/>
      </a:hlink>
      <a:folHlink>
        <a:srgbClr val="000000"/>
      </a:folHlink>
    </a:clrScheme>
    <a:fontScheme name="SLB Sans">
      <a:majorFont>
        <a:latin typeface="SLB Sans Light"/>
        <a:ea typeface=""/>
        <a:cs typeface=""/>
      </a:majorFont>
      <a:minorFont>
        <a:latin typeface="SLB Sans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1"/>
          </a:solidFill>
          <a:round/>
          <a:headEnd type="none" w="med" len="med"/>
          <a:tailEnd type="arrow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LB_BlueTemplate_v2-6" id="{2746A33A-BD88-194E-B64C-F88DBB112733}" vid="{ACFE8D1F-8FC8-BD41-ABC1-F52646C9646F}"/>
    </a:ext>
  </a:extLst>
</a:theme>
</file>

<file path=ppt/theme/theme10.xml><?xml version="1.0" encoding="utf-8"?>
<a:theme xmlns:a="http://schemas.openxmlformats.org/drawingml/2006/main" name="4_SLB Blue">
  <a:themeElements>
    <a:clrScheme name="SLB Blue">
      <a:dk1>
        <a:srgbClr val="000000"/>
      </a:dk1>
      <a:lt1>
        <a:srgbClr val="0014DB"/>
      </a:lt1>
      <a:dk2>
        <a:srgbClr val="32323C"/>
      </a:dk2>
      <a:lt2>
        <a:srgbClr val="DCE1E1"/>
      </a:lt2>
      <a:accent1>
        <a:srgbClr val="FEFFFF"/>
      </a:accent1>
      <a:accent2>
        <a:srgbClr val="00D2DC"/>
      </a:accent2>
      <a:accent3>
        <a:srgbClr val="1E1464"/>
      </a:accent3>
      <a:accent4>
        <a:srgbClr val="6E8CC8"/>
      </a:accent4>
      <a:accent5>
        <a:srgbClr val="AFBEE1"/>
      </a:accent5>
      <a:accent6>
        <a:srgbClr val="AAAAAA"/>
      </a:accent6>
      <a:hlink>
        <a:srgbClr val="000000"/>
      </a:hlink>
      <a:folHlink>
        <a:srgbClr val="000000"/>
      </a:folHlink>
    </a:clrScheme>
    <a:fontScheme name="SLB Sans">
      <a:majorFont>
        <a:latin typeface="SLB Sans Light"/>
        <a:ea typeface=""/>
        <a:cs typeface=""/>
      </a:majorFont>
      <a:minorFont>
        <a:latin typeface="SLB Sans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1"/>
          </a:solidFill>
          <a:round/>
          <a:headEnd type="none" w="med" len="med"/>
          <a:tailEnd type="arrow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LB_BlueTemplate_v2-6" id="{2746A33A-BD88-194E-B64C-F88DBB112733}" vid="{ACFE8D1F-8FC8-BD41-ABC1-F52646C9646F}"/>
    </a:ext>
  </a:extLst>
</a:theme>
</file>

<file path=ppt/theme/theme11.xml><?xml version="1.0" encoding="utf-8"?>
<a:theme xmlns:a="http://schemas.openxmlformats.org/drawingml/2006/main" name="3_SLB White">
  <a:themeElements>
    <a:clrScheme name="SLB">
      <a:dk1>
        <a:srgbClr val="000000"/>
      </a:dk1>
      <a:lt1>
        <a:srgbClr val="FFFFFF"/>
      </a:lt1>
      <a:dk2>
        <a:srgbClr val="32323C"/>
      </a:dk2>
      <a:lt2>
        <a:srgbClr val="DCE1E1"/>
      </a:lt2>
      <a:accent1>
        <a:srgbClr val="0014DC"/>
      </a:accent1>
      <a:accent2>
        <a:srgbClr val="00D2DC"/>
      </a:accent2>
      <a:accent3>
        <a:srgbClr val="1E1464"/>
      </a:accent3>
      <a:accent4>
        <a:srgbClr val="6E8CC8"/>
      </a:accent4>
      <a:accent5>
        <a:srgbClr val="AFBEE1"/>
      </a:accent5>
      <a:accent6>
        <a:srgbClr val="AAAAAA"/>
      </a:accent6>
      <a:hlink>
        <a:srgbClr val="000000"/>
      </a:hlink>
      <a:folHlink>
        <a:srgbClr val="000000"/>
      </a:folHlink>
    </a:clrScheme>
    <a:fontScheme name="SLB Sans">
      <a:majorFont>
        <a:latin typeface="SLB Sans Light"/>
        <a:ea typeface=""/>
        <a:cs typeface=""/>
      </a:majorFont>
      <a:minorFont>
        <a:latin typeface="SLB Sans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1"/>
          </a:solidFill>
          <a:round/>
          <a:headEnd type="none" w="med" len="med"/>
          <a:tailEnd type="arrow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LB_Template-White_v2-1" id="{1D862054-CEA0-FF4C-A27A-B0F1264001C3}" vid="{1B4856DC-A1F6-8441-96DB-A48185558CFE}"/>
    </a:ext>
  </a:extLst>
</a:theme>
</file>

<file path=ppt/theme/theme12.xml><?xml version="1.0" encoding="utf-8"?>
<a:theme xmlns:a="http://schemas.openxmlformats.org/drawingml/2006/main" name="11_SLB White">
  <a:themeElements>
    <a:clrScheme name="SLB">
      <a:dk1>
        <a:srgbClr val="000000"/>
      </a:dk1>
      <a:lt1>
        <a:srgbClr val="FFFFFF"/>
      </a:lt1>
      <a:dk2>
        <a:srgbClr val="32323C"/>
      </a:dk2>
      <a:lt2>
        <a:srgbClr val="DCE1E1"/>
      </a:lt2>
      <a:accent1>
        <a:srgbClr val="0014DC"/>
      </a:accent1>
      <a:accent2>
        <a:srgbClr val="00D2DC"/>
      </a:accent2>
      <a:accent3>
        <a:srgbClr val="1E1464"/>
      </a:accent3>
      <a:accent4>
        <a:srgbClr val="6E8CC8"/>
      </a:accent4>
      <a:accent5>
        <a:srgbClr val="AFBEE1"/>
      </a:accent5>
      <a:accent6>
        <a:srgbClr val="AAAAAA"/>
      </a:accent6>
      <a:hlink>
        <a:srgbClr val="000000"/>
      </a:hlink>
      <a:folHlink>
        <a:srgbClr val="000000"/>
      </a:folHlink>
    </a:clrScheme>
    <a:fontScheme name="SLB Sans">
      <a:majorFont>
        <a:latin typeface="SLB Sans Light"/>
        <a:ea typeface=""/>
        <a:cs typeface=""/>
      </a:majorFont>
      <a:minorFont>
        <a:latin typeface="SLB Sans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1"/>
          </a:solidFill>
          <a:round/>
          <a:headEnd type="none" w="med" len="med"/>
          <a:tailEnd type="arrow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LB_WhiteTemplate_v2-6" id="{AC9FB05B-4062-F14F-8C44-D59B85A9B02B}" vid="{203E99A3-8E03-4A4A-8A2F-458D4D053FA9}"/>
    </a:ext>
  </a:extLst>
</a:theme>
</file>

<file path=ppt/theme/theme13.xml><?xml version="1.0" encoding="utf-8"?>
<a:theme xmlns:a="http://schemas.openxmlformats.org/drawingml/2006/main" name="10_SLB Blue">
  <a:themeElements>
    <a:clrScheme name="SLB Blue">
      <a:dk1>
        <a:srgbClr val="000000"/>
      </a:dk1>
      <a:lt1>
        <a:srgbClr val="0014DB"/>
      </a:lt1>
      <a:dk2>
        <a:srgbClr val="32323C"/>
      </a:dk2>
      <a:lt2>
        <a:srgbClr val="DCE1E1"/>
      </a:lt2>
      <a:accent1>
        <a:srgbClr val="FEFFFF"/>
      </a:accent1>
      <a:accent2>
        <a:srgbClr val="00D2DC"/>
      </a:accent2>
      <a:accent3>
        <a:srgbClr val="1E1464"/>
      </a:accent3>
      <a:accent4>
        <a:srgbClr val="6E8CC8"/>
      </a:accent4>
      <a:accent5>
        <a:srgbClr val="AFBEE1"/>
      </a:accent5>
      <a:accent6>
        <a:srgbClr val="AAAAAA"/>
      </a:accent6>
      <a:hlink>
        <a:srgbClr val="000000"/>
      </a:hlink>
      <a:folHlink>
        <a:srgbClr val="000000"/>
      </a:folHlink>
    </a:clrScheme>
    <a:fontScheme name="SLB Sans">
      <a:majorFont>
        <a:latin typeface="SLB Sans Light"/>
        <a:ea typeface=""/>
        <a:cs typeface=""/>
      </a:majorFont>
      <a:minorFont>
        <a:latin typeface="SLB Sans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1"/>
          </a:solidFill>
          <a:round/>
          <a:headEnd type="none" w="med" len="med"/>
          <a:tailEnd type="arrow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LB_BlueTemplate_v2-6" id="{2746A33A-BD88-194E-B64C-F88DBB112733}" vid="{ACFE8D1F-8FC8-BD41-ABC1-F52646C9646F}"/>
    </a:ext>
  </a:extLst>
</a:theme>
</file>

<file path=ppt/theme/theme14.xml><?xml version="1.0" encoding="utf-8"?>
<a:theme xmlns:a="http://schemas.openxmlformats.org/drawingml/2006/main" name="6_SLB White">
  <a:themeElements>
    <a:clrScheme name="SLB">
      <a:dk1>
        <a:srgbClr val="000000"/>
      </a:dk1>
      <a:lt1>
        <a:srgbClr val="FFFFFF"/>
      </a:lt1>
      <a:dk2>
        <a:srgbClr val="32323C"/>
      </a:dk2>
      <a:lt2>
        <a:srgbClr val="DCE1E1"/>
      </a:lt2>
      <a:accent1>
        <a:srgbClr val="0014DC"/>
      </a:accent1>
      <a:accent2>
        <a:srgbClr val="00D2DC"/>
      </a:accent2>
      <a:accent3>
        <a:srgbClr val="1E1464"/>
      </a:accent3>
      <a:accent4>
        <a:srgbClr val="6E8CC8"/>
      </a:accent4>
      <a:accent5>
        <a:srgbClr val="AFBEE1"/>
      </a:accent5>
      <a:accent6>
        <a:srgbClr val="AAAAAA"/>
      </a:accent6>
      <a:hlink>
        <a:srgbClr val="000000"/>
      </a:hlink>
      <a:folHlink>
        <a:srgbClr val="000000"/>
      </a:folHlink>
    </a:clrScheme>
    <a:fontScheme name="SLB Sans">
      <a:majorFont>
        <a:latin typeface="SLB Sans Light"/>
        <a:ea typeface=""/>
        <a:cs typeface=""/>
      </a:majorFont>
      <a:minorFont>
        <a:latin typeface="SLB Sans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1"/>
          </a:solidFill>
          <a:round/>
          <a:headEnd type="none" w="med" len="med"/>
          <a:tailEnd type="arrow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LB_WhiteTemplate_v2-6" id="{AC9FB05B-4062-F14F-8C44-D59B85A9B02B}" vid="{203E99A3-8E03-4A4A-8A2F-458D4D053FA9}"/>
    </a:ext>
  </a:extLst>
</a:theme>
</file>

<file path=ppt/theme/theme15.xml><?xml version="1.0" encoding="utf-8"?>
<a:theme xmlns:a="http://schemas.openxmlformats.org/drawingml/2006/main" name="7_SLB White">
  <a:themeElements>
    <a:clrScheme name="SLB">
      <a:dk1>
        <a:srgbClr val="000000"/>
      </a:dk1>
      <a:lt1>
        <a:srgbClr val="FFFFFF"/>
      </a:lt1>
      <a:dk2>
        <a:srgbClr val="32323C"/>
      </a:dk2>
      <a:lt2>
        <a:srgbClr val="DCE1E1"/>
      </a:lt2>
      <a:accent1>
        <a:srgbClr val="0014DC"/>
      </a:accent1>
      <a:accent2>
        <a:srgbClr val="00D2DC"/>
      </a:accent2>
      <a:accent3>
        <a:srgbClr val="1E1464"/>
      </a:accent3>
      <a:accent4>
        <a:srgbClr val="6E8CC8"/>
      </a:accent4>
      <a:accent5>
        <a:srgbClr val="AFBEE1"/>
      </a:accent5>
      <a:accent6>
        <a:srgbClr val="AAAAAA"/>
      </a:accent6>
      <a:hlink>
        <a:srgbClr val="000000"/>
      </a:hlink>
      <a:folHlink>
        <a:srgbClr val="000000"/>
      </a:folHlink>
    </a:clrScheme>
    <a:fontScheme name="SLB Sans">
      <a:majorFont>
        <a:latin typeface="SLB Sans Light"/>
        <a:ea typeface=""/>
        <a:cs typeface=""/>
      </a:majorFont>
      <a:minorFont>
        <a:latin typeface="SLB Sans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1"/>
          </a:solidFill>
          <a:round/>
          <a:headEnd type="none" w="med" len="med"/>
          <a:tailEnd type="arrow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LB_WhiteTemplate_v2-6" id="{AC9FB05B-4062-F14F-8C44-D59B85A9B02B}" vid="{203E99A3-8E03-4A4A-8A2F-458D4D053FA9}"/>
    </a:ext>
  </a:extLst>
</a:theme>
</file>

<file path=ppt/theme/theme16.xml><?xml version="1.0" encoding="utf-8"?>
<a:theme xmlns:a="http://schemas.openxmlformats.org/drawingml/2006/main" name="8_SLB White">
  <a:themeElements>
    <a:clrScheme name="SLB">
      <a:dk1>
        <a:srgbClr val="000000"/>
      </a:dk1>
      <a:lt1>
        <a:srgbClr val="FFFFFF"/>
      </a:lt1>
      <a:dk2>
        <a:srgbClr val="32323C"/>
      </a:dk2>
      <a:lt2>
        <a:srgbClr val="DCE1E1"/>
      </a:lt2>
      <a:accent1>
        <a:srgbClr val="0014DC"/>
      </a:accent1>
      <a:accent2>
        <a:srgbClr val="00D2DC"/>
      </a:accent2>
      <a:accent3>
        <a:srgbClr val="1E1464"/>
      </a:accent3>
      <a:accent4>
        <a:srgbClr val="6E8CC8"/>
      </a:accent4>
      <a:accent5>
        <a:srgbClr val="AFBEE1"/>
      </a:accent5>
      <a:accent6>
        <a:srgbClr val="AAAAAA"/>
      </a:accent6>
      <a:hlink>
        <a:srgbClr val="000000"/>
      </a:hlink>
      <a:folHlink>
        <a:srgbClr val="000000"/>
      </a:folHlink>
    </a:clrScheme>
    <a:fontScheme name="SLB Sans">
      <a:majorFont>
        <a:latin typeface="SLB Sans Light"/>
        <a:ea typeface=""/>
        <a:cs typeface=""/>
      </a:majorFont>
      <a:minorFont>
        <a:latin typeface="SLB Sans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1"/>
          </a:solidFill>
          <a:round/>
          <a:headEnd type="none" w="med" len="med"/>
          <a:tailEnd type="arrow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LB_WhiteTemplate_v2-6" id="{AC9FB05B-4062-F14F-8C44-D59B85A9B02B}" vid="{203E99A3-8E03-4A4A-8A2F-458D4D053FA9}"/>
    </a:ext>
  </a:extLst>
</a:theme>
</file>

<file path=ppt/theme/theme17.xml><?xml version="1.0" encoding="utf-8"?>
<a:theme xmlns:a="http://schemas.openxmlformats.org/drawingml/2006/main" name="9_SLB White">
  <a:themeElements>
    <a:clrScheme name="SLB">
      <a:dk1>
        <a:srgbClr val="000000"/>
      </a:dk1>
      <a:lt1>
        <a:srgbClr val="FFFFFF"/>
      </a:lt1>
      <a:dk2>
        <a:srgbClr val="32323C"/>
      </a:dk2>
      <a:lt2>
        <a:srgbClr val="DCE1E1"/>
      </a:lt2>
      <a:accent1>
        <a:srgbClr val="0014DC"/>
      </a:accent1>
      <a:accent2>
        <a:srgbClr val="00D2DC"/>
      </a:accent2>
      <a:accent3>
        <a:srgbClr val="1E1464"/>
      </a:accent3>
      <a:accent4>
        <a:srgbClr val="6E8CC8"/>
      </a:accent4>
      <a:accent5>
        <a:srgbClr val="AFBEE1"/>
      </a:accent5>
      <a:accent6>
        <a:srgbClr val="AAAAAA"/>
      </a:accent6>
      <a:hlink>
        <a:srgbClr val="000000"/>
      </a:hlink>
      <a:folHlink>
        <a:srgbClr val="000000"/>
      </a:folHlink>
    </a:clrScheme>
    <a:fontScheme name="SLB Sans">
      <a:majorFont>
        <a:latin typeface="SLB Sans Light"/>
        <a:ea typeface=""/>
        <a:cs typeface=""/>
      </a:majorFont>
      <a:minorFont>
        <a:latin typeface="SLB Sans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1">
              <a:lumMod val="85000"/>
            </a:schemeClr>
          </a:solidFill>
          <a:headEnd type="none" w="med" len="med"/>
          <a:tailEnd type="arrow" w="med" len="sm"/>
        </a:ln>
      </a:spPr>
      <a:bodyPr/>
      <a:lstStyle/>
      <a:style>
        <a:lnRef idx="2">
          <a:schemeClr val="dk1"/>
        </a:lnRef>
        <a:fillRef idx="0">
          <a:schemeClr val="dk1"/>
        </a:fillRef>
        <a:effectRef idx="1">
          <a:schemeClr val="dk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LB_WhiteTemplate_v2-6" id="{AC9FB05B-4062-F14F-8C44-D59B85A9B02B}" vid="{203E99A3-8E03-4A4A-8A2F-458D4D053FA9}"/>
    </a:ext>
  </a:extLst>
</a:theme>
</file>

<file path=ppt/theme/theme18.xml><?xml version="1.0" encoding="utf-8"?>
<a:theme xmlns:a="http://schemas.openxmlformats.org/drawingml/2006/main" name="10_SLB White">
  <a:themeElements>
    <a:clrScheme name="SLB">
      <a:dk1>
        <a:srgbClr val="000000"/>
      </a:dk1>
      <a:lt1>
        <a:srgbClr val="FFFFFF"/>
      </a:lt1>
      <a:dk2>
        <a:srgbClr val="32323C"/>
      </a:dk2>
      <a:lt2>
        <a:srgbClr val="DCE1E1"/>
      </a:lt2>
      <a:accent1>
        <a:srgbClr val="0014DC"/>
      </a:accent1>
      <a:accent2>
        <a:srgbClr val="00D2DC"/>
      </a:accent2>
      <a:accent3>
        <a:srgbClr val="1E1464"/>
      </a:accent3>
      <a:accent4>
        <a:srgbClr val="6E8CC8"/>
      </a:accent4>
      <a:accent5>
        <a:srgbClr val="AFBEE1"/>
      </a:accent5>
      <a:accent6>
        <a:srgbClr val="AAAAAA"/>
      </a:accent6>
      <a:hlink>
        <a:srgbClr val="000000"/>
      </a:hlink>
      <a:folHlink>
        <a:srgbClr val="000000"/>
      </a:folHlink>
    </a:clrScheme>
    <a:fontScheme name="SLB Sans">
      <a:majorFont>
        <a:latin typeface="SLB Sans Light"/>
        <a:ea typeface=""/>
        <a:cs typeface=""/>
      </a:majorFont>
      <a:minorFont>
        <a:latin typeface="SLB Sans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1"/>
          </a:solidFill>
          <a:round/>
          <a:headEnd type="none" w="med" len="med"/>
          <a:tailEnd type="arrow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LB_WhiteTemplate_v2-6" id="{AC9FB05B-4062-F14F-8C44-D59B85A9B02B}" vid="{203E99A3-8E03-4A4A-8A2F-458D4D053FA9}"/>
    </a:ext>
  </a:extLst>
</a:theme>
</file>

<file path=ppt/theme/theme19.xml><?xml version="1.0" encoding="utf-8"?>
<a:theme xmlns:a="http://schemas.openxmlformats.org/drawingml/2006/main" name="3_Office Theme">
  <a:themeElements>
    <a:clrScheme name="Custom 4">
      <a:dk1>
        <a:sysClr val="windowText" lastClr="000000"/>
      </a:dk1>
      <a:lt1>
        <a:sysClr val="window" lastClr="FFFFFF"/>
      </a:lt1>
      <a:dk2>
        <a:srgbClr val="05509D"/>
      </a:dk2>
      <a:lt2>
        <a:srgbClr val="E7E6E6"/>
      </a:lt2>
      <a:accent1>
        <a:srgbClr val="14274C"/>
      </a:accent1>
      <a:accent2>
        <a:srgbClr val="11499D"/>
      </a:accent2>
      <a:accent3>
        <a:srgbClr val="2383C5"/>
      </a:accent3>
      <a:accent4>
        <a:srgbClr val="39C0EF"/>
      </a:accent4>
      <a:accent5>
        <a:srgbClr val="74CFEA"/>
      </a:accent5>
      <a:accent6>
        <a:srgbClr val="04ADD0"/>
      </a:accent6>
      <a:hlink>
        <a:srgbClr val="62C8CE"/>
      </a:hlink>
      <a:folHlink>
        <a:srgbClr val="95D6DC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SLB Blue">
  <a:themeElements>
    <a:clrScheme name="SLB Blue">
      <a:dk1>
        <a:srgbClr val="000000"/>
      </a:dk1>
      <a:lt1>
        <a:srgbClr val="0014DB"/>
      </a:lt1>
      <a:dk2>
        <a:srgbClr val="32323C"/>
      </a:dk2>
      <a:lt2>
        <a:srgbClr val="DCE1E1"/>
      </a:lt2>
      <a:accent1>
        <a:srgbClr val="FEFFFF"/>
      </a:accent1>
      <a:accent2>
        <a:srgbClr val="00D2DC"/>
      </a:accent2>
      <a:accent3>
        <a:srgbClr val="1E1464"/>
      </a:accent3>
      <a:accent4>
        <a:srgbClr val="6E8CC8"/>
      </a:accent4>
      <a:accent5>
        <a:srgbClr val="AFBEE1"/>
      </a:accent5>
      <a:accent6>
        <a:srgbClr val="AAAAAA"/>
      </a:accent6>
      <a:hlink>
        <a:srgbClr val="000000"/>
      </a:hlink>
      <a:folHlink>
        <a:srgbClr val="000000"/>
      </a:folHlink>
    </a:clrScheme>
    <a:fontScheme name="SLB Sans">
      <a:majorFont>
        <a:latin typeface="SLB Sans Light"/>
        <a:ea typeface=""/>
        <a:cs typeface=""/>
      </a:majorFont>
      <a:minorFont>
        <a:latin typeface="SLB Sans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1"/>
          </a:solidFill>
          <a:round/>
          <a:headEnd type="none" w="med" len="med"/>
          <a:tailEnd type="arrow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LB_BlueTemplate_v2-6" id="{2746A33A-BD88-194E-B64C-F88DBB112733}" vid="{ACFE8D1F-8FC8-BD41-ABC1-F52646C9646F}"/>
    </a:ext>
  </a:extLst>
</a:theme>
</file>

<file path=ppt/theme/theme2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SLB White">
  <a:themeElements>
    <a:clrScheme name="SLB">
      <a:dk1>
        <a:srgbClr val="000000"/>
      </a:dk1>
      <a:lt1>
        <a:srgbClr val="FFFFFF"/>
      </a:lt1>
      <a:dk2>
        <a:srgbClr val="32323C"/>
      </a:dk2>
      <a:lt2>
        <a:srgbClr val="DCE1E1"/>
      </a:lt2>
      <a:accent1>
        <a:srgbClr val="0014DC"/>
      </a:accent1>
      <a:accent2>
        <a:srgbClr val="00D2DC"/>
      </a:accent2>
      <a:accent3>
        <a:srgbClr val="1E1464"/>
      </a:accent3>
      <a:accent4>
        <a:srgbClr val="6E8CC8"/>
      </a:accent4>
      <a:accent5>
        <a:srgbClr val="AFBEE1"/>
      </a:accent5>
      <a:accent6>
        <a:srgbClr val="AAAAAA"/>
      </a:accent6>
      <a:hlink>
        <a:srgbClr val="000000"/>
      </a:hlink>
      <a:folHlink>
        <a:srgbClr val="000000"/>
      </a:folHlink>
    </a:clrScheme>
    <a:fontScheme name="SLB Sans">
      <a:majorFont>
        <a:latin typeface="SLB Sans Light"/>
        <a:ea typeface=""/>
        <a:cs typeface=""/>
      </a:majorFont>
      <a:minorFont>
        <a:latin typeface="SLB Sans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1"/>
          </a:solidFill>
          <a:round/>
          <a:headEnd type="none" w="med" len="med"/>
          <a:tailEnd type="arrow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LB_BlueTemplate_v2-1" id="{E83012FF-7371-404F-AD9F-A9070DEC77AB}" vid="{6AE05AFC-B19E-E646-8AEF-D84BA2EF6B16}"/>
    </a:ext>
  </a:extLst>
</a:theme>
</file>

<file path=ppt/theme/theme4.xml><?xml version="1.0" encoding="utf-8"?>
<a:theme xmlns:a="http://schemas.openxmlformats.org/drawingml/2006/main" name="SLB White">
  <a:themeElements>
    <a:clrScheme name="SLB">
      <a:dk1>
        <a:srgbClr val="000000"/>
      </a:dk1>
      <a:lt1>
        <a:srgbClr val="FFFFFF"/>
      </a:lt1>
      <a:dk2>
        <a:srgbClr val="32323C"/>
      </a:dk2>
      <a:lt2>
        <a:srgbClr val="DCE1E1"/>
      </a:lt2>
      <a:accent1>
        <a:srgbClr val="0014DC"/>
      </a:accent1>
      <a:accent2>
        <a:srgbClr val="00D2DC"/>
      </a:accent2>
      <a:accent3>
        <a:srgbClr val="1E1464"/>
      </a:accent3>
      <a:accent4>
        <a:srgbClr val="6E8CC8"/>
      </a:accent4>
      <a:accent5>
        <a:srgbClr val="AFBEE1"/>
      </a:accent5>
      <a:accent6>
        <a:srgbClr val="AAAAAA"/>
      </a:accent6>
      <a:hlink>
        <a:srgbClr val="000000"/>
      </a:hlink>
      <a:folHlink>
        <a:srgbClr val="000000"/>
      </a:folHlink>
    </a:clrScheme>
    <a:fontScheme name="SLB Sans">
      <a:majorFont>
        <a:latin typeface="SLB Sans Light"/>
        <a:ea typeface=""/>
        <a:cs typeface=""/>
      </a:majorFont>
      <a:minorFont>
        <a:latin typeface="SLB Sans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1"/>
          </a:solidFill>
          <a:round/>
          <a:headEnd type="none" w="med" len="med"/>
          <a:tailEnd type="arrow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LB_WhiteTemplate_v2-6" id="{AC9FB05B-4062-F14F-8C44-D59B85A9B02B}" vid="{203E99A3-8E03-4A4A-8A2F-458D4D053FA9}"/>
    </a:ext>
  </a:extLst>
</a:theme>
</file>

<file path=ppt/theme/theme5.xml><?xml version="1.0" encoding="utf-8"?>
<a:theme xmlns:a="http://schemas.openxmlformats.org/drawingml/2006/main" name="4_SLB White">
  <a:themeElements>
    <a:clrScheme name="SLB">
      <a:dk1>
        <a:srgbClr val="000000"/>
      </a:dk1>
      <a:lt1>
        <a:srgbClr val="FFFFFF"/>
      </a:lt1>
      <a:dk2>
        <a:srgbClr val="32323C"/>
      </a:dk2>
      <a:lt2>
        <a:srgbClr val="DCE1E1"/>
      </a:lt2>
      <a:accent1>
        <a:srgbClr val="0014DC"/>
      </a:accent1>
      <a:accent2>
        <a:srgbClr val="00D2DC"/>
      </a:accent2>
      <a:accent3>
        <a:srgbClr val="1E1464"/>
      </a:accent3>
      <a:accent4>
        <a:srgbClr val="6E8CC8"/>
      </a:accent4>
      <a:accent5>
        <a:srgbClr val="AFBEE1"/>
      </a:accent5>
      <a:accent6>
        <a:srgbClr val="AAAAAA"/>
      </a:accent6>
      <a:hlink>
        <a:srgbClr val="000000"/>
      </a:hlink>
      <a:folHlink>
        <a:srgbClr val="000000"/>
      </a:folHlink>
    </a:clrScheme>
    <a:fontScheme name="SLB Sans">
      <a:majorFont>
        <a:latin typeface="SLB Sans Light"/>
        <a:ea typeface=""/>
        <a:cs typeface=""/>
      </a:majorFont>
      <a:minorFont>
        <a:latin typeface="SLB Sans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1"/>
          </a:solidFill>
          <a:round/>
          <a:headEnd type="none" w="med" len="med"/>
          <a:tailEnd type="arrow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LB_Template-White_v2-1" id="{1D862054-CEA0-FF4C-A27A-B0F1264001C3}" vid="{1B4856DC-A1F6-8441-96DB-A48185558CFE}"/>
    </a:ext>
  </a:extLst>
</a:theme>
</file>

<file path=ppt/theme/theme6.xml><?xml version="1.0" encoding="utf-8"?>
<a:theme xmlns:a="http://schemas.openxmlformats.org/drawingml/2006/main" name="1_SLB White">
  <a:themeElements>
    <a:clrScheme name="SLB">
      <a:dk1>
        <a:srgbClr val="000000"/>
      </a:dk1>
      <a:lt1>
        <a:srgbClr val="FFFFFF"/>
      </a:lt1>
      <a:dk2>
        <a:srgbClr val="32323C"/>
      </a:dk2>
      <a:lt2>
        <a:srgbClr val="DCE1E1"/>
      </a:lt2>
      <a:accent1>
        <a:srgbClr val="0014DC"/>
      </a:accent1>
      <a:accent2>
        <a:srgbClr val="00D2DC"/>
      </a:accent2>
      <a:accent3>
        <a:srgbClr val="1E1464"/>
      </a:accent3>
      <a:accent4>
        <a:srgbClr val="6E8CC8"/>
      </a:accent4>
      <a:accent5>
        <a:srgbClr val="AFBEE1"/>
      </a:accent5>
      <a:accent6>
        <a:srgbClr val="AAAAAA"/>
      </a:accent6>
      <a:hlink>
        <a:srgbClr val="000000"/>
      </a:hlink>
      <a:folHlink>
        <a:srgbClr val="000000"/>
      </a:folHlink>
    </a:clrScheme>
    <a:fontScheme name="SLB Sans">
      <a:majorFont>
        <a:latin typeface="SLB Sans Light"/>
        <a:ea typeface=""/>
        <a:cs typeface=""/>
      </a:majorFont>
      <a:minorFont>
        <a:latin typeface="SLB Sans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1"/>
          </a:solidFill>
          <a:round/>
          <a:headEnd type="none" w="med" len="med"/>
          <a:tailEnd type="arrow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LB_WhiteTemplate_v2-6" id="{AC9FB05B-4062-F14F-8C44-D59B85A9B02B}" vid="{203E99A3-8E03-4A4A-8A2F-458D4D053FA9}"/>
    </a:ext>
  </a:extLst>
</a:theme>
</file>

<file path=ppt/theme/theme7.xml><?xml version="1.0" encoding="utf-8"?>
<a:theme xmlns:a="http://schemas.openxmlformats.org/drawingml/2006/main" name="2_SLB Blue">
  <a:themeElements>
    <a:clrScheme name="SLB Blue">
      <a:dk1>
        <a:srgbClr val="000000"/>
      </a:dk1>
      <a:lt1>
        <a:srgbClr val="0014DB"/>
      </a:lt1>
      <a:dk2>
        <a:srgbClr val="32323C"/>
      </a:dk2>
      <a:lt2>
        <a:srgbClr val="DCE1E1"/>
      </a:lt2>
      <a:accent1>
        <a:srgbClr val="FEFFFF"/>
      </a:accent1>
      <a:accent2>
        <a:srgbClr val="00D2DC"/>
      </a:accent2>
      <a:accent3>
        <a:srgbClr val="1E1464"/>
      </a:accent3>
      <a:accent4>
        <a:srgbClr val="6E8CC8"/>
      </a:accent4>
      <a:accent5>
        <a:srgbClr val="AFBEE1"/>
      </a:accent5>
      <a:accent6>
        <a:srgbClr val="AAAAAA"/>
      </a:accent6>
      <a:hlink>
        <a:srgbClr val="000000"/>
      </a:hlink>
      <a:folHlink>
        <a:srgbClr val="000000"/>
      </a:folHlink>
    </a:clrScheme>
    <a:fontScheme name="SLB Sans">
      <a:majorFont>
        <a:latin typeface="SLB Sans Light"/>
        <a:ea typeface=""/>
        <a:cs typeface=""/>
      </a:majorFont>
      <a:minorFont>
        <a:latin typeface="SLB Sans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1"/>
          </a:solidFill>
          <a:round/>
          <a:headEnd type="none" w="med" len="med"/>
          <a:tailEnd type="arrow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LB_BlueTemplate_v2-6" id="{2746A33A-BD88-194E-B64C-F88DBB112733}" vid="{ACFE8D1F-8FC8-BD41-ABC1-F52646C9646F}"/>
    </a:ext>
  </a:extLst>
</a:theme>
</file>

<file path=ppt/theme/theme8.xml><?xml version="1.0" encoding="utf-8"?>
<a:theme xmlns:a="http://schemas.openxmlformats.org/drawingml/2006/main" name="3_SLB Blue">
  <a:themeElements>
    <a:clrScheme name="SLB Blue">
      <a:dk1>
        <a:srgbClr val="000000"/>
      </a:dk1>
      <a:lt1>
        <a:srgbClr val="0014DB"/>
      </a:lt1>
      <a:dk2>
        <a:srgbClr val="32323C"/>
      </a:dk2>
      <a:lt2>
        <a:srgbClr val="DCE1E1"/>
      </a:lt2>
      <a:accent1>
        <a:srgbClr val="FEFFFF"/>
      </a:accent1>
      <a:accent2>
        <a:srgbClr val="00D2DC"/>
      </a:accent2>
      <a:accent3>
        <a:srgbClr val="1E1464"/>
      </a:accent3>
      <a:accent4>
        <a:srgbClr val="6E8CC8"/>
      </a:accent4>
      <a:accent5>
        <a:srgbClr val="AFBEE1"/>
      </a:accent5>
      <a:accent6>
        <a:srgbClr val="AAAAAA"/>
      </a:accent6>
      <a:hlink>
        <a:srgbClr val="000000"/>
      </a:hlink>
      <a:folHlink>
        <a:srgbClr val="000000"/>
      </a:folHlink>
    </a:clrScheme>
    <a:fontScheme name="SLB Sans">
      <a:majorFont>
        <a:latin typeface="SLB Sans Light"/>
        <a:ea typeface=""/>
        <a:cs typeface=""/>
      </a:majorFont>
      <a:minorFont>
        <a:latin typeface="SLB Sans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1"/>
          </a:solidFill>
          <a:round/>
          <a:headEnd type="none" w="med" len="med"/>
          <a:tailEnd type="arrow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LB_BlueTemplate_v2-6" id="{2746A33A-BD88-194E-B64C-F88DBB112733}" vid="{ACFE8D1F-8FC8-BD41-ABC1-F52646C9646F}"/>
    </a:ext>
  </a:extLst>
</a:theme>
</file>

<file path=ppt/theme/theme9.xml><?xml version="1.0" encoding="utf-8"?>
<a:theme xmlns:a="http://schemas.openxmlformats.org/drawingml/2006/main" name="5_SLB White">
  <a:themeElements>
    <a:clrScheme name="SLB">
      <a:dk1>
        <a:srgbClr val="000000"/>
      </a:dk1>
      <a:lt1>
        <a:srgbClr val="FFFFFF"/>
      </a:lt1>
      <a:dk2>
        <a:srgbClr val="32323C"/>
      </a:dk2>
      <a:lt2>
        <a:srgbClr val="DCE1E1"/>
      </a:lt2>
      <a:accent1>
        <a:srgbClr val="0014DC"/>
      </a:accent1>
      <a:accent2>
        <a:srgbClr val="00D2DC"/>
      </a:accent2>
      <a:accent3>
        <a:srgbClr val="1E1464"/>
      </a:accent3>
      <a:accent4>
        <a:srgbClr val="6E8CC8"/>
      </a:accent4>
      <a:accent5>
        <a:srgbClr val="AFBEE1"/>
      </a:accent5>
      <a:accent6>
        <a:srgbClr val="AAAAAA"/>
      </a:accent6>
      <a:hlink>
        <a:srgbClr val="000000"/>
      </a:hlink>
      <a:folHlink>
        <a:srgbClr val="000000"/>
      </a:folHlink>
    </a:clrScheme>
    <a:fontScheme name="SLB Sans">
      <a:majorFont>
        <a:latin typeface="SLB Sans Light"/>
        <a:ea typeface=""/>
        <a:cs typeface=""/>
      </a:majorFont>
      <a:minorFont>
        <a:latin typeface="SLB Sans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1"/>
          </a:solidFill>
          <a:round/>
          <a:headEnd type="none" w="med" len="med"/>
          <a:tailEnd type="arrow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LB vs BKR vs HAL - Q3-22.potx" id="{059428A6-122A-4DB2-979A-533CCF9F49A2}" vid="{B12694B4-7EE1-4D92-9FEA-52AE42F73AE0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EB5211AACBD254990C884D0F06B42D3" ma:contentTypeVersion="17" ma:contentTypeDescription="Create a new document." ma:contentTypeScope="" ma:versionID="0f43cc28c541622fc0fcf751ce5a0bed">
  <xsd:schema xmlns:xsd="http://www.w3.org/2001/XMLSchema" xmlns:xs="http://www.w3.org/2001/XMLSchema" xmlns:p="http://schemas.microsoft.com/office/2006/metadata/properties" xmlns:ns2="23fddd65-fe58-428f-82e6-7744de0a4340" xmlns:ns3="b5fb1177-0f22-4243-96a3-a87ba8e490fa" targetNamespace="http://schemas.microsoft.com/office/2006/metadata/properties" ma:root="true" ma:fieldsID="bb2a2542074b8a2b2ccc83a6d5e5527e" ns2:_="" ns3:_="">
    <xsd:import namespace="23fddd65-fe58-428f-82e6-7744de0a4340"/>
    <xsd:import namespace="b5fb1177-0f22-4243-96a3-a87ba8e490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fddd65-fe58-428f-82e6-7744de0a43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bb6ec6bc-766d-4884-930b-9717138bd8c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fb1177-0f22-4243-96a3-a87ba8e490fa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fa775642-aee2-45d1-aaa6-d585896005c2}" ma:internalName="TaxCatchAll" ma:showField="CatchAllData" ma:web="b5fb1177-0f22-4243-96a3-a87ba8e490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3fddd65-fe58-428f-82e6-7744de0a4340">
      <Terms xmlns="http://schemas.microsoft.com/office/infopath/2007/PartnerControls"/>
    </lcf76f155ced4ddcb4097134ff3c332f>
    <TaxCatchAll xmlns="b5fb1177-0f22-4243-96a3-a87ba8e490fa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20A9E7E-428D-451C-92A4-3EDFFE6BABF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3fddd65-fe58-428f-82e6-7744de0a4340"/>
    <ds:schemaRef ds:uri="b5fb1177-0f22-4243-96a3-a87ba8e490f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1EDA472-0188-4411-8FCE-558F225DBD56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b5fb1177-0f22-4243-96a3-a87ba8e490fa"/>
    <ds:schemaRef ds:uri="http://purl.org/dc/elements/1.1/"/>
    <ds:schemaRef ds:uri="http://schemas.microsoft.com/office/2006/metadata/properties"/>
    <ds:schemaRef ds:uri="23fddd65-fe58-428f-82e6-7744de0a4340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29D57F0-7424-4BC8-AF58-69E3EC85B4D0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8bb759f6-5337-4dc5-b19b-e74b6da11f8f}" enabled="1" method="Standard" siteId="{41ff26dc-250f-4b13-8981-739be8610c2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306</TotalTime>
  <Words>1697</Words>
  <Application>Microsoft Office PowerPoint</Application>
  <PresentationFormat>Widescreen</PresentationFormat>
  <Paragraphs>351</Paragraphs>
  <Slides>21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52" baseType="lpstr">
      <vt:lpstr>SLB Sans</vt:lpstr>
      <vt:lpstr>Arial Nova</vt:lpstr>
      <vt:lpstr>Wingdings</vt:lpstr>
      <vt:lpstr>SLB Sans Medium</vt:lpstr>
      <vt:lpstr>Graphik Light</vt:lpstr>
      <vt:lpstr>Calibri Light</vt:lpstr>
      <vt:lpstr>Arial Narrow</vt:lpstr>
      <vt:lpstr>Calibri</vt:lpstr>
      <vt:lpstr>Arial</vt:lpstr>
      <vt:lpstr>SLB Sans Book</vt:lpstr>
      <vt:lpstr>SLB Sans Light</vt:lpstr>
      <vt:lpstr>SLB Blue</vt:lpstr>
      <vt:lpstr>1_SLB Blue</vt:lpstr>
      <vt:lpstr>2_SLB White</vt:lpstr>
      <vt:lpstr>SLB White</vt:lpstr>
      <vt:lpstr>4_SLB White</vt:lpstr>
      <vt:lpstr>1_SLB White</vt:lpstr>
      <vt:lpstr>2_SLB Blue</vt:lpstr>
      <vt:lpstr>3_SLB Blue</vt:lpstr>
      <vt:lpstr>5_SLB White</vt:lpstr>
      <vt:lpstr>4_SLB Blue</vt:lpstr>
      <vt:lpstr>3_SLB White</vt:lpstr>
      <vt:lpstr>11_SLB White</vt:lpstr>
      <vt:lpstr>10_SLB Blue</vt:lpstr>
      <vt:lpstr>6_SLB White</vt:lpstr>
      <vt:lpstr>7_SLB White</vt:lpstr>
      <vt:lpstr>8_SLB White</vt:lpstr>
      <vt:lpstr>9_SLB White</vt:lpstr>
      <vt:lpstr>10_SLB White</vt:lpstr>
      <vt:lpstr>3_Office Theme</vt:lpstr>
      <vt:lpstr>think-cell Slide</vt:lpstr>
      <vt:lpstr>    SLB New Energy Geothermal </vt:lpstr>
      <vt:lpstr>PowerPoint Presentation</vt:lpstr>
      <vt:lpstr>PowerPoint Presentation</vt:lpstr>
      <vt:lpstr>SLB’s  New Energy Business  Accelerating decarbonization through innovation and science—on a global scale</vt:lpstr>
      <vt:lpstr>Geothermal Project Cycle, Cost &amp; Risk Profil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ur technology portfolio for geothermal</vt:lpstr>
      <vt:lpstr>Addressing geothermal specific challenges</vt:lpstr>
      <vt:lpstr>Drill Bits   120+ years of global expertise from O&amp;G to Geothermal </vt:lpstr>
      <vt:lpstr>Reda Thermal™ ESP </vt:lpstr>
      <vt:lpstr>Case Study: Turkey Power From Exploration to Power Generation</vt:lpstr>
      <vt:lpstr>Case Study: France Heating First of its kind multi-lateral well design for geothermal heating application</vt:lpstr>
      <vt:lpstr>PowerPoint Presentation</vt:lpstr>
      <vt:lpstr>Case Study: Indonesia Drilling Performance via Integration</vt:lpstr>
      <vt:lpstr>Geoenergy for Heating and Cooling – Celsius Energy</vt:lpstr>
      <vt:lpstr>SLB is a global geothermal technology leader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B New Energy Overview</dc:title>
  <dc:creator>Ildiko Kiss</dc:creator>
  <cp:lastModifiedBy>Najet Agrane</cp:lastModifiedBy>
  <cp:revision>4</cp:revision>
  <dcterms:created xsi:type="dcterms:W3CDTF">2023-08-01T10:57:39Z</dcterms:created>
  <dcterms:modified xsi:type="dcterms:W3CDTF">2024-03-21T15:44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EB5211AACBD254990C884D0F06B42D3</vt:lpwstr>
  </property>
  <property fmtid="{D5CDD505-2E9C-101B-9397-08002B2CF9AE}" pid="3" name="ClassificationContentMarkingFooterLocations">
    <vt:lpwstr>SLB Blue:9</vt:lpwstr>
  </property>
  <property fmtid="{D5CDD505-2E9C-101B-9397-08002B2CF9AE}" pid="4" name="ClassificationContentMarkingFooterText">
    <vt:lpwstr>SLB-Private</vt:lpwstr>
  </property>
  <property fmtid="{D5CDD505-2E9C-101B-9397-08002B2CF9AE}" pid="5" name="MediaServiceImageTags">
    <vt:lpwstr/>
  </property>
</Properties>
</file>